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docx" ContentType="application/vnd.openxmlformats-officedocument.wordprocessingml.documen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embeddings/oleObject1.bin" ContentType="application/vnd.openxmlformats-officedocument.oleObject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6"/>
  </p:notesMasterIdLst>
  <p:sldIdLst>
    <p:sldId id="256" r:id="rId2"/>
    <p:sldId id="261" r:id="rId3"/>
    <p:sldId id="260" r:id="rId4"/>
    <p:sldId id="263" r:id="rId5"/>
    <p:sldId id="259" r:id="rId6"/>
    <p:sldId id="272" r:id="rId7"/>
    <p:sldId id="258" r:id="rId8"/>
    <p:sldId id="265" r:id="rId9"/>
    <p:sldId id="273" r:id="rId10"/>
    <p:sldId id="266" r:id="rId11"/>
    <p:sldId id="262" r:id="rId12"/>
    <p:sldId id="271" r:id="rId13"/>
    <p:sldId id="264" r:id="rId14"/>
    <p:sldId id="269" r:id="rId15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on" initials="Anon" lastIdx="31" clrIdx="0">
    <p:extLst>
      <p:ext uri="{19B8F6BF-5375-455C-9EA6-DF929625EA0E}">
        <p15:presenceInfo xmlns:p15="http://schemas.microsoft.com/office/powerpoint/2012/main" xmlns="" userId="Anon" providerId="None"/>
      </p:ext>
    </p:extLst>
  </p:cmAuthor>
  <p:cmAuthor id="2" name="Kaushal Gupta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C74"/>
    <a:srgbClr val="F5FFA7"/>
    <a:srgbClr val="243679"/>
    <a:srgbClr val="953735"/>
    <a:srgbClr val="0EEFB8"/>
    <a:srgbClr val="000040"/>
    <a:srgbClr val="AD413F"/>
    <a:srgbClr val="C48888"/>
    <a:srgbClr val="9BBB59"/>
    <a:srgbClr val="0000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762" autoAdjust="0"/>
  </p:normalViewPr>
  <p:slideViewPr>
    <p:cSldViewPr snapToGrid="0" snapToObjects="1">
      <p:cViewPr>
        <p:scale>
          <a:sx n="75" d="100"/>
          <a:sy n="75" d="100"/>
        </p:scale>
        <p:origin x="-2000" y="-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viewProps" Target="viewProps.xml"/><Relationship Id="rId21" Type="http://schemas.openxmlformats.org/officeDocument/2006/relationships/theme" Target="theme/theme1.xml"/><Relationship Id="rId22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notesMaster" Target="notesMasters/notesMaster1.xml"/><Relationship Id="rId17" Type="http://schemas.openxmlformats.org/officeDocument/2006/relationships/printerSettings" Target="printerSettings/printerSettings1.bin"/><Relationship Id="rId18" Type="http://schemas.openxmlformats.org/officeDocument/2006/relationships/commentAuthors" Target="commentAuthors.xml"/><Relationship Id="rId1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Neha:Desktop:Time%20lag%20mappin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0962900205515"/>
          <c:y val="0.0323398365322598"/>
          <c:w val="0.839764994713303"/>
          <c:h val="0.88969014662284"/>
        </c:manualLayout>
      </c:layout>
      <c:scatterChart>
        <c:scatterStyle val="lineMarker"/>
        <c:varyColors val="0"/>
        <c:ser>
          <c:idx val="0"/>
          <c:order val="0"/>
          <c:spPr>
            <a:ln w="47625">
              <a:noFill/>
            </a:ln>
          </c:spPr>
          <c:marker>
            <c:symbol val="circle"/>
            <c:size val="12"/>
          </c:marker>
          <c:xVal>
            <c:numRef>
              <c:f>Sheet1!$C$1:$C$48</c:f>
              <c:numCache>
                <c:formatCode>_(* #,##0.00_);_(* \(#,##0.00\);_(* "-"??_);_(@_)</c:formatCode>
                <c:ptCount val="48"/>
                <c:pt idx="0">
                  <c:v>4.095169351431755</c:v>
                </c:pt>
                <c:pt idx="1">
                  <c:v>4.778513011738924</c:v>
                </c:pt>
                <c:pt idx="2">
                  <c:v>4.674493717296348</c:v>
                </c:pt>
                <c:pt idx="3">
                  <c:v>3.810232517995084</c:v>
                </c:pt>
                <c:pt idx="4">
                  <c:v>3.999565488225982</c:v>
                </c:pt>
                <c:pt idx="5">
                  <c:v>2.414973347970818</c:v>
                </c:pt>
                <c:pt idx="6">
                  <c:v>3.02938377768521</c:v>
                </c:pt>
                <c:pt idx="7">
                  <c:v>3.897627091290441</c:v>
                </c:pt>
                <c:pt idx="8">
                  <c:v>4.105850674385141</c:v>
                </c:pt>
                <c:pt idx="9">
                  <c:v>4.780101191467912</c:v>
                </c:pt>
                <c:pt idx="10">
                  <c:v>4.6097011023794</c:v>
                </c:pt>
                <c:pt idx="11">
                  <c:v>3.614897216033134</c:v>
                </c:pt>
                <c:pt idx="12">
                  <c:v>4.660770643527695</c:v>
                </c:pt>
                <c:pt idx="13">
                  <c:v>2.90848501887865</c:v>
                </c:pt>
                <c:pt idx="14">
                  <c:v>3.201397124320451</c:v>
                </c:pt>
                <c:pt idx="15">
                  <c:v>4.51627088272934</c:v>
                </c:pt>
                <c:pt idx="16">
                  <c:v>4.589279221235967</c:v>
                </c:pt>
                <c:pt idx="17">
                  <c:v>3.127104798364807</c:v>
                </c:pt>
                <c:pt idx="18">
                  <c:v>3.2405492482826</c:v>
                </c:pt>
                <c:pt idx="19">
                  <c:v>3.107209969647868</c:v>
                </c:pt>
                <c:pt idx="20">
                  <c:v>2.531478917042254</c:v>
                </c:pt>
                <c:pt idx="21">
                  <c:v>4.024074987307425</c:v>
                </c:pt>
                <c:pt idx="22">
                  <c:v>3.841984804590114</c:v>
                </c:pt>
                <c:pt idx="23">
                  <c:v>3.987219229908005</c:v>
                </c:pt>
                <c:pt idx="24">
                  <c:v>3.858537197569639</c:v>
                </c:pt>
                <c:pt idx="25">
                  <c:v>2.770852011642144</c:v>
                </c:pt>
                <c:pt idx="26">
                  <c:v>3.715167357848457</c:v>
                </c:pt>
                <c:pt idx="27">
                  <c:v>4.688864568054789</c:v>
                </c:pt>
                <c:pt idx="28">
                  <c:v>4.970950934345424</c:v>
                </c:pt>
                <c:pt idx="30">
                  <c:v>4.124178055474675</c:v>
                </c:pt>
                <c:pt idx="31">
                  <c:v>4.311117842662504</c:v>
                </c:pt>
                <c:pt idx="32">
                  <c:v>3.978180516937413</c:v>
                </c:pt>
                <c:pt idx="33">
                  <c:v>2.845098040014257</c:v>
                </c:pt>
                <c:pt idx="34">
                  <c:v>3.783903579272735</c:v>
                </c:pt>
                <c:pt idx="35">
                  <c:v>4.438542348786111</c:v>
                </c:pt>
                <c:pt idx="36">
                  <c:v>4.453012391121455</c:v>
                </c:pt>
                <c:pt idx="37">
                  <c:v>3.57978359661681</c:v>
                </c:pt>
                <c:pt idx="38">
                  <c:v>4.762678563727436</c:v>
                </c:pt>
                <c:pt idx="39">
                  <c:v>4.927113611933761</c:v>
                </c:pt>
                <c:pt idx="40">
                  <c:v>3.757396028793024</c:v>
                </c:pt>
                <c:pt idx="41">
                  <c:v>3.997823080745726</c:v>
                </c:pt>
                <c:pt idx="42">
                  <c:v>2.845098040014257</c:v>
                </c:pt>
                <c:pt idx="43">
                  <c:v>4.64048143697042</c:v>
                </c:pt>
                <c:pt idx="44">
                  <c:v>4.748032894130143</c:v>
                </c:pt>
                <c:pt idx="45">
                  <c:v>3.173186268412274</c:v>
                </c:pt>
                <c:pt idx="46">
                  <c:v>2.934498451243567</c:v>
                </c:pt>
                <c:pt idx="47">
                  <c:v>3.692846919277228</c:v>
                </c:pt>
              </c:numCache>
            </c:numRef>
          </c:xVal>
          <c:yVal>
            <c:numRef>
              <c:f>Sheet1!$D$1:$D$48</c:f>
              <c:numCache>
                <c:formatCode>General</c:formatCode>
                <c:ptCount val="48"/>
                <c:pt idx="0">
                  <c:v>-8.0</c:v>
                </c:pt>
                <c:pt idx="1">
                  <c:v>-21.0</c:v>
                </c:pt>
                <c:pt idx="2">
                  <c:v>3.0</c:v>
                </c:pt>
                <c:pt idx="3">
                  <c:v>9.0</c:v>
                </c:pt>
                <c:pt idx="4">
                  <c:v>-30.0</c:v>
                </c:pt>
                <c:pt idx="5">
                  <c:v>12.0</c:v>
                </c:pt>
                <c:pt idx="6">
                  <c:v>11.0</c:v>
                </c:pt>
                <c:pt idx="7">
                  <c:v>9.0</c:v>
                </c:pt>
                <c:pt idx="8">
                  <c:v>1.0</c:v>
                </c:pt>
                <c:pt idx="9">
                  <c:v>-51.0</c:v>
                </c:pt>
                <c:pt idx="10">
                  <c:v>-24.0</c:v>
                </c:pt>
                <c:pt idx="11">
                  <c:v>2.0</c:v>
                </c:pt>
                <c:pt idx="12">
                  <c:v>3.0</c:v>
                </c:pt>
                <c:pt idx="13">
                  <c:v>10.0</c:v>
                </c:pt>
                <c:pt idx="14">
                  <c:v>20.0</c:v>
                </c:pt>
                <c:pt idx="15">
                  <c:v>-47.0</c:v>
                </c:pt>
                <c:pt idx="16">
                  <c:v>6.0</c:v>
                </c:pt>
                <c:pt idx="17">
                  <c:v>10.0</c:v>
                </c:pt>
                <c:pt idx="18">
                  <c:v>15.0</c:v>
                </c:pt>
                <c:pt idx="19">
                  <c:v>7.0</c:v>
                </c:pt>
                <c:pt idx="20">
                  <c:v>8.0</c:v>
                </c:pt>
                <c:pt idx="21">
                  <c:v>9.0</c:v>
                </c:pt>
                <c:pt idx="22">
                  <c:v>-3.0</c:v>
                </c:pt>
                <c:pt idx="23">
                  <c:v>-20.0</c:v>
                </c:pt>
                <c:pt idx="24">
                  <c:v>1.0</c:v>
                </c:pt>
                <c:pt idx="25">
                  <c:v>12.0</c:v>
                </c:pt>
                <c:pt idx="26">
                  <c:v>15.0</c:v>
                </c:pt>
                <c:pt idx="27">
                  <c:v>-38.0</c:v>
                </c:pt>
                <c:pt idx="28">
                  <c:v>9.0</c:v>
                </c:pt>
                <c:pt idx="29">
                  <c:v>17.0</c:v>
                </c:pt>
                <c:pt idx="30">
                  <c:v>9.0</c:v>
                </c:pt>
                <c:pt idx="31">
                  <c:v>9.0</c:v>
                </c:pt>
                <c:pt idx="32">
                  <c:v>-21.0</c:v>
                </c:pt>
                <c:pt idx="33">
                  <c:v>10.0</c:v>
                </c:pt>
                <c:pt idx="34">
                  <c:v>12.0</c:v>
                </c:pt>
                <c:pt idx="35">
                  <c:v>-23.0</c:v>
                </c:pt>
                <c:pt idx="36">
                  <c:v>-20.0</c:v>
                </c:pt>
                <c:pt idx="37">
                  <c:v>15.0</c:v>
                </c:pt>
                <c:pt idx="38">
                  <c:v>-11.0</c:v>
                </c:pt>
                <c:pt idx="39">
                  <c:v>1.0</c:v>
                </c:pt>
                <c:pt idx="40">
                  <c:v>-15.0</c:v>
                </c:pt>
                <c:pt idx="41">
                  <c:v>-27.0</c:v>
                </c:pt>
                <c:pt idx="42">
                  <c:v>14.0</c:v>
                </c:pt>
                <c:pt idx="43">
                  <c:v>0.0</c:v>
                </c:pt>
                <c:pt idx="44">
                  <c:v>-42.0</c:v>
                </c:pt>
                <c:pt idx="45">
                  <c:v>14.0</c:v>
                </c:pt>
                <c:pt idx="46">
                  <c:v>15.0</c:v>
                </c:pt>
                <c:pt idx="47">
                  <c:v>16.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9360936"/>
        <c:axId val="859366424"/>
      </c:scatterChart>
      <c:valAx>
        <c:axId val="859360936"/>
        <c:scaling>
          <c:orientation val="minMax"/>
          <c:max val="5.0"/>
          <c:min val="2.0"/>
        </c:scaling>
        <c:delete val="1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er capita income (2015, in US$)</a:t>
                </a:r>
              </a:p>
            </c:rich>
          </c:tx>
          <c:layout>
            <c:manualLayout>
              <c:xMode val="edge"/>
              <c:yMode val="edge"/>
              <c:x val="0.363439567651159"/>
              <c:y val="0.93089021234202"/>
            </c:manualLayout>
          </c:layout>
          <c:overlay val="0"/>
        </c:title>
        <c:numFmt formatCode="_(* #,##0.00_);_(* \(#,##0.00\);_(* &quot;-&quot;??_);_(@_)" sourceLinked="1"/>
        <c:majorTickMark val="out"/>
        <c:minorTickMark val="none"/>
        <c:tickLblPos val="nextTo"/>
        <c:crossAx val="859366424"/>
        <c:crosses val="autoZero"/>
        <c:crossBetween val="midCat"/>
      </c:valAx>
      <c:valAx>
        <c:axId val="85936642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Months taken to adopt </a:t>
                </a:r>
                <a:r>
                  <a:rPr lang="en-US" dirty="0" smtClean="0"/>
                  <a:t>treat all </a:t>
                </a:r>
                <a:r>
                  <a:rPr lang="en-US" dirty="0"/>
                  <a:t>relative to WHO</a:t>
                </a:r>
              </a:p>
            </c:rich>
          </c:tx>
          <c:layout>
            <c:manualLayout>
              <c:xMode val="edge"/>
              <c:yMode val="edge"/>
              <c:x val="0.0444740886488818"/>
              <c:y val="0.057249463938692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859360936"/>
        <c:crosses val="autoZero"/>
        <c:crossBetween val="midCat"/>
      </c:valAx>
      <c:spPr>
        <a:ln>
          <a:solidFill>
            <a:schemeClr val="bg1"/>
          </a:solidFill>
        </a:ln>
      </c:spPr>
    </c:plotArea>
    <c:plotVisOnly val="1"/>
    <c:dispBlanksAs val="gap"/>
    <c:showDLblsOverMax val="0"/>
  </c:chart>
  <c:txPr>
    <a:bodyPr/>
    <a:lstStyle/>
    <a:p>
      <a:pPr>
        <a:defRPr sz="1600">
          <a:solidFill>
            <a:schemeClr val="bg1"/>
          </a:solidFill>
          <a:latin typeface="Arial"/>
          <a:cs typeface="Arial"/>
        </a:defRPr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5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2006 - 2008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LinFactNeighborX="-9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22FD4F5-F72D-3346-B40D-3A9833035314}" type="presOf" srcId="{BF7EB570-A9F9-0149-8411-5E121545391A}" destId="{29925138-305F-AE40-A776-12638446ABB6}" srcOrd="0" destOrd="0" presId="urn:microsoft.com/office/officeart/2005/8/layout/process1"/>
    <dgm:cxn modelId="{7C2F276B-CA9A-AC46-8900-E003A4565571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C8F79E05-4C46-D54C-93A9-27A8E65745D1}" type="presParOf" srcId="{4A8B4FE5-070D-A64E-8317-A7B201BB275F}" destId="{29925138-305F-AE40-A776-12638446ABB6}" srcOrd="0" destOrd="0" presId="urn:microsoft.com/office/officeart/2005/8/layout/process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52ACD86-3A96-3C46-BB60-31C02E7EF166}" type="doc">
      <dgm:prSet loTypeId="urn:microsoft.com/office/officeart/2005/8/layout/hChevron3" loCatId="process" qsTypeId="urn:microsoft.com/office/officeart/2005/8/quickstyle/simple3" qsCatId="simple" csTypeId="urn:microsoft.com/office/officeart/2005/8/colors/accent0_1" csCatId="mainScheme" phldr="1"/>
      <dgm:spPr/>
    </dgm:pt>
    <dgm:pt modelId="{FF06F620-3F1D-3A4F-A537-7195ABE35E62}">
      <dgm:prSet phldrT="[Text]"/>
      <dgm:spPr/>
      <dgm:t>
        <a:bodyPr/>
        <a:lstStyle/>
        <a:p>
          <a:r>
            <a:rPr lang="en-US" dirty="0" smtClean="0"/>
            <a:t>2011</a:t>
          </a:r>
          <a:endParaRPr lang="en-US" dirty="0"/>
        </a:p>
      </dgm:t>
    </dgm:pt>
    <dgm:pt modelId="{80A1B1EE-3A87-D842-AFAE-D7921342DC24}" type="parTrans" cxnId="{C5918539-EE7F-AE4A-A44E-743056EFAAD0}">
      <dgm:prSet/>
      <dgm:spPr/>
      <dgm:t>
        <a:bodyPr/>
        <a:lstStyle/>
        <a:p>
          <a:endParaRPr lang="en-US"/>
        </a:p>
      </dgm:t>
    </dgm:pt>
    <dgm:pt modelId="{D4953379-363F-B042-9BB5-8324FF58B22D}" type="sibTrans" cxnId="{C5918539-EE7F-AE4A-A44E-743056EFAAD0}">
      <dgm:prSet/>
      <dgm:spPr/>
      <dgm:t>
        <a:bodyPr/>
        <a:lstStyle/>
        <a:p>
          <a:endParaRPr lang="en-US"/>
        </a:p>
      </dgm:t>
    </dgm:pt>
    <dgm:pt modelId="{DE35AD9F-192E-E345-B894-63031EB768D0}">
      <dgm:prSet phldrT="[Text]"/>
      <dgm:spPr/>
      <dgm:t>
        <a:bodyPr/>
        <a:lstStyle/>
        <a:p>
          <a:r>
            <a:rPr lang="en-US" dirty="0" smtClean="0"/>
            <a:t>2012</a:t>
          </a:r>
          <a:endParaRPr lang="en-US" dirty="0"/>
        </a:p>
      </dgm:t>
    </dgm:pt>
    <dgm:pt modelId="{0B6EA922-1F86-3A42-8E13-50C20A9A99BC}" type="parTrans" cxnId="{8AC7114C-0536-C644-BBDC-E7D05E6C5941}">
      <dgm:prSet/>
      <dgm:spPr/>
      <dgm:t>
        <a:bodyPr/>
        <a:lstStyle/>
        <a:p>
          <a:endParaRPr lang="en-US"/>
        </a:p>
      </dgm:t>
    </dgm:pt>
    <dgm:pt modelId="{47F62B11-A6D6-4B49-8799-E0249BF9C83C}" type="sibTrans" cxnId="{8AC7114C-0536-C644-BBDC-E7D05E6C5941}">
      <dgm:prSet/>
      <dgm:spPr/>
      <dgm:t>
        <a:bodyPr/>
        <a:lstStyle/>
        <a:p>
          <a:endParaRPr lang="en-US"/>
        </a:p>
      </dgm:t>
    </dgm:pt>
    <dgm:pt modelId="{C41B1FCC-29C0-B24D-BA69-A4BF92BBCA19}">
      <dgm:prSet phldrT="[Text]"/>
      <dgm:spPr/>
      <dgm:t>
        <a:bodyPr/>
        <a:lstStyle/>
        <a:p>
          <a:r>
            <a:rPr lang="en-US" dirty="0" smtClean="0"/>
            <a:t>2013</a:t>
          </a:r>
          <a:endParaRPr lang="en-US" dirty="0"/>
        </a:p>
      </dgm:t>
    </dgm:pt>
    <dgm:pt modelId="{BF92AE73-9F05-FA4B-93C4-19EBF64E3646}" type="parTrans" cxnId="{6344A39F-079F-3F4C-8F4A-A5BF6E2CC1DF}">
      <dgm:prSet/>
      <dgm:spPr/>
      <dgm:t>
        <a:bodyPr/>
        <a:lstStyle/>
        <a:p>
          <a:endParaRPr lang="en-US"/>
        </a:p>
      </dgm:t>
    </dgm:pt>
    <dgm:pt modelId="{48BBB40F-DC45-A44B-A96D-5EAF20F2D0D1}" type="sibTrans" cxnId="{6344A39F-079F-3F4C-8F4A-A5BF6E2CC1DF}">
      <dgm:prSet/>
      <dgm:spPr/>
      <dgm:t>
        <a:bodyPr/>
        <a:lstStyle/>
        <a:p>
          <a:endParaRPr lang="en-US"/>
        </a:p>
      </dgm:t>
    </dgm:pt>
    <dgm:pt modelId="{7C902B2A-2B4B-D548-B2D1-865E1BFDBFE2}">
      <dgm:prSet phldrT="[Text]"/>
      <dgm:spPr/>
      <dgm:t>
        <a:bodyPr/>
        <a:lstStyle/>
        <a:p>
          <a:r>
            <a:rPr lang="en-US" dirty="0" smtClean="0"/>
            <a:t>2014</a:t>
          </a:r>
          <a:endParaRPr lang="en-US" dirty="0"/>
        </a:p>
      </dgm:t>
    </dgm:pt>
    <dgm:pt modelId="{7096DCDA-8831-A447-BBF6-9CFE0E85C2FD}" type="parTrans" cxnId="{21039BD9-038D-AB49-AF82-9A3A6F45A949}">
      <dgm:prSet/>
      <dgm:spPr/>
      <dgm:t>
        <a:bodyPr/>
        <a:lstStyle/>
        <a:p>
          <a:endParaRPr lang="en-US"/>
        </a:p>
      </dgm:t>
    </dgm:pt>
    <dgm:pt modelId="{EFA385EE-641D-A840-9C5C-26C81550093A}" type="sibTrans" cxnId="{21039BD9-038D-AB49-AF82-9A3A6F45A949}">
      <dgm:prSet/>
      <dgm:spPr/>
      <dgm:t>
        <a:bodyPr/>
        <a:lstStyle/>
        <a:p>
          <a:endParaRPr lang="en-US"/>
        </a:p>
      </dgm:t>
    </dgm:pt>
    <dgm:pt modelId="{58532E69-C0A9-474E-8EC5-0CDFDA394D48}">
      <dgm:prSet phldrT="[Text]"/>
      <dgm:spPr/>
      <dgm:t>
        <a:bodyPr/>
        <a:lstStyle/>
        <a:p>
          <a:r>
            <a:rPr lang="en-US" dirty="0" smtClean="0"/>
            <a:t>2015</a:t>
          </a:r>
          <a:endParaRPr lang="en-US" dirty="0"/>
        </a:p>
      </dgm:t>
    </dgm:pt>
    <dgm:pt modelId="{E246D8A8-217D-B742-A48F-995C3B7284B9}" type="parTrans" cxnId="{B8D6CF06-B94E-EE4D-8FFE-8B0356B116E3}">
      <dgm:prSet/>
      <dgm:spPr/>
      <dgm:t>
        <a:bodyPr/>
        <a:lstStyle/>
        <a:p>
          <a:endParaRPr lang="en-US"/>
        </a:p>
      </dgm:t>
    </dgm:pt>
    <dgm:pt modelId="{67E73B0A-B354-4047-8222-3806BFAD4823}" type="sibTrans" cxnId="{B8D6CF06-B94E-EE4D-8FFE-8B0356B116E3}">
      <dgm:prSet/>
      <dgm:spPr/>
      <dgm:t>
        <a:bodyPr/>
        <a:lstStyle/>
        <a:p>
          <a:endParaRPr lang="en-US"/>
        </a:p>
      </dgm:t>
    </dgm:pt>
    <dgm:pt modelId="{885E3F85-FD17-3145-97F3-A6EA9E708FF7}">
      <dgm:prSet phldrT="[Text]"/>
      <dgm:spPr/>
      <dgm:t>
        <a:bodyPr/>
        <a:lstStyle/>
        <a:p>
          <a:r>
            <a:rPr lang="en-US" dirty="0" smtClean="0"/>
            <a:t>2016</a:t>
          </a:r>
          <a:endParaRPr lang="en-US" dirty="0"/>
        </a:p>
      </dgm:t>
    </dgm:pt>
    <dgm:pt modelId="{158C5DF9-B948-BF40-9157-56EF1BEC570F}" type="parTrans" cxnId="{8213D0BD-CC25-174B-B4C3-395E8A575BBB}">
      <dgm:prSet/>
      <dgm:spPr/>
      <dgm:t>
        <a:bodyPr/>
        <a:lstStyle/>
        <a:p>
          <a:endParaRPr lang="en-US"/>
        </a:p>
      </dgm:t>
    </dgm:pt>
    <dgm:pt modelId="{9060E577-1046-4E46-B096-1C4391508739}" type="sibTrans" cxnId="{8213D0BD-CC25-174B-B4C3-395E8A575BBB}">
      <dgm:prSet/>
      <dgm:spPr/>
      <dgm:t>
        <a:bodyPr/>
        <a:lstStyle/>
        <a:p>
          <a:endParaRPr lang="en-US"/>
        </a:p>
      </dgm:t>
    </dgm:pt>
    <dgm:pt modelId="{E2C494A6-7701-6F44-A36B-CA16D060A59A}">
      <dgm:prSet phldrT="[Text]"/>
      <dgm:spPr/>
      <dgm:t>
        <a:bodyPr/>
        <a:lstStyle/>
        <a:p>
          <a:r>
            <a:rPr lang="en-US" dirty="0" smtClean="0"/>
            <a:t>2017</a:t>
          </a:r>
          <a:endParaRPr lang="en-US" dirty="0"/>
        </a:p>
      </dgm:t>
    </dgm:pt>
    <dgm:pt modelId="{97C98E39-E9EF-F746-8B57-07A221463749}" type="parTrans" cxnId="{871264F5-1331-0D46-8FFC-59F7E6E07243}">
      <dgm:prSet/>
      <dgm:spPr/>
      <dgm:t>
        <a:bodyPr/>
        <a:lstStyle/>
        <a:p>
          <a:endParaRPr lang="en-US"/>
        </a:p>
      </dgm:t>
    </dgm:pt>
    <dgm:pt modelId="{2C9F7155-3CE0-8042-A1FA-6CDBDA4359E2}" type="sibTrans" cxnId="{871264F5-1331-0D46-8FFC-59F7E6E07243}">
      <dgm:prSet/>
      <dgm:spPr/>
      <dgm:t>
        <a:bodyPr/>
        <a:lstStyle/>
        <a:p>
          <a:endParaRPr lang="en-US"/>
        </a:p>
      </dgm:t>
    </dgm:pt>
    <dgm:pt modelId="{792DBC61-73CF-334A-A21A-6926B98C55DF}" type="pres">
      <dgm:prSet presAssocID="{652ACD86-3A96-3C46-BB60-31C02E7EF166}" presName="Name0" presStyleCnt="0">
        <dgm:presLayoutVars>
          <dgm:dir/>
          <dgm:resizeHandles val="exact"/>
        </dgm:presLayoutVars>
      </dgm:prSet>
      <dgm:spPr/>
    </dgm:pt>
    <dgm:pt modelId="{2C548122-9D8A-924F-837B-D1C6FB4CBB7F}" type="pres">
      <dgm:prSet presAssocID="{FF06F620-3F1D-3A4F-A537-7195ABE35E62}" presName="parTxOnly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DC0189-EEEC-E34C-B9DD-165F2DA07766}" type="pres">
      <dgm:prSet presAssocID="{D4953379-363F-B042-9BB5-8324FF58B22D}" presName="parSpace" presStyleCnt="0"/>
      <dgm:spPr/>
    </dgm:pt>
    <dgm:pt modelId="{7EBAFC1C-74C6-B748-826A-432F566D2B70}" type="pres">
      <dgm:prSet presAssocID="{DE35AD9F-192E-E345-B894-63031EB768D0}" presName="parTxOnly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5408CB-A089-FB4D-989A-0E9B938DA856}" type="pres">
      <dgm:prSet presAssocID="{47F62B11-A6D6-4B49-8799-E0249BF9C83C}" presName="parSpace" presStyleCnt="0"/>
      <dgm:spPr/>
    </dgm:pt>
    <dgm:pt modelId="{DF2BD6B6-F8CE-1947-B41C-57E8D522DBFE}" type="pres">
      <dgm:prSet presAssocID="{C41B1FCC-29C0-B24D-BA69-A4BF92BBCA19}" presName="parTxOnly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405144-187A-164E-B414-E8416E4C4912}" type="pres">
      <dgm:prSet presAssocID="{48BBB40F-DC45-A44B-A96D-5EAF20F2D0D1}" presName="parSpace" presStyleCnt="0"/>
      <dgm:spPr/>
    </dgm:pt>
    <dgm:pt modelId="{CE98D479-6334-9F46-9184-993087B4D8EA}" type="pres">
      <dgm:prSet presAssocID="{7C902B2A-2B4B-D548-B2D1-865E1BFDBFE2}" presName="parTxOnly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1958F5-CFE3-AA40-8255-B39B81A88BF2}" type="pres">
      <dgm:prSet presAssocID="{EFA385EE-641D-A840-9C5C-26C81550093A}" presName="parSpace" presStyleCnt="0"/>
      <dgm:spPr/>
    </dgm:pt>
    <dgm:pt modelId="{DE47DD07-8EC3-024A-BFC8-96AE5DA6F1BC}" type="pres">
      <dgm:prSet presAssocID="{58532E69-C0A9-474E-8EC5-0CDFDA394D48}" presName="parTxOnly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394908-5BC5-3942-9AA1-4848891C38EC}" type="pres">
      <dgm:prSet presAssocID="{67E73B0A-B354-4047-8222-3806BFAD4823}" presName="parSpace" presStyleCnt="0"/>
      <dgm:spPr/>
    </dgm:pt>
    <dgm:pt modelId="{CB7F4FEB-8252-4E48-B967-DEA3B0E90F57}" type="pres">
      <dgm:prSet presAssocID="{885E3F85-FD17-3145-97F3-A6EA9E708FF7}" presName="parTxOnly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79CA5-680D-B441-A198-7219881F9EE3}" type="pres">
      <dgm:prSet presAssocID="{9060E577-1046-4E46-B096-1C4391508739}" presName="parSpace" presStyleCnt="0"/>
      <dgm:spPr/>
    </dgm:pt>
    <dgm:pt modelId="{8BC55C39-10A5-294B-9089-5A076650A294}" type="pres">
      <dgm:prSet presAssocID="{E2C494A6-7701-6F44-A36B-CA16D060A59A}" presName="parTxOnly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344A39F-079F-3F4C-8F4A-A5BF6E2CC1DF}" srcId="{652ACD86-3A96-3C46-BB60-31C02E7EF166}" destId="{C41B1FCC-29C0-B24D-BA69-A4BF92BBCA19}" srcOrd="2" destOrd="0" parTransId="{BF92AE73-9F05-FA4B-93C4-19EBF64E3646}" sibTransId="{48BBB40F-DC45-A44B-A96D-5EAF20F2D0D1}"/>
    <dgm:cxn modelId="{E91121E7-03ED-F84E-84BE-B048CAE1FE9E}" type="presOf" srcId="{C41B1FCC-29C0-B24D-BA69-A4BF92BBCA19}" destId="{DF2BD6B6-F8CE-1947-B41C-57E8D522DBFE}" srcOrd="0" destOrd="0" presId="urn:microsoft.com/office/officeart/2005/8/layout/hChevron3"/>
    <dgm:cxn modelId="{63B49FDD-052B-1841-8C2F-80D2270F0BB5}" type="presOf" srcId="{7C902B2A-2B4B-D548-B2D1-865E1BFDBFE2}" destId="{CE98D479-6334-9F46-9184-993087B4D8EA}" srcOrd="0" destOrd="0" presId="urn:microsoft.com/office/officeart/2005/8/layout/hChevron3"/>
    <dgm:cxn modelId="{B8D6CF06-B94E-EE4D-8FFE-8B0356B116E3}" srcId="{652ACD86-3A96-3C46-BB60-31C02E7EF166}" destId="{58532E69-C0A9-474E-8EC5-0CDFDA394D48}" srcOrd="4" destOrd="0" parTransId="{E246D8A8-217D-B742-A48F-995C3B7284B9}" sibTransId="{67E73B0A-B354-4047-8222-3806BFAD4823}"/>
    <dgm:cxn modelId="{F28A6B65-50AD-2947-99F0-2E5B23B85664}" type="presOf" srcId="{885E3F85-FD17-3145-97F3-A6EA9E708FF7}" destId="{CB7F4FEB-8252-4E48-B967-DEA3B0E90F57}" srcOrd="0" destOrd="0" presId="urn:microsoft.com/office/officeart/2005/8/layout/hChevron3"/>
    <dgm:cxn modelId="{8213D0BD-CC25-174B-B4C3-395E8A575BBB}" srcId="{652ACD86-3A96-3C46-BB60-31C02E7EF166}" destId="{885E3F85-FD17-3145-97F3-A6EA9E708FF7}" srcOrd="5" destOrd="0" parTransId="{158C5DF9-B948-BF40-9157-56EF1BEC570F}" sibTransId="{9060E577-1046-4E46-B096-1C4391508739}"/>
    <dgm:cxn modelId="{19F0D4C5-5937-C545-BE3F-B6DC823B4314}" type="presOf" srcId="{58532E69-C0A9-474E-8EC5-0CDFDA394D48}" destId="{DE47DD07-8EC3-024A-BFC8-96AE5DA6F1BC}" srcOrd="0" destOrd="0" presId="urn:microsoft.com/office/officeart/2005/8/layout/hChevron3"/>
    <dgm:cxn modelId="{4A552E97-C51B-6548-BA20-39B75943B2E1}" type="presOf" srcId="{DE35AD9F-192E-E345-B894-63031EB768D0}" destId="{7EBAFC1C-74C6-B748-826A-432F566D2B70}" srcOrd="0" destOrd="0" presId="urn:microsoft.com/office/officeart/2005/8/layout/hChevron3"/>
    <dgm:cxn modelId="{F9B273F6-0C5A-6C4E-8DB5-CB605812F507}" type="presOf" srcId="{FF06F620-3F1D-3A4F-A537-7195ABE35E62}" destId="{2C548122-9D8A-924F-837B-D1C6FB4CBB7F}" srcOrd="0" destOrd="0" presId="urn:microsoft.com/office/officeart/2005/8/layout/hChevron3"/>
    <dgm:cxn modelId="{871264F5-1331-0D46-8FFC-59F7E6E07243}" srcId="{652ACD86-3A96-3C46-BB60-31C02E7EF166}" destId="{E2C494A6-7701-6F44-A36B-CA16D060A59A}" srcOrd="6" destOrd="0" parTransId="{97C98E39-E9EF-F746-8B57-07A221463749}" sibTransId="{2C9F7155-3CE0-8042-A1FA-6CDBDA4359E2}"/>
    <dgm:cxn modelId="{AB60B6D9-22FA-6543-96A1-AADEF2240E65}" type="presOf" srcId="{E2C494A6-7701-6F44-A36B-CA16D060A59A}" destId="{8BC55C39-10A5-294B-9089-5A076650A294}" srcOrd="0" destOrd="0" presId="urn:microsoft.com/office/officeart/2005/8/layout/hChevron3"/>
    <dgm:cxn modelId="{8AC7114C-0536-C644-BBDC-E7D05E6C5941}" srcId="{652ACD86-3A96-3C46-BB60-31C02E7EF166}" destId="{DE35AD9F-192E-E345-B894-63031EB768D0}" srcOrd="1" destOrd="0" parTransId="{0B6EA922-1F86-3A42-8E13-50C20A9A99BC}" sibTransId="{47F62B11-A6D6-4B49-8799-E0249BF9C83C}"/>
    <dgm:cxn modelId="{EF4828BF-2B91-744C-B75D-E688254725F3}" type="presOf" srcId="{652ACD86-3A96-3C46-BB60-31C02E7EF166}" destId="{792DBC61-73CF-334A-A21A-6926B98C55DF}" srcOrd="0" destOrd="0" presId="urn:microsoft.com/office/officeart/2005/8/layout/hChevron3"/>
    <dgm:cxn modelId="{21039BD9-038D-AB49-AF82-9A3A6F45A949}" srcId="{652ACD86-3A96-3C46-BB60-31C02E7EF166}" destId="{7C902B2A-2B4B-D548-B2D1-865E1BFDBFE2}" srcOrd="3" destOrd="0" parTransId="{7096DCDA-8831-A447-BBF6-9CFE0E85C2FD}" sibTransId="{EFA385EE-641D-A840-9C5C-26C81550093A}"/>
    <dgm:cxn modelId="{C5918539-EE7F-AE4A-A44E-743056EFAAD0}" srcId="{652ACD86-3A96-3C46-BB60-31C02E7EF166}" destId="{FF06F620-3F1D-3A4F-A537-7195ABE35E62}" srcOrd="0" destOrd="0" parTransId="{80A1B1EE-3A87-D842-AFAE-D7921342DC24}" sibTransId="{D4953379-363F-B042-9BB5-8324FF58B22D}"/>
    <dgm:cxn modelId="{A17A704D-6051-9046-8542-D37E6E63C5CD}" type="presParOf" srcId="{792DBC61-73CF-334A-A21A-6926B98C55DF}" destId="{2C548122-9D8A-924F-837B-D1C6FB4CBB7F}" srcOrd="0" destOrd="0" presId="urn:microsoft.com/office/officeart/2005/8/layout/hChevron3"/>
    <dgm:cxn modelId="{7CC457F0-8DE8-B34E-923B-5CF379B32538}" type="presParOf" srcId="{792DBC61-73CF-334A-A21A-6926B98C55DF}" destId="{C7DC0189-EEEC-E34C-B9DD-165F2DA07766}" srcOrd="1" destOrd="0" presId="urn:microsoft.com/office/officeart/2005/8/layout/hChevron3"/>
    <dgm:cxn modelId="{ED385C0C-637B-B744-80DA-6276F4C65F9C}" type="presParOf" srcId="{792DBC61-73CF-334A-A21A-6926B98C55DF}" destId="{7EBAFC1C-74C6-B748-826A-432F566D2B70}" srcOrd="2" destOrd="0" presId="urn:microsoft.com/office/officeart/2005/8/layout/hChevron3"/>
    <dgm:cxn modelId="{E60A4874-B380-1E4B-A620-BAFC40A6AE95}" type="presParOf" srcId="{792DBC61-73CF-334A-A21A-6926B98C55DF}" destId="{735408CB-A089-FB4D-989A-0E9B938DA856}" srcOrd="3" destOrd="0" presId="urn:microsoft.com/office/officeart/2005/8/layout/hChevron3"/>
    <dgm:cxn modelId="{D4DC8F0B-59A2-F940-9C03-8707383A4DB3}" type="presParOf" srcId="{792DBC61-73CF-334A-A21A-6926B98C55DF}" destId="{DF2BD6B6-F8CE-1947-B41C-57E8D522DBFE}" srcOrd="4" destOrd="0" presId="urn:microsoft.com/office/officeart/2005/8/layout/hChevron3"/>
    <dgm:cxn modelId="{54215819-F877-C445-96A1-8E301046AE33}" type="presParOf" srcId="{792DBC61-73CF-334A-A21A-6926B98C55DF}" destId="{A9405144-187A-164E-B414-E8416E4C4912}" srcOrd="5" destOrd="0" presId="urn:microsoft.com/office/officeart/2005/8/layout/hChevron3"/>
    <dgm:cxn modelId="{48BD6558-9636-3F43-957C-3EFF1A80EB19}" type="presParOf" srcId="{792DBC61-73CF-334A-A21A-6926B98C55DF}" destId="{CE98D479-6334-9F46-9184-993087B4D8EA}" srcOrd="6" destOrd="0" presId="urn:microsoft.com/office/officeart/2005/8/layout/hChevron3"/>
    <dgm:cxn modelId="{0DCD485D-D6E9-4640-96E5-8ED032EE51C6}" type="presParOf" srcId="{792DBC61-73CF-334A-A21A-6926B98C55DF}" destId="{251958F5-CFE3-AA40-8255-B39B81A88BF2}" srcOrd="7" destOrd="0" presId="urn:microsoft.com/office/officeart/2005/8/layout/hChevron3"/>
    <dgm:cxn modelId="{AC621780-056D-0349-9E17-B3573B73C43D}" type="presParOf" srcId="{792DBC61-73CF-334A-A21A-6926B98C55DF}" destId="{DE47DD07-8EC3-024A-BFC8-96AE5DA6F1BC}" srcOrd="8" destOrd="0" presId="urn:microsoft.com/office/officeart/2005/8/layout/hChevron3"/>
    <dgm:cxn modelId="{ED2BE3FB-7AD7-9C4A-89C8-29C3643D0D19}" type="presParOf" srcId="{792DBC61-73CF-334A-A21A-6926B98C55DF}" destId="{3A394908-5BC5-3942-9AA1-4848891C38EC}" srcOrd="9" destOrd="0" presId="urn:microsoft.com/office/officeart/2005/8/layout/hChevron3"/>
    <dgm:cxn modelId="{3E48C5D0-8A92-0047-BE64-277615EF8F88}" type="presParOf" srcId="{792DBC61-73CF-334A-A21A-6926B98C55DF}" destId="{CB7F4FEB-8252-4E48-B967-DEA3B0E90F57}" srcOrd="10" destOrd="0" presId="urn:microsoft.com/office/officeart/2005/8/layout/hChevron3"/>
    <dgm:cxn modelId="{AFB8B247-0EFA-8A42-96F6-12DF65D143FF}" type="presParOf" srcId="{792DBC61-73CF-334A-A21A-6926B98C55DF}" destId="{4BA79CA5-680D-B441-A198-7219881F9EE3}" srcOrd="11" destOrd="0" presId="urn:microsoft.com/office/officeart/2005/8/layout/hChevron3"/>
    <dgm:cxn modelId="{F88820CF-BD59-C54C-B44A-40F47DC06155}" type="presParOf" srcId="{792DBC61-73CF-334A-A21A-6926B98C55DF}" destId="{8BC55C39-10A5-294B-9089-5A076650A294}" srcOrd="12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Jan - Sep 2009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866" custLinFactNeighborX="-9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2BC7D7-DA9E-9644-8DF7-318DC29CEC69}" type="presOf" srcId="{BF7EB570-A9F9-0149-8411-5E121545391A}" destId="{29925138-305F-AE40-A776-12638446ABB6}" srcOrd="0" destOrd="0" presId="urn:microsoft.com/office/officeart/2005/8/layout/process1"/>
    <dgm:cxn modelId="{AC2A64D7-96E6-7849-8363-75C7AD5A1717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162B98C9-E83B-EE4B-95DE-8576286CDF16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2010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LinFactNeighborX="-52330" custLinFactNeighborY="25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41C75B-C2F5-384C-B810-86F61C85824D}" type="presOf" srcId="{BF7EB570-A9F9-0149-8411-5E121545391A}" destId="{29925138-305F-AE40-A776-12638446ABB6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9DA507CD-A96A-6849-896C-6405FE065E48}" type="presOf" srcId="{01E65515-E9DA-7E4A-9C09-083FF9CA73BE}" destId="{4A8B4FE5-070D-A64E-8317-A7B201BB275F}" srcOrd="0" destOrd="0" presId="urn:microsoft.com/office/officeart/2005/8/layout/process1"/>
    <dgm:cxn modelId="{84E58FA8-30AA-0C4E-AB29-375629966D5B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2011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771" custLinFactNeighborX="-9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A13143C-F528-4549-884E-31A54ECAC639}" type="presOf" srcId="{BF7EB570-A9F9-0149-8411-5E121545391A}" destId="{29925138-305F-AE40-A776-12638446ABB6}" srcOrd="0" destOrd="0" presId="urn:microsoft.com/office/officeart/2005/8/layout/process1"/>
    <dgm:cxn modelId="{55FA2002-4BD8-E04F-ADE6-E812A62D50B6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C7ACE657-9868-DE4C-8C26-9AB7DE067E1E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2012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771" custLinFactNeighborX="-1163" custLinFactNeighborY="11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4796622-74F7-B246-8325-D66B936E8DE7}" type="presOf" srcId="{BF7EB570-A9F9-0149-8411-5E121545391A}" destId="{29925138-305F-AE40-A776-12638446ABB6}" srcOrd="0" destOrd="0" presId="urn:microsoft.com/office/officeart/2005/8/layout/process1"/>
    <dgm:cxn modelId="{26AA66EA-AAFC-DF41-82A4-216400F73190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9C61B144-FF78-C149-A3AA-0BCCAAAE8CBA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June - Dec 2013 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866" custLinFactNeighborX="-9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DEDFA1-66A7-6747-B97C-E857E62537BB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13F1D646-7F2E-3744-AF53-CCC61109CE39}" type="presOf" srcId="{BF7EB570-A9F9-0149-8411-5E121545391A}" destId="{29925138-305F-AE40-A776-12638446ABB6}" srcOrd="0" destOrd="0" presId="urn:microsoft.com/office/officeart/2005/8/layout/process1"/>
    <dgm:cxn modelId="{3D8CEFC7-2DC5-0F4E-8560-3ED2061DB0BD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2014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771" custLinFactNeighborX="-43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1806787-DA2E-6542-97DF-265923B4B3ED}" type="presOf" srcId="{01E65515-E9DA-7E4A-9C09-083FF9CA73BE}" destId="{4A8B4FE5-070D-A64E-8317-A7B201BB275F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A4E1F873-AF93-CB4F-BE45-3BA90E638EFA}" type="presOf" srcId="{BF7EB570-A9F9-0149-8411-5E121545391A}" destId="{29925138-305F-AE40-A776-12638446ABB6}" srcOrd="0" destOrd="0" presId="urn:microsoft.com/office/officeart/2005/8/layout/process1"/>
    <dgm:cxn modelId="{DDBE25D7-DBDE-6445-91CA-0649D1A172C2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Jan – Aug 2015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ScaleX="97771" custLinFactNeighborX="-963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BC2B5DD-B65D-984A-B022-0104CAC938C7}" type="presOf" srcId="{01E65515-E9DA-7E4A-9C09-083FF9CA73BE}" destId="{4A8B4FE5-070D-A64E-8317-A7B201BB275F}" srcOrd="0" destOrd="0" presId="urn:microsoft.com/office/officeart/2005/8/layout/process1"/>
    <dgm:cxn modelId="{1CD53821-A773-6140-8A86-60CC05D92053}" type="presOf" srcId="{BF7EB570-A9F9-0149-8411-5E121545391A}" destId="{29925138-305F-AE40-A776-12638446ABB6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059D7E94-7458-924E-87FA-FDB881A0C8E8}" type="presParOf" srcId="{4A8B4FE5-070D-A64E-8317-A7B201BB275F}" destId="{29925138-305F-AE40-A776-12638446ABB6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1E65515-E9DA-7E4A-9C09-083FF9CA73BE}" type="doc">
      <dgm:prSet loTypeId="urn:microsoft.com/office/officeart/2005/8/layout/process1" loCatId="" qsTypeId="urn:microsoft.com/office/officeart/2005/8/quickstyle/simple3" qsCatId="simple" csTypeId="urn:microsoft.com/office/officeart/2005/8/colors/accent6_2" csCatId="accent6" phldr="1"/>
      <dgm:spPr/>
    </dgm:pt>
    <dgm:pt modelId="{BF7EB570-A9F9-0149-8411-5E121545391A}">
      <dgm:prSet phldrT="[Text]" custT="1"/>
      <dgm:spPr/>
      <dgm:t>
        <a:bodyPr/>
        <a:lstStyle/>
        <a:p>
          <a:r>
            <a:rPr lang="en-US" sz="1200" b="1" dirty="0" smtClean="0"/>
            <a:t>Jan - Dec 2016</a:t>
          </a:r>
          <a:endParaRPr lang="en-US" sz="1200" b="1" dirty="0"/>
        </a:p>
      </dgm:t>
    </dgm:pt>
    <dgm:pt modelId="{EDEE7229-7EDC-4440-9CCD-1974E9093EDC}" type="par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FA9CD82E-088B-EF4B-8AAC-B86055DA4C81}" type="sibTrans" cxnId="{B9435CC9-16EA-E74A-BEB1-AFE5ECC374C6}">
      <dgm:prSet/>
      <dgm:spPr/>
      <dgm:t>
        <a:bodyPr/>
        <a:lstStyle/>
        <a:p>
          <a:endParaRPr lang="en-US" sz="1600" b="1"/>
        </a:p>
      </dgm:t>
    </dgm:pt>
    <dgm:pt modelId="{4A8B4FE5-070D-A64E-8317-A7B201BB275F}" type="pres">
      <dgm:prSet presAssocID="{01E65515-E9DA-7E4A-9C09-083FF9CA73BE}" presName="Name0" presStyleCnt="0">
        <dgm:presLayoutVars>
          <dgm:dir/>
          <dgm:resizeHandles val="exact"/>
        </dgm:presLayoutVars>
      </dgm:prSet>
      <dgm:spPr/>
    </dgm:pt>
    <dgm:pt modelId="{29925138-305F-AE40-A776-12638446ABB6}" type="pres">
      <dgm:prSet presAssocID="{BF7EB570-A9F9-0149-8411-5E121545391A}" presName="node" presStyleLbl="node1" presStyleIdx="0" presStyleCnt="1" custLinFactNeighborX="15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F32E3AA-173B-634E-86A1-C3D9875487A8}" type="presOf" srcId="{BF7EB570-A9F9-0149-8411-5E121545391A}" destId="{29925138-305F-AE40-A776-12638446ABB6}" srcOrd="0" destOrd="0" presId="urn:microsoft.com/office/officeart/2005/8/layout/process1"/>
    <dgm:cxn modelId="{B9435CC9-16EA-E74A-BEB1-AFE5ECC374C6}" srcId="{01E65515-E9DA-7E4A-9C09-083FF9CA73BE}" destId="{BF7EB570-A9F9-0149-8411-5E121545391A}" srcOrd="0" destOrd="0" parTransId="{EDEE7229-7EDC-4440-9CCD-1974E9093EDC}" sibTransId="{FA9CD82E-088B-EF4B-8AAC-B86055DA4C81}"/>
    <dgm:cxn modelId="{CB20D665-89CD-374E-A9A9-2DE4CE29A5F5}" type="presOf" srcId="{01E65515-E9DA-7E4A-9C09-083FF9CA73BE}" destId="{4A8B4FE5-070D-A64E-8317-A7B201BB275F}" srcOrd="0" destOrd="0" presId="urn:microsoft.com/office/officeart/2005/8/layout/process1"/>
    <dgm:cxn modelId="{2CC7D2F8-08CB-7B43-A4B2-81E583ECC2D1}" type="presParOf" srcId="{4A8B4FE5-070D-A64E-8317-A7B201BB275F}" destId="{29925138-305F-AE40-A776-12638446ABB6}" srcOrd="0" destOrd="0" presId="urn:microsoft.com/office/officeart/2005/8/layout/process1"/>
  </dgm:cxnLst>
  <dgm:bg>
    <a:solidFill>
      <a:srgbClr val="FFFFFF"/>
    </a:solidFill>
  </dgm:bg>
  <dgm:whole>
    <a:ln>
      <a:noFill/>
    </a:ln>
  </dgm:whole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30728" cy="35560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2006 - 2008</a:t>
          </a:r>
          <a:endParaRPr lang="en-US" sz="1200" b="1" kern="1200" dirty="0"/>
        </a:p>
      </dsp:txBody>
      <dsp:txXfrm>
        <a:off x="10415" y="10415"/>
        <a:ext cx="909898" cy="33477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548122-9D8A-924F-837B-D1C6FB4CBB7F}">
      <dsp:nvSpPr>
        <dsp:cNvPr id="0" name=""/>
        <dsp:cNvSpPr/>
      </dsp:nvSpPr>
      <dsp:spPr>
        <a:xfrm>
          <a:off x="1332" y="2095299"/>
          <a:ext cx="1567333" cy="626933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49352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1</a:t>
          </a:r>
          <a:endParaRPr lang="en-US" sz="2800" kern="1200" dirty="0"/>
        </a:p>
      </dsp:txBody>
      <dsp:txXfrm>
        <a:off x="1332" y="2095299"/>
        <a:ext cx="1410600" cy="626933"/>
      </dsp:txXfrm>
    </dsp:sp>
    <dsp:sp modelId="{7EBAFC1C-74C6-B748-826A-432F566D2B70}">
      <dsp:nvSpPr>
        <dsp:cNvPr id="0" name=""/>
        <dsp:cNvSpPr/>
      </dsp:nvSpPr>
      <dsp:spPr>
        <a:xfrm>
          <a:off x="1255199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2</a:t>
          </a:r>
          <a:endParaRPr lang="en-US" sz="2800" kern="1200" dirty="0"/>
        </a:p>
      </dsp:txBody>
      <dsp:txXfrm>
        <a:off x="1568666" y="2095299"/>
        <a:ext cx="940400" cy="626933"/>
      </dsp:txXfrm>
    </dsp:sp>
    <dsp:sp modelId="{DF2BD6B6-F8CE-1947-B41C-57E8D522DBFE}">
      <dsp:nvSpPr>
        <dsp:cNvPr id="0" name=""/>
        <dsp:cNvSpPr/>
      </dsp:nvSpPr>
      <dsp:spPr>
        <a:xfrm>
          <a:off x="2509066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3</a:t>
          </a:r>
          <a:endParaRPr lang="en-US" sz="2800" kern="1200" dirty="0"/>
        </a:p>
      </dsp:txBody>
      <dsp:txXfrm>
        <a:off x="2822533" y="2095299"/>
        <a:ext cx="940400" cy="626933"/>
      </dsp:txXfrm>
    </dsp:sp>
    <dsp:sp modelId="{CE98D479-6334-9F46-9184-993087B4D8EA}">
      <dsp:nvSpPr>
        <dsp:cNvPr id="0" name=""/>
        <dsp:cNvSpPr/>
      </dsp:nvSpPr>
      <dsp:spPr>
        <a:xfrm>
          <a:off x="3762933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4</a:t>
          </a:r>
          <a:endParaRPr lang="en-US" sz="2800" kern="1200" dirty="0"/>
        </a:p>
      </dsp:txBody>
      <dsp:txXfrm>
        <a:off x="4076400" y="2095299"/>
        <a:ext cx="940400" cy="626933"/>
      </dsp:txXfrm>
    </dsp:sp>
    <dsp:sp modelId="{DE47DD07-8EC3-024A-BFC8-96AE5DA6F1BC}">
      <dsp:nvSpPr>
        <dsp:cNvPr id="0" name=""/>
        <dsp:cNvSpPr/>
      </dsp:nvSpPr>
      <dsp:spPr>
        <a:xfrm>
          <a:off x="5016800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5</a:t>
          </a:r>
          <a:endParaRPr lang="en-US" sz="2800" kern="1200" dirty="0"/>
        </a:p>
      </dsp:txBody>
      <dsp:txXfrm>
        <a:off x="5330267" y="2095299"/>
        <a:ext cx="940400" cy="626933"/>
      </dsp:txXfrm>
    </dsp:sp>
    <dsp:sp modelId="{CB7F4FEB-8252-4E48-B967-DEA3B0E90F57}">
      <dsp:nvSpPr>
        <dsp:cNvPr id="0" name=""/>
        <dsp:cNvSpPr/>
      </dsp:nvSpPr>
      <dsp:spPr>
        <a:xfrm>
          <a:off x="6270667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6</a:t>
          </a:r>
          <a:endParaRPr lang="en-US" sz="2800" kern="1200" dirty="0"/>
        </a:p>
      </dsp:txBody>
      <dsp:txXfrm>
        <a:off x="6584134" y="2095299"/>
        <a:ext cx="940400" cy="626933"/>
      </dsp:txXfrm>
    </dsp:sp>
    <dsp:sp modelId="{8BC55C39-10A5-294B-9089-5A076650A294}">
      <dsp:nvSpPr>
        <dsp:cNvPr id="0" name=""/>
        <dsp:cNvSpPr/>
      </dsp:nvSpPr>
      <dsp:spPr>
        <a:xfrm>
          <a:off x="7524535" y="2095299"/>
          <a:ext cx="1567333" cy="626933"/>
        </a:xfrm>
        <a:prstGeom prst="chevr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2017</a:t>
          </a:r>
          <a:endParaRPr lang="en-US" sz="2800" kern="1200" dirty="0"/>
        </a:p>
      </dsp:txBody>
      <dsp:txXfrm>
        <a:off x="7838002" y="2095299"/>
        <a:ext cx="940400" cy="6269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795858" cy="362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Jan - Sep 2009</a:t>
          </a:r>
          <a:endParaRPr lang="en-US" sz="1200" b="1" kern="1200" dirty="0"/>
        </a:p>
      </dsp:txBody>
      <dsp:txXfrm>
        <a:off x="10628" y="10628"/>
        <a:ext cx="774602" cy="34160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37084" cy="360136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2010</a:t>
          </a:r>
          <a:endParaRPr lang="en-US" sz="1200" b="1" kern="1200" dirty="0"/>
        </a:p>
      </dsp:txBody>
      <dsp:txXfrm>
        <a:off x="10548" y="10548"/>
        <a:ext cx="915988" cy="33904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26520" cy="362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2011</a:t>
          </a:r>
          <a:endParaRPr lang="en-US" sz="1200" b="1" kern="1200" dirty="0"/>
        </a:p>
      </dsp:txBody>
      <dsp:txXfrm>
        <a:off x="10628" y="10628"/>
        <a:ext cx="905264" cy="34160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3" y="0"/>
          <a:ext cx="972004" cy="3592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2012</a:t>
          </a:r>
          <a:endParaRPr lang="en-US" sz="1200" b="1" kern="1200" dirty="0"/>
        </a:p>
      </dsp:txBody>
      <dsp:txXfrm>
        <a:off x="10524" y="10521"/>
        <a:ext cx="950962" cy="33818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27317" cy="362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June - Dec 2013 </a:t>
          </a:r>
          <a:endParaRPr lang="en-US" sz="1200" b="1" kern="1200" dirty="0"/>
        </a:p>
      </dsp:txBody>
      <dsp:txXfrm>
        <a:off x="10628" y="10628"/>
        <a:ext cx="906061" cy="34160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18575" cy="36285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2014</a:t>
          </a:r>
          <a:endParaRPr lang="en-US" sz="1200" b="1" kern="1200" dirty="0"/>
        </a:p>
      </dsp:txBody>
      <dsp:txXfrm>
        <a:off x="10628" y="10628"/>
        <a:ext cx="897319" cy="3416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0" y="0"/>
          <a:ext cx="904519" cy="35922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Jan – Aug 2015</a:t>
          </a:r>
          <a:endParaRPr lang="en-US" sz="1200" b="1" kern="1200" dirty="0"/>
        </a:p>
      </dsp:txBody>
      <dsp:txXfrm>
        <a:off x="10521" y="10521"/>
        <a:ext cx="883477" cy="33818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925138-305F-AE40-A776-12638446ABB6}">
      <dsp:nvSpPr>
        <dsp:cNvPr id="0" name=""/>
        <dsp:cNvSpPr/>
      </dsp:nvSpPr>
      <dsp:spPr>
        <a:xfrm>
          <a:off x="1685" y="0"/>
          <a:ext cx="861673" cy="36013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6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Jan - Dec 2016</a:t>
          </a:r>
          <a:endParaRPr lang="en-US" sz="1200" b="1" kern="1200" dirty="0"/>
        </a:p>
      </dsp:txBody>
      <dsp:txXfrm>
        <a:off x="12233" y="10548"/>
        <a:ext cx="840577" cy="3390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2431DA-5C1C-6645-B8B8-CF269B6B64C3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7F9A2A-8B23-774D-9BFE-D658606287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615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7F9A2A-8B23-774D-9BFE-D658606287D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5029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944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2852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2879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884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808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401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8009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502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764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3533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8755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194C7-E470-944B-9270-1D1C4FB99F01}" type="datetimeFigureOut">
              <a:rPr lang="en-US" smtClean="0"/>
              <a:t>17-06-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6067E6-D5ED-7D4C-95A9-A9309D5FA56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003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4" Type="http://schemas.openxmlformats.org/officeDocument/2006/relationships/diagramQuickStyle" Target="../diagrams/quickStyle10.xml"/><Relationship Id="rId5" Type="http://schemas.openxmlformats.org/officeDocument/2006/relationships/diagramColors" Target="../diagrams/colors10.xml"/><Relationship Id="rId6" Type="http://schemas.microsoft.com/office/2007/relationships/diagramDrawing" Target="../diagrams/drawing10.xml"/><Relationship Id="rId7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oleObject" Target="../embeddings/oleObject1.bin"/><Relationship Id="rId5" Type="http://schemas.openxmlformats.org/officeDocument/2006/relationships/package" Target="../embeddings/Microsoft_Word_Document1.docx"/><Relationship Id="rId6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7.xml"/><Relationship Id="rId3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5.emf"/><Relationship Id="rId12" Type="http://schemas.openxmlformats.org/officeDocument/2006/relationships/image" Target="../media/image16.emf"/><Relationship Id="rId13" Type="http://schemas.openxmlformats.org/officeDocument/2006/relationships/image" Target="../media/image17.emf"/><Relationship Id="rId14" Type="http://schemas.openxmlformats.org/officeDocument/2006/relationships/image" Target="../media/image18.emf"/><Relationship Id="rId15" Type="http://schemas.openxmlformats.org/officeDocument/2006/relationships/image" Target="../media/image19.emf"/><Relationship Id="rId16" Type="http://schemas.openxmlformats.org/officeDocument/2006/relationships/image" Target="../media/image20.emf"/><Relationship Id="rId17" Type="http://schemas.openxmlformats.org/officeDocument/2006/relationships/image" Target="../media/image21.emf"/><Relationship Id="rId18" Type="http://schemas.openxmlformats.org/officeDocument/2006/relationships/image" Target="../media/image22.emf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openxmlformats.org/officeDocument/2006/relationships/image" Target="../media/image7.emf"/><Relationship Id="rId4" Type="http://schemas.openxmlformats.org/officeDocument/2006/relationships/image" Target="../media/image8.emf"/><Relationship Id="rId5" Type="http://schemas.openxmlformats.org/officeDocument/2006/relationships/image" Target="../media/image9.emf"/><Relationship Id="rId6" Type="http://schemas.openxmlformats.org/officeDocument/2006/relationships/image" Target="../media/image10.emf"/><Relationship Id="rId7" Type="http://schemas.openxmlformats.org/officeDocument/2006/relationships/image" Target="../media/image11.emf"/><Relationship Id="rId8" Type="http://schemas.openxmlformats.org/officeDocument/2006/relationships/image" Target="../media/image12.emf"/><Relationship Id="rId9" Type="http://schemas.openxmlformats.org/officeDocument/2006/relationships/image" Target="../media/image13.emf"/><Relationship Id="rId10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46" Type="http://schemas.microsoft.com/office/2007/relationships/diagramDrawing" Target="../diagrams/drawing9.xml"/><Relationship Id="rId47" Type="http://schemas.openxmlformats.org/officeDocument/2006/relationships/image" Target="../media/image1.png"/><Relationship Id="rId20" Type="http://schemas.openxmlformats.org/officeDocument/2006/relationships/diagramColors" Target="../diagrams/colors4.xml"/><Relationship Id="rId21" Type="http://schemas.microsoft.com/office/2007/relationships/diagramDrawing" Target="../diagrams/drawing4.xml"/><Relationship Id="rId22" Type="http://schemas.openxmlformats.org/officeDocument/2006/relationships/diagramData" Target="../diagrams/data5.xml"/><Relationship Id="rId23" Type="http://schemas.openxmlformats.org/officeDocument/2006/relationships/diagramLayout" Target="../diagrams/layout5.xml"/><Relationship Id="rId24" Type="http://schemas.openxmlformats.org/officeDocument/2006/relationships/diagramQuickStyle" Target="../diagrams/quickStyle5.xml"/><Relationship Id="rId25" Type="http://schemas.openxmlformats.org/officeDocument/2006/relationships/diagramColors" Target="../diagrams/colors5.xml"/><Relationship Id="rId26" Type="http://schemas.microsoft.com/office/2007/relationships/diagramDrawing" Target="../diagrams/drawing5.xml"/><Relationship Id="rId27" Type="http://schemas.openxmlformats.org/officeDocument/2006/relationships/diagramData" Target="../diagrams/data6.xml"/><Relationship Id="rId28" Type="http://schemas.openxmlformats.org/officeDocument/2006/relationships/diagramLayout" Target="../diagrams/layout6.xml"/><Relationship Id="rId29" Type="http://schemas.openxmlformats.org/officeDocument/2006/relationships/diagramQuickStyle" Target="../diagrams/quickStyle6.xml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30" Type="http://schemas.openxmlformats.org/officeDocument/2006/relationships/diagramColors" Target="../diagrams/colors6.xml"/><Relationship Id="rId31" Type="http://schemas.microsoft.com/office/2007/relationships/diagramDrawing" Target="../diagrams/drawing6.xml"/><Relationship Id="rId32" Type="http://schemas.openxmlformats.org/officeDocument/2006/relationships/diagramData" Target="../diagrams/data7.xml"/><Relationship Id="rId9" Type="http://schemas.openxmlformats.org/officeDocument/2006/relationships/diagramQuickStyle" Target="../diagrams/quickStyle2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33" Type="http://schemas.openxmlformats.org/officeDocument/2006/relationships/diagramLayout" Target="../diagrams/layout7.xml"/><Relationship Id="rId34" Type="http://schemas.openxmlformats.org/officeDocument/2006/relationships/diagramQuickStyle" Target="../diagrams/quickStyle7.xml"/><Relationship Id="rId35" Type="http://schemas.openxmlformats.org/officeDocument/2006/relationships/diagramColors" Target="../diagrams/colors7.xml"/><Relationship Id="rId36" Type="http://schemas.microsoft.com/office/2007/relationships/diagramDrawing" Target="../diagrams/drawing7.xml"/><Relationship Id="rId10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12" Type="http://schemas.openxmlformats.org/officeDocument/2006/relationships/diagramData" Target="../diagrams/data3.xml"/><Relationship Id="rId13" Type="http://schemas.openxmlformats.org/officeDocument/2006/relationships/diagramLayout" Target="../diagrams/layout3.xml"/><Relationship Id="rId14" Type="http://schemas.openxmlformats.org/officeDocument/2006/relationships/diagramQuickStyle" Target="../diagrams/quickStyle3.xml"/><Relationship Id="rId15" Type="http://schemas.openxmlformats.org/officeDocument/2006/relationships/diagramColors" Target="../diagrams/colors3.xml"/><Relationship Id="rId16" Type="http://schemas.microsoft.com/office/2007/relationships/diagramDrawing" Target="../diagrams/drawing3.xml"/><Relationship Id="rId17" Type="http://schemas.openxmlformats.org/officeDocument/2006/relationships/diagramData" Target="../diagrams/data4.xml"/><Relationship Id="rId18" Type="http://schemas.openxmlformats.org/officeDocument/2006/relationships/diagramLayout" Target="../diagrams/layout4.xml"/><Relationship Id="rId19" Type="http://schemas.openxmlformats.org/officeDocument/2006/relationships/diagramQuickStyle" Target="../diagrams/quickStyle4.xml"/><Relationship Id="rId37" Type="http://schemas.openxmlformats.org/officeDocument/2006/relationships/diagramData" Target="../diagrams/data8.xml"/><Relationship Id="rId38" Type="http://schemas.openxmlformats.org/officeDocument/2006/relationships/diagramLayout" Target="../diagrams/layout8.xml"/><Relationship Id="rId39" Type="http://schemas.openxmlformats.org/officeDocument/2006/relationships/diagramQuickStyle" Target="../diagrams/quickStyle8.xml"/><Relationship Id="rId40" Type="http://schemas.openxmlformats.org/officeDocument/2006/relationships/diagramColors" Target="../diagrams/colors8.xml"/><Relationship Id="rId41" Type="http://schemas.microsoft.com/office/2007/relationships/diagramDrawing" Target="../diagrams/drawing8.xml"/><Relationship Id="rId42" Type="http://schemas.openxmlformats.org/officeDocument/2006/relationships/diagramData" Target="../diagrams/data9.xml"/><Relationship Id="rId43" Type="http://schemas.openxmlformats.org/officeDocument/2006/relationships/diagramLayout" Target="../diagrams/layout9.xml"/><Relationship Id="rId44" Type="http://schemas.openxmlformats.org/officeDocument/2006/relationships/diagramQuickStyle" Target="../diagrams/quickStyle9.xml"/><Relationship Id="rId45" Type="http://schemas.openxmlformats.org/officeDocument/2006/relationships/diagramColors" Target="../diagrams/colors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270933" y="623503"/>
            <a:ext cx="8602133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4400" dirty="0" smtClean="0">
                <a:solidFill>
                  <a:srgbClr val="FFFF00"/>
                </a:solidFill>
                <a:ea typeface="ヒラギノ角ゴ Pro W3"/>
                <a:cs typeface="ヒラギノ角ゴ Pro W3"/>
              </a:rPr>
              <a:t>Monitoring Delays in Adopting WHO</a:t>
            </a:r>
            <a:r>
              <a:rPr lang="en-US" sz="4400" dirty="0">
                <a:solidFill>
                  <a:srgbClr val="FFFF00"/>
                </a:solidFill>
                <a:ea typeface="ヒラギノ角ゴ Pro W3"/>
                <a:cs typeface="ヒラギノ角ゴ Pro W3"/>
              </a:rPr>
              <a:t> </a:t>
            </a:r>
            <a:r>
              <a:rPr lang="en-US" sz="4400" dirty="0" smtClean="0">
                <a:solidFill>
                  <a:srgbClr val="FFFF00"/>
                </a:solidFill>
                <a:ea typeface="ヒラギノ角ゴ Pro W3"/>
                <a:cs typeface="ヒラギノ角ゴ Pro W3"/>
              </a:rPr>
              <a:t>HIV Treatment </a:t>
            </a:r>
            <a:r>
              <a:rPr lang="en-US" sz="4400" dirty="0">
                <a:solidFill>
                  <a:srgbClr val="FFFF00"/>
                </a:solidFill>
                <a:ea typeface="ヒラギノ角ゴ Pro W3"/>
                <a:cs typeface="ヒラギノ角ゴ Pro W3"/>
              </a:rPr>
              <a:t>G</a:t>
            </a:r>
            <a:r>
              <a:rPr lang="en-US" sz="4400" dirty="0" smtClean="0">
                <a:solidFill>
                  <a:srgbClr val="FFFF00"/>
                </a:solidFill>
                <a:ea typeface="ヒラギノ角ゴ Pro W3"/>
                <a:cs typeface="ヒラギノ角ゴ Pro W3"/>
              </a:rPr>
              <a:t>uidelines in Low- and Middle-Income Countries</a:t>
            </a:r>
          </a:p>
        </p:txBody>
      </p:sp>
      <p:sp>
        <p:nvSpPr>
          <p:cNvPr id="8" name="Rectangle 7"/>
          <p:cNvSpPr/>
          <p:nvPr/>
        </p:nvSpPr>
        <p:spPr>
          <a:xfrm>
            <a:off x="1782198" y="3770855"/>
            <a:ext cx="52020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solidFill>
                  <a:schemeClr val="bg1"/>
                </a:solidFill>
                <a:latin typeface="Arial"/>
                <a:cs typeface="Arial"/>
              </a:rPr>
              <a:t>Somya Gupta, Reuben Granich</a:t>
            </a:r>
            <a:endParaRPr lang="en-US" sz="28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70934" y="4329357"/>
            <a:ext cx="845568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altLang="en-US" sz="2600" dirty="0" smtClean="0">
                <a:solidFill>
                  <a:schemeClr val="bg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International </a:t>
            </a:r>
            <a:r>
              <a:rPr lang="en-US" altLang="en-US" sz="2600" dirty="0">
                <a:solidFill>
                  <a:schemeClr val="bg1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Association of Providers of AIDS Ca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757946" y="5567509"/>
            <a:ext cx="796867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altLang="en-US" sz="2200" dirty="0" smtClean="0">
                <a:solidFill>
                  <a:srgbClr val="FFFF00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Presented at Adherence 2017</a:t>
            </a:r>
          </a:p>
          <a:p>
            <a:pPr algn="ctr">
              <a:spcBef>
                <a:spcPct val="0"/>
              </a:spcBef>
              <a:defRPr/>
            </a:pPr>
            <a:r>
              <a:rPr lang="en-US" altLang="en-US" sz="2200" dirty="0" smtClean="0">
                <a:solidFill>
                  <a:srgbClr val="FFFF00"/>
                </a:solidFill>
                <a:latin typeface="Arial" panose="020B0604020202020204" pitchFamily="34" charset="0"/>
                <a:ea typeface="ヒラギノ角ゴ Pro W3" charset="-128"/>
                <a:cs typeface="Arial" panose="020B0604020202020204" pitchFamily="34" charset="0"/>
              </a:rPr>
              <a:t>June 4 – 6, 2017   Miami</a:t>
            </a:r>
            <a:endParaRPr lang="en-US" altLang="en-US" sz="2200" dirty="0">
              <a:solidFill>
                <a:srgbClr val="FFFF00"/>
              </a:solidFill>
              <a:latin typeface="Arial" panose="020B0604020202020204" pitchFamily="34" charset="0"/>
              <a:ea typeface="ヒラギノ角ゴ Pro W3" charset="-128"/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301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8012729"/>
              </p:ext>
            </p:extLst>
          </p:nvPr>
        </p:nvGraphicFramePr>
        <p:xfrm>
          <a:off x="293218" y="1576720"/>
          <a:ext cx="8541369" cy="405215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94382"/>
                <a:gridCol w="2065867"/>
                <a:gridCol w="2269066"/>
                <a:gridCol w="2112054"/>
              </a:tblGrid>
              <a:tr h="70119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09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13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15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617674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ate of publication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ctober,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2009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June, 2013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eptember, 2015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280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RT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eligibility criteria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&lt;350 cells/mm</a:t>
                      </a:r>
                      <a:r>
                        <a:rPr lang="en-US" sz="1800" baseline="300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en-US" sz="1800" baseline="300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&lt;500 cells/mm</a:t>
                      </a:r>
                      <a:r>
                        <a:rPr lang="en-US" sz="1800" baseline="300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rrespective of CD4 count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06064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Average time to adopt the WHO guidelines</a:t>
                      </a:r>
                      <a:endParaRPr lang="en-US" sz="1800" b="1" dirty="0">
                        <a:solidFill>
                          <a:srgbClr val="FFFF00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24 [3-56] months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=21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12 [0-39] months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=24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12 [7-15]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months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=12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4214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untries yet to adopt the recommendation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9</a:t>
                      </a: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4% burden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2</a:t>
                      </a: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24% burden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0" y="116224"/>
            <a:ext cx="91440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>
                <a:solidFill>
                  <a:srgbClr val="FFFF00"/>
                </a:solidFill>
                <a:cs typeface="Arial" charset="0"/>
              </a:rPr>
              <a:t>Policy Lag in Sub-Saharan </a:t>
            </a:r>
            <a:r>
              <a:rPr lang="en-US" sz="4400" dirty="0" smtClean="0">
                <a:solidFill>
                  <a:srgbClr val="FFFF00"/>
                </a:solidFill>
                <a:cs typeface="Arial" charset="0"/>
              </a:rPr>
              <a:t>Africa</a:t>
            </a:r>
          </a:p>
          <a:p>
            <a:pPr algn="ctr"/>
            <a:r>
              <a:rPr lang="en-US" sz="3600" dirty="0" smtClean="0">
                <a:solidFill>
                  <a:srgbClr val="FFFF00"/>
                </a:solidFill>
                <a:cs typeface="Arial" charset="0"/>
              </a:rPr>
              <a:t>34 countries</a:t>
            </a:r>
            <a:endParaRPr lang="en-US" sz="2800" dirty="0">
              <a:solidFill>
                <a:srgbClr val="FFFF00"/>
              </a:solidFill>
              <a:cs typeface="Arial" charset="0"/>
            </a:endParaRP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2235199" y="3640664"/>
            <a:ext cx="6650187" cy="1083682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94033" y="6319784"/>
            <a:ext cx="3361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/>
                <a:cs typeface="Arial"/>
              </a:rPr>
              <a:t>Search end date: June, 2017</a:t>
            </a:r>
            <a:endParaRPr lang="en-US"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08243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Diagram 48"/>
          <p:cNvGraphicFramePr/>
          <p:nvPr>
            <p:extLst>
              <p:ext uri="{D42A27DB-BD31-4B8C-83A1-F6EECF244321}">
                <p14:modId xmlns:p14="http://schemas.microsoft.com/office/powerpoint/2010/main" val="3048267042"/>
              </p:ext>
            </p:extLst>
          </p:nvPr>
        </p:nvGraphicFramePr>
        <p:xfrm>
          <a:off x="33866" y="1024473"/>
          <a:ext cx="9093201" cy="4817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0" name="Isosceles Triangle 49"/>
          <p:cNvSpPr/>
          <p:nvPr/>
        </p:nvSpPr>
        <p:spPr>
          <a:xfrm rot="10800000">
            <a:off x="1785876" y="2494274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3865" y="4474616"/>
            <a:ext cx="1557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Denmark</a:t>
            </a:r>
          </a:p>
          <a:p>
            <a:pPr algn="ctr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Italy</a:t>
            </a:r>
            <a:endParaRPr lang="en-US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994411" y="1723538"/>
            <a:ext cx="21166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United States</a:t>
            </a:r>
          </a:p>
          <a:p>
            <a:pPr algn="ctr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Netherlands</a:t>
            </a:r>
            <a:endParaRPr lang="en-US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340033" y="4510606"/>
            <a:ext cx="1898241" cy="1754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Australia</a:t>
            </a:r>
            <a:endParaRPr lang="en-US" dirty="0">
              <a:solidFill>
                <a:srgbClr val="FFFF00"/>
              </a:solidFill>
              <a:latin typeface="Arial"/>
              <a:cs typeface="Arial"/>
            </a:endParaRPr>
          </a:p>
          <a:p>
            <a:pPr algn="ctr" fontAlgn="t"/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Brazil </a:t>
            </a:r>
          </a:p>
          <a:p>
            <a:pPr algn="ctr" fontAlgn="t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France </a:t>
            </a:r>
          </a:p>
          <a:p>
            <a:pPr algn="ctr" fontAlgn="t"/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Romania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fontAlgn="t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South Korea </a:t>
            </a:r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Turkey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857297" y="1243296"/>
            <a:ext cx="14130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en-US" dirty="0" smtClean="0">
                <a:solidFill>
                  <a:schemeClr val="bg1"/>
                </a:solidFill>
                <a:latin typeface="Arial"/>
                <a:cs typeface="Arial"/>
              </a:rPr>
              <a:t>Mexico </a:t>
            </a:r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Spain Sweden </a:t>
            </a:r>
            <a:r>
              <a:rPr lang="en-US" dirty="0">
                <a:solidFill>
                  <a:schemeClr val="bg1"/>
                </a:solidFill>
                <a:latin typeface="Arial"/>
                <a:cs typeface="Arial"/>
              </a:rPr>
              <a:t>Thailand </a:t>
            </a:r>
          </a:p>
        </p:txBody>
      </p:sp>
      <p:sp>
        <p:nvSpPr>
          <p:cNvPr id="65" name="Isosceles Triangle 64"/>
          <p:cNvSpPr/>
          <p:nvPr/>
        </p:nvSpPr>
        <p:spPr>
          <a:xfrm>
            <a:off x="551181" y="3934508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66" name="Isosceles Triangle 65"/>
          <p:cNvSpPr/>
          <p:nvPr/>
        </p:nvSpPr>
        <p:spPr>
          <a:xfrm rot="10800000">
            <a:off x="4322652" y="2534304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7" name="Isosceles Triangle 66"/>
          <p:cNvSpPr/>
          <p:nvPr/>
        </p:nvSpPr>
        <p:spPr>
          <a:xfrm>
            <a:off x="2998040" y="3934508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617911" y="4509898"/>
            <a:ext cx="2475807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en-US" sz="2000" dirty="0" smtClean="0">
                <a:solidFill>
                  <a:srgbClr val="FFFFFF"/>
                </a:solidFill>
                <a:latin typeface="Arial"/>
                <a:cs typeface="Arial"/>
              </a:rPr>
              <a:t>WHO</a:t>
            </a:r>
          </a:p>
          <a:p>
            <a:pPr algn="ctr" fontAlgn="t"/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Argentina</a:t>
            </a:r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US" dirty="0">
                <a:solidFill>
                  <a:srgbClr val="FFFF00"/>
                </a:solidFill>
                <a:latin typeface="Arial"/>
                <a:cs typeface="Arial"/>
              </a:rPr>
              <a:t>Austria, Croatia,</a:t>
            </a:r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 Georgia, </a:t>
            </a:r>
            <a:r>
              <a:rPr lang="en-US" dirty="0">
                <a:solidFill>
                  <a:srgbClr val="FFFF00"/>
                </a:solidFill>
                <a:latin typeface="Arial"/>
                <a:cs typeface="Arial"/>
              </a:rPr>
              <a:t>Germany,</a:t>
            </a:r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 Maldives, Montenegro, </a:t>
            </a:r>
            <a:r>
              <a:rPr lang="en-US" dirty="0">
                <a:solidFill>
                  <a:srgbClr val="FFFF00"/>
                </a:solidFill>
                <a:latin typeface="Arial"/>
                <a:cs typeface="Arial"/>
              </a:rPr>
              <a:t>Switzerland, </a:t>
            </a:r>
            <a:endParaRPr lang="en-US" dirty="0" smtClean="0">
              <a:solidFill>
                <a:srgbClr val="FFFF00"/>
              </a:solidFill>
              <a:latin typeface="Arial"/>
              <a:cs typeface="Arial"/>
            </a:endParaRPr>
          </a:p>
          <a:p>
            <a:pPr algn="ctr" fontAlgn="t"/>
            <a:r>
              <a:rPr lang="en-US" dirty="0" smtClean="0">
                <a:solidFill>
                  <a:srgbClr val="FFFF00"/>
                </a:solidFill>
                <a:latin typeface="Arial"/>
                <a:cs typeface="Arial"/>
              </a:rPr>
              <a:t>United </a:t>
            </a:r>
            <a:r>
              <a:rPr lang="en-US" dirty="0">
                <a:solidFill>
                  <a:srgbClr val="FFFF00"/>
                </a:solidFill>
                <a:latin typeface="Arial"/>
                <a:cs typeface="Arial"/>
              </a:rPr>
              <a:t>Kingdom</a:t>
            </a:r>
          </a:p>
        </p:txBody>
      </p:sp>
      <p:sp>
        <p:nvSpPr>
          <p:cNvPr id="69" name="Isosceles Triangle 68"/>
          <p:cNvSpPr/>
          <p:nvPr/>
        </p:nvSpPr>
        <p:spPr>
          <a:xfrm rot="10800000">
            <a:off x="6848701" y="2534305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5653293" y="909953"/>
            <a:ext cx="287729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/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Botswana, Burundi, Cambodia, China, Haiti, Japan, Kenya, Lao PDR, Lesotho, Malawi, Malaysia, Mozambique, Namibia, </a:t>
            </a:r>
            <a:r>
              <a:rPr lang="en-US" sz="1400" dirty="0">
                <a:solidFill>
                  <a:srgbClr val="FFFF00"/>
                </a:solidFill>
                <a:latin typeface="Arial"/>
                <a:cs typeface="Arial"/>
              </a:rPr>
              <a:t>Norway, Poland, Portugal, 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Rwanda, South Africa, Sri </a:t>
            </a:r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Lanka, </a:t>
            </a:r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Uganda, Zambia, Zimbabwe</a:t>
            </a:r>
          </a:p>
        </p:txBody>
      </p:sp>
      <p:sp>
        <p:nvSpPr>
          <p:cNvPr id="72" name="Isosceles Triangle 71"/>
          <p:cNvSpPr/>
          <p:nvPr/>
        </p:nvSpPr>
        <p:spPr>
          <a:xfrm>
            <a:off x="5554137" y="3960828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73" name="Rectangle 48"/>
          <p:cNvSpPr>
            <a:spLocks noChangeArrowheads="1"/>
          </p:cNvSpPr>
          <p:nvPr/>
        </p:nvSpPr>
        <p:spPr bwMode="auto">
          <a:xfrm>
            <a:off x="31750" y="66868"/>
            <a:ext cx="911225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Adoption of ‘Treat all’ (48 countries) 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7725657" y="4479626"/>
            <a:ext cx="14173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/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India</a:t>
            </a:r>
          </a:p>
          <a:p>
            <a:pPr algn="ctr" fontAlgn="t"/>
            <a:r>
              <a:rPr lang="en-US" dirty="0" smtClean="0">
                <a:solidFill>
                  <a:srgbClr val="FFFFFF"/>
                </a:solidFill>
                <a:latin typeface="Arial"/>
                <a:cs typeface="Arial"/>
              </a:rPr>
              <a:t>Jamaica</a:t>
            </a:r>
            <a:endParaRPr lang="en-US" dirty="0">
              <a:solidFill>
                <a:srgbClr val="FFFFFF"/>
              </a:solidFill>
              <a:latin typeface="Arial"/>
              <a:cs typeface="Arial"/>
            </a:endParaRPr>
          </a:p>
          <a:p>
            <a:pPr algn="ctr" fontAlgn="t"/>
            <a:r>
              <a:rPr lang="en-US" dirty="0">
                <a:solidFill>
                  <a:srgbClr val="FFFFFF"/>
                </a:solidFill>
                <a:latin typeface="Arial"/>
                <a:cs typeface="Arial"/>
              </a:rPr>
              <a:t>Papua New Guinea</a:t>
            </a:r>
          </a:p>
        </p:txBody>
      </p:sp>
      <p:sp>
        <p:nvSpPr>
          <p:cNvPr id="20" name="Isosceles Triangle 19"/>
          <p:cNvSpPr/>
          <p:nvPr/>
        </p:nvSpPr>
        <p:spPr>
          <a:xfrm>
            <a:off x="8154010" y="3865154"/>
            <a:ext cx="546947" cy="496147"/>
          </a:xfrm>
          <a:prstGeom prst="triangle">
            <a:avLst/>
          </a:prstGeom>
          <a:solidFill>
            <a:schemeClr val="bg1">
              <a:lumMod val="75000"/>
              <a:alpha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6933" y="6509610"/>
            <a:ext cx="60975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Countries in </a:t>
            </a:r>
            <a:r>
              <a:rPr lang="en-US" sz="1400" dirty="0" smtClean="0">
                <a:solidFill>
                  <a:srgbClr val="FFFF00"/>
                </a:solidFill>
                <a:latin typeface="Arial"/>
                <a:cs typeface="Arial"/>
              </a:rPr>
              <a:t>yellow </a:t>
            </a:r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are high-income countries</a:t>
            </a:r>
          </a:p>
        </p:txBody>
      </p:sp>
    </p:spTree>
    <p:extLst>
      <p:ext uri="{BB962C8B-B14F-4D97-AF65-F5344CB8AC3E}">
        <p14:creationId xmlns:p14="http://schemas.microsoft.com/office/powerpoint/2010/main" val="23650140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29" name="Rectangle 48"/>
          <p:cNvSpPr>
            <a:spLocks noChangeArrowheads="1"/>
          </p:cNvSpPr>
          <p:nvPr/>
        </p:nvSpPr>
        <p:spPr bwMode="auto">
          <a:xfrm>
            <a:off x="-67735" y="151533"/>
            <a:ext cx="9279467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3800" dirty="0" smtClean="0">
                <a:solidFill>
                  <a:srgbClr val="FFFF00"/>
                </a:solidFill>
                <a:latin typeface="Arial"/>
                <a:cs typeface="Arial"/>
              </a:rPr>
              <a:t>Per capita income vs. adoption of ‘treat all’</a:t>
            </a:r>
            <a:endParaRPr lang="en-US" sz="38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5410" y="885220"/>
            <a:ext cx="8566786" cy="5733486"/>
            <a:chOff x="45410" y="885220"/>
            <a:chExt cx="8566786" cy="5733486"/>
          </a:xfrm>
        </p:grpSpPr>
        <p:grpSp>
          <p:nvGrpSpPr>
            <p:cNvPr id="3" name="Group 2"/>
            <p:cNvGrpSpPr/>
            <p:nvPr/>
          </p:nvGrpSpPr>
          <p:grpSpPr>
            <a:xfrm>
              <a:off x="1298375" y="1149362"/>
              <a:ext cx="7083623" cy="4998303"/>
              <a:chOff x="1298375" y="1149362"/>
              <a:chExt cx="7083623" cy="4998303"/>
            </a:xfrm>
          </p:grpSpPr>
          <p:sp>
            <p:nvSpPr>
              <p:cNvPr id="15" name="TextBox 14"/>
              <p:cNvSpPr txBox="1"/>
              <p:nvPr/>
            </p:nvSpPr>
            <p:spPr>
              <a:xfrm>
                <a:off x="6715555" y="5807284"/>
                <a:ext cx="1227664" cy="307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rgbClr val="FFFFFF"/>
                    </a:solidFill>
                  </a:rPr>
                  <a:t>High income</a:t>
                </a: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4996192" y="5617242"/>
                <a:ext cx="1413945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rgbClr val="FFFFFF"/>
                    </a:solidFill>
                  </a:rPr>
                  <a:t>Upper middle income</a:t>
                </a: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3723215" y="5624445"/>
                <a:ext cx="1371583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rgbClr val="FFFFFF"/>
                    </a:solidFill>
                  </a:rPr>
                  <a:t>Lower middle income</a:t>
                </a: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1824803" y="5807284"/>
                <a:ext cx="1227664" cy="3077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rgbClr val="FFFFFF"/>
                    </a:solidFill>
                  </a:rPr>
                  <a:t>Low income</a:t>
                </a: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" name="Straight Connector 3"/>
              <p:cNvCxnSpPr/>
              <p:nvPr/>
            </p:nvCxnSpPr>
            <p:spPr>
              <a:xfrm>
                <a:off x="3663949" y="1155699"/>
                <a:ext cx="0" cy="4978400"/>
              </a:xfrm>
              <a:prstGeom prst="line">
                <a:avLst/>
              </a:prstGeom>
              <a:ln>
                <a:solidFill>
                  <a:schemeClr val="bg1"/>
                </a:solidFill>
                <a:prstDash val="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/>
            </p:nvCxnSpPr>
            <p:spPr>
              <a:xfrm>
                <a:off x="5128681" y="1149362"/>
                <a:ext cx="0" cy="4978400"/>
              </a:xfrm>
              <a:prstGeom prst="line">
                <a:avLst/>
              </a:prstGeom>
              <a:ln>
                <a:solidFill>
                  <a:schemeClr val="bg1"/>
                </a:solidFill>
                <a:prstDash val="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/>
            </p:nvCxnSpPr>
            <p:spPr>
              <a:xfrm>
                <a:off x="6278030" y="1149362"/>
                <a:ext cx="0" cy="4978400"/>
              </a:xfrm>
              <a:prstGeom prst="line">
                <a:avLst/>
              </a:prstGeom>
              <a:ln>
                <a:solidFill>
                  <a:schemeClr val="bg1"/>
                </a:solidFill>
                <a:prstDash val="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/>
            </p:nvCxnSpPr>
            <p:spPr>
              <a:xfrm>
                <a:off x="1298375" y="2768599"/>
                <a:ext cx="7083623" cy="0"/>
              </a:xfrm>
              <a:prstGeom prst="line">
                <a:avLst/>
              </a:prstGeom>
              <a:ln>
                <a:solidFill>
                  <a:schemeClr val="bg1"/>
                </a:solidFill>
                <a:prstDash val="dot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aphicFrame>
          <p:nvGraphicFramePr>
            <p:cNvPr id="18" name="Chart 1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29164041"/>
                </p:ext>
              </p:extLst>
            </p:nvPr>
          </p:nvGraphicFramePr>
          <p:xfrm>
            <a:off x="45410" y="885220"/>
            <a:ext cx="8566786" cy="573348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40594689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0" y="217822"/>
            <a:ext cx="9144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 smtClean="0">
                <a:solidFill>
                  <a:srgbClr val="FFFF00"/>
                </a:solidFill>
                <a:cs typeface="Arial" charset="0"/>
              </a:rPr>
              <a:t>Limitations</a:t>
            </a:r>
            <a:endParaRPr lang="en-US" sz="3600" dirty="0">
              <a:solidFill>
                <a:srgbClr val="FFFF00"/>
              </a:solidFill>
              <a:cs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8533" y="1168397"/>
            <a:ext cx="8822267" cy="32367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10000"/>
              </a:lnSpc>
              <a:spcAft>
                <a:spcPts val="12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uidelines were not available for some countries</a:t>
            </a:r>
          </a:p>
          <a:p>
            <a:pPr marL="457200" indent="-457200">
              <a:lnSpc>
                <a:spcPct val="110000"/>
              </a:lnSpc>
              <a:spcAft>
                <a:spcPts val="12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uidelines </a:t>
            </a:r>
            <a:r>
              <a:rPr lang="en-US" sz="2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y be </a:t>
            </a:r>
            <a:r>
              <a:rPr lang="en-US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utdated or in </a:t>
            </a:r>
            <a:r>
              <a:rPr lang="en-US" sz="2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process of being </a:t>
            </a:r>
            <a:r>
              <a:rPr lang="en-US" sz="2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updated </a:t>
            </a:r>
            <a:endParaRPr lang="en-US" sz="2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  <a:p>
            <a:pPr marL="457200" indent="-457200">
              <a:lnSpc>
                <a:spcPct val="110000"/>
              </a:lnSpc>
              <a:spcAft>
                <a:spcPts val="12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800" dirty="0" smtClean="0">
                <a:solidFill>
                  <a:schemeClr val="bg1"/>
                </a:solidFill>
                <a:latin typeface="Arial"/>
                <a:cs typeface="Arial"/>
              </a:rPr>
              <a:t>Used </a:t>
            </a:r>
            <a:r>
              <a:rPr lang="en-US" sz="2800" dirty="0">
                <a:solidFill>
                  <a:schemeClr val="bg1"/>
                </a:solidFill>
                <a:latin typeface="Arial"/>
                <a:cs typeface="Arial"/>
              </a:rPr>
              <a:t>published national </a:t>
            </a:r>
            <a:r>
              <a:rPr lang="en-US" sz="2800" dirty="0" smtClean="0">
                <a:solidFill>
                  <a:schemeClr val="bg1"/>
                </a:solidFill>
                <a:latin typeface="Arial"/>
                <a:cs typeface="Arial"/>
              </a:rPr>
              <a:t>guidelines for analysis, </a:t>
            </a:r>
            <a:r>
              <a:rPr lang="en-US" sz="2800" dirty="0">
                <a:solidFill>
                  <a:schemeClr val="bg1"/>
                </a:solidFill>
                <a:latin typeface="Arial"/>
                <a:cs typeface="Arial"/>
              </a:rPr>
              <a:t>which may not </a:t>
            </a:r>
            <a:r>
              <a:rPr lang="en-US" sz="2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reflect </a:t>
            </a:r>
            <a:r>
              <a:rPr lang="en-US" sz="2800" dirty="0" err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gramme</a:t>
            </a:r>
            <a:r>
              <a:rPr lang="en-US" sz="280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implementation or clinical practice </a:t>
            </a:r>
            <a:r>
              <a:rPr lang="en-US" sz="28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07818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20133" y="980071"/>
            <a:ext cx="8568267" cy="4967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10000"/>
              </a:lnSpc>
              <a:buClr>
                <a:srgbClr val="FFFF00"/>
              </a:buClr>
              <a:buFont typeface="Arial"/>
              <a:buChar char="•"/>
            </a:pP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he time to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adoption of the 2015 guidelines appears accelerated, 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but if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the trajectories for the adoption of WHO 2009 &amp;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2013 guidelines are followed, it may take many years for 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WHO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2015 guidelines to become national 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policies</a:t>
            </a:r>
          </a:p>
          <a:p>
            <a:pPr marL="342900" indent="-342900">
              <a:lnSpc>
                <a:spcPct val="110000"/>
              </a:lnSpc>
              <a:buClr>
                <a:srgbClr val="FFFF00"/>
              </a:buClr>
              <a:buFont typeface="Arial"/>
              <a:buChar char="•"/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10000"/>
              </a:lnSpc>
              <a:buClr>
                <a:srgbClr val="FFFF00"/>
              </a:buClr>
              <a:buFont typeface="Arial"/>
              <a:buChar char="•"/>
            </a:pP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There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is an urgent need to shorten the time lag in adoption 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and implementation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of the new WHO guidelines recommending ‘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treat </a:t>
            </a:r>
            <a:r>
              <a:rPr lang="en-US" sz="2400" dirty="0">
                <a:solidFill>
                  <a:srgbClr val="FFFFFF"/>
                </a:solidFill>
                <a:latin typeface="Arial"/>
                <a:cs typeface="Arial"/>
              </a:rPr>
              <a:t>all’ to 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accelerate ART coverage</a:t>
            </a:r>
          </a:p>
          <a:p>
            <a:pPr marL="342900" indent="-342900">
              <a:lnSpc>
                <a:spcPct val="110000"/>
              </a:lnSpc>
              <a:buClr>
                <a:srgbClr val="FFFF00"/>
              </a:buClr>
              <a:buFont typeface="Arial"/>
              <a:buChar char="•"/>
            </a:pPr>
            <a:endParaRPr lang="en-US" sz="2400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10000"/>
              </a:lnSpc>
              <a:buClr>
                <a:srgbClr val="FFFF00"/>
              </a:buClr>
              <a:buFont typeface="Arial"/>
              <a:buChar char="•"/>
            </a:pPr>
            <a:r>
              <a:rPr lang="en-US" sz="2400" dirty="0" smtClean="0">
                <a:solidFill>
                  <a:srgbClr val="FFFFFF"/>
                </a:solidFill>
                <a:latin typeface="Arial"/>
                <a:cs typeface="Arial"/>
              </a:rPr>
              <a:t>With adoption and implementation of the guidelines, there is a need to strengthen service delivery, including retention and adherence, to achieve 90-90-90 by 2020</a:t>
            </a:r>
            <a:endParaRPr lang="en-US" sz="2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Rectangle 48"/>
          <p:cNvSpPr>
            <a:spLocks noChangeArrowheads="1"/>
          </p:cNvSpPr>
          <p:nvPr/>
        </p:nvSpPr>
        <p:spPr bwMode="auto">
          <a:xfrm>
            <a:off x="31750" y="117667"/>
            <a:ext cx="911225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Conclusions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24561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0" y="36181"/>
            <a:ext cx="9144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Introduction and Objective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20132" y="874333"/>
            <a:ext cx="8822265" cy="4415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Scientific evidence demonstrates the benefits of immediate ART in preventing illness, deaths, transmission and costs</a:t>
            </a:r>
          </a:p>
          <a:p>
            <a:pPr marL="342900" indent="-342900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WHO guidelines revised in 2015 to recommend ‘treat all’ irrespective of CD4 cell count</a:t>
            </a:r>
          </a:p>
          <a:p>
            <a:pPr marL="342900" indent="-342900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Mid-June 2016, 18.2M (50%) PLHIV on ART </a:t>
            </a:r>
            <a:endParaRPr lang="en-US" sz="2400" dirty="0" smtClean="0">
              <a:solidFill>
                <a:schemeClr val="bg1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/>
                <a:cs typeface="Arial"/>
              </a:rPr>
              <a:t>In 2015, </a:t>
            </a:r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there were 2.1M new HIV infections and 1.1M AIDS-related deaths </a:t>
            </a:r>
          </a:p>
          <a:p>
            <a:pPr marL="342900" indent="-342900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/>
                <a:cs typeface="Arial"/>
              </a:rPr>
              <a:t>National </a:t>
            </a:r>
            <a:r>
              <a:rPr lang="en-US" sz="2400" dirty="0">
                <a:solidFill>
                  <a:schemeClr val="bg1"/>
                </a:solidFill>
                <a:latin typeface="Arial"/>
                <a:cs typeface="Arial"/>
              </a:rPr>
              <a:t>guidelines often use WHO guidelines as reference</a:t>
            </a:r>
          </a:p>
          <a:p>
            <a:pPr algn="ctr">
              <a:lnSpc>
                <a:spcPct val="110000"/>
              </a:lnSpc>
              <a:spcAft>
                <a:spcPts val="1400"/>
              </a:spcAft>
              <a:buClr>
                <a:srgbClr val="FFFF00"/>
              </a:buClr>
            </a:pPr>
            <a:endParaRPr lang="en-US" sz="1050" dirty="0" smtClean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37068" y="5009362"/>
            <a:ext cx="8923863" cy="1629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buClr>
                <a:srgbClr val="FFFF00"/>
              </a:buClr>
            </a:pPr>
            <a:r>
              <a:rPr lang="en-US" sz="2800" dirty="0" smtClean="0">
                <a:solidFill>
                  <a:srgbClr val="FFFC74"/>
                </a:solidFill>
                <a:latin typeface="Arial"/>
                <a:cs typeface="Arial"/>
              </a:rPr>
              <a:t>Quantify </a:t>
            </a:r>
            <a:r>
              <a:rPr lang="en-US" sz="2800" dirty="0">
                <a:solidFill>
                  <a:srgbClr val="FFFC74"/>
                </a:solidFill>
                <a:latin typeface="Arial"/>
                <a:cs typeface="Arial"/>
              </a:rPr>
              <a:t>delays in national level adoption of the 2009, 2013 and </a:t>
            </a:r>
            <a:r>
              <a:rPr lang="en-US" sz="2800" dirty="0" smtClean="0">
                <a:solidFill>
                  <a:srgbClr val="FFFC74"/>
                </a:solidFill>
                <a:latin typeface="Arial"/>
                <a:cs typeface="Arial"/>
              </a:rPr>
              <a:t>2015 WHO guidelines in low- and middle-income countries (LMICs)</a:t>
            </a:r>
            <a:endParaRPr lang="en-US" sz="2800" dirty="0">
              <a:solidFill>
                <a:srgbClr val="FFFC74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46651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44038"/>
            <a:ext cx="9144000" cy="4965700"/>
          </a:xfrm>
          <a:prstGeom prst="rect">
            <a:avLst/>
          </a:prstGeom>
        </p:spPr>
      </p:pic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0" y="135874"/>
            <a:ext cx="9144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www.HIVpolicywatch.org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1648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16933" y="135874"/>
            <a:ext cx="9144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000" dirty="0" smtClean="0">
                <a:solidFill>
                  <a:srgbClr val="FFFF00"/>
                </a:solidFill>
                <a:latin typeface="Arial"/>
                <a:cs typeface="Arial"/>
              </a:rPr>
              <a:t>ART Eligibility Criteria (123 countries)</a:t>
            </a:r>
            <a:endParaRPr lang="en-US" sz="40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pic>
        <p:nvPicPr>
          <p:cNvPr id="570" name="Picture 5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571" name="TextBox 570"/>
          <p:cNvSpPr txBox="1"/>
          <p:nvPr/>
        </p:nvSpPr>
        <p:spPr>
          <a:xfrm>
            <a:off x="98020" y="6149659"/>
            <a:ext cx="54777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Last updated: June, 2017</a:t>
            </a:r>
          </a:p>
          <a:p>
            <a:r>
              <a:rPr lang="en-US" sz="1400" dirty="0">
                <a:solidFill>
                  <a:schemeClr val="bg1"/>
                </a:solidFill>
                <a:latin typeface="Arial"/>
                <a:cs typeface="Arial"/>
              </a:rPr>
              <a:t>S</a:t>
            </a:r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ource: </a:t>
            </a:r>
            <a:r>
              <a:rPr lang="en-US" sz="1400" dirty="0" err="1" smtClean="0">
                <a:solidFill>
                  <a:schemeClr val="bg1"/>
                </a:solidFill>
                <a:latin typeface="Arial"/>
                <a:cs typeface="Arial"/>
              </a:rPr>
              <a:t>www.HIVpolicywatch.org</a:t>
            </a:r>
            <a:endParaRPr lang="en-US"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236" name="Rectangle 235"/>
          <p:cNvSpPr/>
          <p:nvPr/>
        </p:nvSpPr>
        <p:spPr>
          <a:xfrm>
            <a:off x="57150" y="1007012"/>
            <a:ext cx="9015413" cy="48736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pSp>
        <p:nvGrpSpPr>
          <p:cNvPr id="237" name="Group 21"/>
          <p:cNvGrpSpPr>
            <a:grpSpLocks/>
          </p:cNvGrpSpPr>
          <p:nvPr/>
        </p:nvGrpSpPr>
        <p:grpSpPr bwMode="auto">
          <a:xfrm>
            <a:off x="57150" y="1116549"/>
            <a:ext cx="9015413" cy="4706938"/>
            <a:chOff x="56622" y="1420934"/>
            <a:chExt cx="9016495" cy="4707467"/>
          </a:xfrm>
        </p:grpSpPr>
        <p:grpSp>
          <p:nvGrpSpPr>
            <p:cNvPr id="238" name="Group 22"/>
            <p:cNvGrpSpPr>
              <a:grpSpLocks/>
            </p:cNvGrpSpPr>
            <p:nvPr/>
          </p:nvGrpSpPr>
          <p:grpSpPr bwMode="auto">
            <a:xfrm>
              <a:off x="56622" y="1420934"/>
              <a:ext cx="9016495" cy="4707467"/>
              <a:chOff x="31222" y="1420934"/>
              <a:chExt cx="9016495" cy="4707467"/>
            </a:xfrm>
          </p:grpSpPr>
          <p:graphicFrame>
            <p:nvGraphicFramePr>
              <p:cNvPr id="250" name="Object 34"/>
              <p:cNvGraphicFramePr>
                <a:graphicFrameLocks noChangeAspect="1"/>
              </p:cNvGraphicFramePr>
              <p:nvPr/>
            </p:nvGraphicFramePr>
            <p:xfrm>
              <a:off x="31222" y="1420934"/>
              <a:ext cx="9016495" cy="4707467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46" name="Document" r:id="rId5" imgW="8267700" imgH="4318000" progId="Word.Document.12">
                      <p:embed/>
                    </p:oleObj>
                  </mc:Choice>
                  <mc:Fallback>
                    <p:oleObj name="Document" r:id="rId5" imgW="8267700" imgH="4318000" progId="Word.Document.12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1222" y="1420934"/>
                            <a:ext cx="9016495" cy="470746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51" name="Freeform 125"/>
              <p:cNvSpPr>
                <a:spLocks/>
              </p:cNvSpPr>
              <p:nvPr/>
            </p:nvSpPr>
            <p:spPr bwMode="auto">
              <a:xfrm>
                <a:off x="5067376" y="4909064"/>
                <a:ext cx="47631" cy="46042"/>
              </a:xfrm>
              <a:custGeom>
                <a:avLst/>
                <a:gdLst>
                  <a:gd name="T0" fmla="*/ 126 w 89"/>
                  <a:gd name="T1" fmla="*/ 32 h 79"/>
                  <a:gd name="T2" fmla="*/ 130 w 89"/>
                  <a:gd name="T3" fmla="*/ 42 h 79"/>
                  <a:gd name="T4" fmla="*/ 131 w 89"/>
                  <a:gd name="T5" fmla="*/ 40 h 79"/>
                  <a:gd name="T6" fmla="*/ 131 w 89"/>
                  <a:gd name="T7" fmla="*/ 47 h 79"/>
                  <a:gd name="T8" fmla="*/ 105 w 89"/>
                  <a:gd name="T9" fmla="*/ 80 h 79"/>
                  <a:gd name="T10" fmla="*/ 75 w 89"/>
                  <a:gd name="T11" fmla="*/ 90 h 79"/>
                  <a:gd name="T12" fmla="*/ 65 w 89"/>
                  <a:gd name="T13" fmla="*/ 101 h 79"/>
                  <a:gd name="T14" fmla="*/ 57 w 89"/>
                  <a:gd name="T15" fmla="*/ 105 h 79"/>
                  <a:gd name="T16" fmla="*/ 44 w 89"/>
                  <a:gd name="T17" fmla="*/ 106 h 79"/>
                  <a:gd name="T18" fmla="*/ 22 w 89"/>
                  <a:gd name="T19" fmla="*/ 92 h 79"/>
                  <a:gd name="T20" fmla="*/ 14 w 89"/>
                  <a:gd name="T21" fmla="*/ 82 h 79"/>
                  <a:gd name="T22" fmla="*/ 3 w 89"/>
                  <a:gd name="T23" fmla="*/ 71 h 79"/>
                  <a:gd name="T24" fmla="*/ 0 w 89"/>
                  <a:gd name="T25" fmla="*/ 60 h 79"/>
                  <a:gd name="T26" fmla="*/ 3 w 89"/>
                  <a:gd name="T27" fmla="*/ 49 h 79"/>
                  <a:gd name="T28" fmla="*/ 29 w 89"/>
                  <a:gd name="T29" fmla="*/ 22 h 79"/>
                  <a:gd name="T30" fmla="*/ 41 w 89"/>
                  <a:gd name="T31" fmla="*/ 16 h 79"/>
                  <a:gd name="T32" fmla="*/ 70 w 89"/>
                  <a:gd name="T33" fmla="*/ 1 h 79"/>
                  <a:gd name="T34" fmla="*/ 85 w 89"/>
                  <a:gd name="T35" fmla="*/ 0 h 79"/>
                  <a:gd name="T36" fmla="*/ 100 w 89"/>
                  <a:gd name="T37" fmla="*/ 3 h 79"/>
                  <a:gd name="T38" fmla="*/ 111 w 89"/>
                  <a:gd name="T39" fmla="*/ 17 h 79"/>
                  <a:gd name="T40" fmla="*/ 115 w 89"/>
                  <a:gd name="T41" fmla="*/ 23 h 79"/>
                  <a:gd name="T42" fmla="*/ 126 w 89"/>
                  <a:gd name="T43" fmla="*/ 32 h 7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9"/>
                  <a:gd name="T67" fmla="*/ 0 h 79"/>
                  <a:gd name="T68" fmla="*/ 89 w 89"/>
                  <a:gd name="T69" fmla="*/ 79 h 7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9" h="79">
                    <a:moveTo>
                      <a:pt x="85" y="25"/>
                    </a:moveTo>
                    <a:lnTo>
                      <a:pt x="88" y="30"/>
                    </a:lnTo>
                    <a:lnTo>
                      <a:pt x="89" y="29"/>
                    </a:lnTo>
                    <a:lnTo>
                      <a:pt x="89" y="35"/>
                    </a:lnTo>
                    <a:lnTo>
                      <a:pt x="71" y="60"/>
                    </a:lnTo>
                    <a:lnTo>
                      <a:pt x="51" y="67"/>
                    </a:lnTo>
                    <a:lnTo>
                      <a:pt x="44" y="75"/>
                    </a:lnTo>
                    <a:lnTo>
                      <a:pt x="38" y="78"/>
                    </a:lnTo>
                    <a:lnTo>
                      <a:pt x="30" y="79"/>
                    </a:lnTo>
                    <a:lnTo>
                      <a:pt x="16" y="69"/>
                    </a:lnTo>
                    <a:lnTo>
                      <a:pt x="8" y="61"/>
                    </a:lnTo>
                    <a:lnTo>
                      <a:pt x="3" y="53"/>
                    </a:lnTo>
                    <a:lnTo>
                      <a:pt x="0" y="45"/>
                    </a:lnTo>
                    <a:lnTo>
                      <a:pt x="3" y="37"/>
                    </a:lnTo>
                    <a:lnTo>
                      <a:pt x="20" y="16"/>
                    </a:lnTo>
                    <a:lnTo>
                      <a:pt x="28" y="10"/>
                    </a:lnTo>
                    <a:lnTo>
                      <a:pt x="48" y="1"/>
                    </a:lnTo>
                    <a:lnTo>
                      <a:pt x="58" y="0"/>
                    </a:lnTo>
                    <a:lnTo>
                      <a:pt x="67" y="3"/>
                    </a:lnTo>
                    <a:lnTo>
                      <a:pt x="75" y="11"/>
                    </a:lnTo>
                    <a:lnTo>
                      <a:pt x="78" y="17"/>
                    </a:lnTo>
                    <a:lnTo>
                      <a:pt x="85" y="25"/>
                    </a:lnTo>
                    <a:close/>
                  </a:path>
                </a:pathLst>
              </a:custGeom>
              <a:solidFill>
                <a:schemeClr val="accent3"/>
              </a:solidFill>
              <a:ln w="7938">
                <a:solidFill>
                  <a:srgbClr val="1C1329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52" name="Freeform 125"/>
              <p:cNvSpPr>
                <a:spLocks/>
              </p:cNvSpPr>
              <p:nvPr/>
            </p:nvSpPr>
            <p:spPr bwMode="auto">
              <a:xfrm>
                <a:off x="5424607" y="3629395"/>
                <a:ext cx="47631" cy="46042"/>
              </a:xfrm>
              <a:custGeom>
                <a:avLst/>
                <a:gdLst>
                  <a:gd name="T0" fmla="*/ 126 w 89"/>
                  <a:gd name="T1" fmla="*/ 32 h 79"/>
                  <a:gd name="T2" fmla="*/ 130 w 89"/>
                  <a:gd name="T3" fmla="*/ 42 h 79"/>
                  <a:gd name="T4" fmla="*/ 131 w 89"/>
                  <a:gd name="T5" fmla="*/ 40 h 79"/>
                  <a:gd name="T6" fmla="*/ 131 w 89"/>
                  <a:gd name="T7" fmla="*/ 47 h 79"/>
                  <a:gd name="T8" fmla="*/ 105 w 89"/>
                  <a:gd name="T9" fmla="*/ 80 h 79"/>
                  <a:gd name="T10" fmla="*/ 75 w 89"/>
                  <a:gd name="T11" fmla="*/ 90 h 79"/>
                  <a:gd name="T12" fmla="*/ 65 w 89"/>
                  <a:gd name="T13" fmla="*/ 101 h 79"/>
                  <a:gd name="T14" fmla="*/ 57 w 89"/>
                  <a:gd name="T15" fmla="*/ 105 h 79"/>
                  <a:gd name="T16" fmla="*/ 44 w 89"/>
                  <a:gd name="T17" fmla="*/ 106 h 79"/>
                  <a:gd name="T18" fmla="*/ 22 w 89"/>
                  <a:gd name="T19" fmla="*/ 92 h 79"/>
                  <a:gd name="T20" fmla="*/ 14 w 89"/>
                  <a:gd name="T21" fmla="*/ 82 h 79"/>
                  <a:gd name="T22" fmla="*/ 3 w 89"/>
                  <a:gd name="T23" fmla="*/ 71 h 79"/>
                  <a:gd name="T24" fmla="*/ 0 w 89"/>
                  <a:gd name="T25" fmla="*/ 60 h 79"/>
                  <a:gd name="T26" fmla="*/ 3 w 89"/>
                  <a:gd name="T27" fmla="*/ 49 h 79"/>
                  <a:gd name="T28" fmla="*/ 29 w 89"/>
                  <a:gd name="T29" fmla="*/ 22 h 79"/>
                  <a:gd name="T30" fmla="*/ 41 w 89"/>
                  <a:gd name="T31" fmla="*/ 16 h 79"/>
                  <a:gd name="T32" fmla="*/ 70 w 89"/>
                  <a:gd name="T33" fmla="*/ 1 h 79"/>
                  <a:gd name="T34" fmla="*/ 85 w 89"/>
                  <a:gd name="T35" fmla="*/ 0 h 79"/>
                  <a:gd name="T36" fmla="*/ 100 w 89"/>
                  <a:gd name="T37" fmla="*/ 3 h 79"/>
                  <a:gd name="T38" fmla="*/ 111 w 89"/>
                  <a:gd name="T39" fmla="*/ 17 h 79"/>
                  <a:gd name="T40" fmla="*/ 115 w 89"/>
                  <a:gd name="T41" fmla="*/ 23 h 79"/>
                  <a:gd name="T42" fmla="*/ 126 w 89"/>
                  <a:gd name="T43" fmla="*/ 32 h 7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9"/>
                  <a:gd name="T67" fmla="*/ 0 h 79"/>
                  <a:gd name="T68" fmla="*/ 89 w 89"/>
                  <a:gd name="T69" fmla="*/ 79 h 79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9" h="79">
                    <a:moveTo>
                      <a:pt x="85" y="25"/>
                    </a:moveTo>
                    <a:lnTo>
                      <a:pt x="88" y="30"/>
                    </a:lnTo>
                    <a:lnTo>
                      <a:pt x="89" y="29"/>
                    </a:lnTo>
                    <a:lnTo>
                      <a:pt x="89" y="35"/>
                    </a:lnTo>
                    <a:lnTo>
                      <a:pt x="71" y="60"/>
                    </a:lnTo>
                    <a:lnTo>
                      <a:pt x="51" y="67"/>
                    </a:lnTo>
                    <a:lnTo>
                      <a:pt x="44" y="75"/>
                    </a:lnTo>
                    <a:lnTo>
                      <a:pt x="38" y="78"/>
                    </a:lnTo>
                    <a:lnTo>
                      <a:pt x="30" y="79"/>
                    </a:lnTo>
                    <a:lnTo>
                      <a:pt x="16" y="69"/>
                    </a:lnTo>
                    <a:lnTo>
                      <a:pt x="8" y="61"/>
                    </a:lnTo>
                    <a:lnTo>
                      <a:pt x="3" y="53"/>
                    </a:lnTo>
                    <a:lnTo>
                      <a:pt x="0" y="45"/>
                    </a:lnTo>
                    <a:lnTo>
                      <a:pt x="3" y="37"/>
                    </a:lnTo>
                    <a:lnTo>
                      <a:pt x="20" y="16"/>
                    </a:lnTo>
                    <a:lnTo>
                      <a:pt x="28" y="10"/>
                    </a:lnTo>
                    <a:lnTo>
                      <a:pt x="48" y="1"/>
                    </a:lnTo>
                    <a:lnTo>
                      <a:pt x="58" y="0"/>
                    </a:lnTo>
                    <a:lnTo>
                      <a:pt x="67" y="3"/>
                    </a:lnTo>
                    <a:lnTo>
                      <a:pt x="75" y="11"/>
                    </a:lnTo>
                    <a:lnTo>
                      <a:pt x="78" y="17"/>
                    </a:lnTo>
                    <a:lnTo>
                      <a:pt x="85" y="25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7938">
                <a:solidFill>
                  <a:srgbClr val="1C1329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US"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239" name="Group 23"/>
            <p:cNvGrpSpPr>
              <a:grpSpLocks/>
            </p:cNvGrpSpPr>
            <p:nvPr/>
          </p:nvGrpSpPr>
          <p:grpSpPr bwMode="auto">
            <a:xfrm>
              <a:off x="156690" y="4438248"/>
              <a:ext cx="2680018" cy="1658126"/>
              <a:chOff x="6187440" y="3226133"/>
              <a:chExt cx="2680018" cy="1658126"/>
            </a:xfrm>
          </p:grpSpPr>
          <p:sp>
            <p:nvSpPr>
              <p:cNvPr id="240" name="Rectangle 239"/>
              <p:cNvSpPr/>
              <p:nvPr/>
            </p:nvSpPr>
            <p:spPr>
              <a:xfrm>
                <a:off x="6187397" y="3246048"/>
                <a:ext cx="376282" cy="255616"/>
              </a:xfrm>
              <a:prstGeom prst="rect">
                <a:avLst/>
              </a:prstGeom>
              <a:solidFill>
                <a:srgbClr val="AD413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/>
              </a:p>
            </p:txBody>
          </p:sp>
          <p:sp>
            <p:nvSpPr>
              <p:cNvPr id="241" name="Rectangle 240"/>
              <p:cNvSpPr/>
              <p:nvPr/>
            </p:nvSpPr>
            <p:spPr>
              <a:xfrm>
                <a:off x="6187397" y="3561996"/>
                <a:ext cx="376282" cy="255617"/>
              </a:xfrm>
              <a:prstGeom prst="rect">
                <a:avLst/>
              </a:prstGeom>
              <a:solidFill>
                <a:srgbClr val="C4888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/>
              </a:p>
            </p:txBody>
          </p:sp>
          <p:sp>
            <p:nvSpPr>
              <p:cNvPr id="242" name="Rectangle 241"/>
              <p:cNvSpPr/>
              <p:nvPr/>
            </p:nvSpPr>
            <p:spPr>
              <a:xfrm>
                <a:off x="6187397" y="4239935"/>
                <a:ext cx="376282" cy="255616"/>
              </a:xfrm>
              <a:prstGeom prst="rect">
                <a:avLst/>
              </a:prstGeom>
              <a:solidFill>
                <a:srgbClr val="FC790D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/>
              </a:p>
            </p:txBody>
          </p:sp>
          <p:sp>
            <p:nvSpPr>
              <p:cNvPr id="243" name="Rectangle 242"/>
              <p:cNvSpPr/>
              <p:nvPr/>
            </p:nvSpPr>
            <p:spPr>
              <a:xfrm>
                <a:off x="6187397" y="4576522"/>
                <a:ext cx="376282" cy="255616"/>
              </a:xfrm>
              <a:prstGeom prst="rect">
                <a:avLst/>
              </a:prstGeom>
              <a:solidFill>
                <a:srgbClr val="24367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/>
              </a:p>
            </p:txBody>
          </p:sp>
          <p:sp>
            <p:nvSpPr>
              <p:cNvPr id="244" name="Rectangle 243"/>
              <p:cNvSpPr/>
              <p:nvPr/>
            </p:nvSpPr>
            <p:spPr>
              <a:xfrm>
                <a:off x="6187397" y="3903347"/>
                <a:ext cx="376282" cy="25561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00"/>
              </a:p>
            </p:txBody>
          </p:sp>
          <p:sp>
            <p:nvSpPr>
              <p:cNvPr id="245" name="TextBox 29"/>
              <p:cNvSpPr txBox="1">
                <a:spLocks noChangeArrowheads="1"/>
              </p:cNvSpPr>
              <p:nvPr/>
            </p:nvSpPr>
            <p:spPr bwMode="auto">
              <a:xfrm>
                <a:off x="6583678" y="3226133"/>
                <a:ext cx="2012471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  <a:cs typeface="ヒラギノ角ゴ Pro W3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9pPr>
              </a:lstStyle>
              <a:p>
                <a:r>
                  <a:rPr lang="en-US" sz="1400"/>
                  <a:t>&lt;200, &lt;250 or &lt;300</a:t>
                </a:r>
              </a:p>
            </p:txBody>
          </p:sp>
          <p:sp>
            <p:nvSpPr>
              <p:cNvPr id="246" name="TextBox 30"/>
              <p:cNvSpPr txBox="1">
                <a:spLocks noChangeArrowheads="1"/>
              </p:cNvSpPr>
              <p:nvPr/>
            </p:nvSpPr>
            <p:spPr bwMode="auto">
              <a:xfrm>
                <a:off x="6563359" y="3560641"/>
                <a:ext cx="1598436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  <a:cs typeface="ヒラギノ角ゴ Pro W3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9pPr>
              </a:lstStyle>
              <a:p>
                <a:r>
                  <a:rPr lang="en-US" sz="1400"/>
                  <a:t>&lt;350</a:t>
                </a:r>
              </a:p>
            </p:txBody>
          </p:sp>
          <p:sp>
            <p:nvSpPr>
              <p:cNvPr id="247" name="TextBox 31"/>
              <p:cNvSpPr txBox="1">
                <a:spLocks noChangeArrowheads="1"/>
              </p:cNvSpPr>
              <p:nvPr/>
            </p:nvSpPr>
            <p:spPr bwMode="auto">
              <a:xfrm>
                <a:off x="6583679" y="3899254"/>
                <a:ext cx="1598436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  <a:cs typeface="ヒラギノ角ゴ Pro W3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9pPr>
              </a:lstStyle>
              <a:p>
                <a:r>
                  <a:rPr lang="en-US" sz="1400"/>
                  <a:t>&lt;500</a:t>
                </a:r>
              </a:p>
            </p:txBody>
          </p:sp>
          <p:sp>
            <p:nvSpPr>
              <p:cNvPr id="248" name="TextBox 32"/>
              <p:cNvSpPr txBox="1">
                <a:spLocks noChangeArrowheads="1"/>
              </p:cNvSpPr>
              <p:nvPr/>
            </p:nvSpPr>
            <p:spPr bwMode="auto">
              <a:xfrm>
                <a:off x="6583679" y="4231977"/>
                <a:ext cx="1598436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  <a:cs typeface="ヒラギノ角ゴ Pro W3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9pPr>
              </a:lstStyle>
              <a:p>
                <a:r>
                  <a:rPr lang="en-US" sz="1400"/>
                  <a:t>&gt;500</a:t>
                </a:r>
              </a:p>
            </p:txBody>
          </p:sp>
          <p:sp>
            <p:nvSpPr>
              <p:cNvPr id="249" name="TextBox 33"/>
              <p:cNvSpPr txBox="1">
                <a:spLocks noChangeArrowheads="1"/>
              </p:cNvSpPr>
              <p:nvPr/>
            </p:nvSpPr>
            <p:spPr bwMode="auto">
              <a:xfrm>
                <a:off x="6573519" y="4576482"/>
                <a:ext cx="2293939" cy="3077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  <a:cs typeface="ヒラギノ角ゴ Pro W3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ヒラギノ角ゴ Pro W3" charset="0"/>
                  </a:defRPr>
                </a:lvl9pPr>
              </a:lstStyle>
              <a:p>
                <a:r>
                  <a:rPr lang="en-US" sz="1400"/>
                  <a:t>Irrespective of CD4 count</a:t>
                </a:r>
              </a:p>
            </p:txBody>
          </p:sp>
        </p:grpSp>
      </p:grpSp>
      <p:sp>
        <p:nvSpPr>
          <p:cNvPr id="253" name="Freeform 252"/>
          <p:cNvSpPr/>
          <p:nvPr/>
        </p:nvSpPr>
        <p:spPr>
          <a:xfrm>
            <a:off x="1177925" y="1726149"/>
            <a:ext cx="409575" cy="352425"/>
          </a:xfrm>
          <a:custGeom>
            <a:avLst/>
            <a:gdLst>
              <a:gd name="connsiteX0" fmla="*/ 15875 w 746125"/>
              <a:gd name="connsiteY0" fmla="*/ 5349 h 687974"/>
              <a:gd name="connsiteX1" fmla="*/ 15875 w 746125"/>
              <a:gd name="connsiteY1" fmla="*/ 5349 h 687974"/>
              <a:gd name="connsiteX2" fmla="*/ 476250 w 746125"/>
              <a:gd name="connsiteY2" fmla="*/ 8524 h 687974"/>
              <a:gd name="connsiteX3" fmla="*/ 558800 w 746125"/>
              <a:gd name="connsiteY3" fmla="*/ 14874 h 687974"/>
              <a:gd name="connsiteX4" fmla="*/ 666750 w 746125"/>
              <a:gd name="connsiteY4" fmla="*/ 11699 h 687974"/>
              <a:gd name="connsiteX5" fmla="*/ 676275 w 746125"/>
              <a:gd name="connsiteY5" fmla="*/ 5349 h 687974"/>
              <a:gd name="connsiteX6" fmla="*/ 746125 w 746125"/>
              <a:gd name="connsiteY6" fmla="*/ 8524 h 687974"/>
              <a:gd name="connsiteX7" fmla="*/ 736600 w 746125"/>
              <a:gd name="connsiteY7" fmla="*/ 33924 h 687974"/>
              <a:gd name="connsiteX8" fmla="*/ 730250 w 746125"/>
              <a:gd name="connsiteY8" fmla="*/ 52974 h 687974"/>
              <a:gd name="connsiteX9" fmla="*/ 711200 w 746125"/>
              <a:gd name="connsiteY9" fmla="*/ 97424 h 687974"/>
              <a:gd name="connsiteX10" fmla="*/ 704850 w 746125"/>
              <a:gd name="connsiteY10" fmla="*/ 110124 h 687974"/>
              <a:gd name="connsiteX11" fmla="*/ 701675 w 746125"/>
              <a:gd name="connsiteY11" fmla="*/ 122824 h 687974"/>
              <a:gd name="connsiteX12" fmla="*/ 695325 w 746125"/>
              <a:gd name="connsiteY12" fmla="*/ 141874 h 687974"/>
              <a:gd name="connsiteX13" fmla="*/ 692150 w 746125"/>
              <a:gd name="connsiteY13" fmla="*/ 151399 h 687974"/>
              <a:gd name="connsiteX14" fmla="*/ 688975 w 746125"/>
              <a:gd name="connsiteY14" fmla="*/ 164099 h 687974"/>
              <a:gd name="connsiteX15" fmla="*/ 682625 w 746125"/>
              <a:gd name="connsiteY15" fmla="*/ 183149 h 687974"/>
              <a:gd name="connsiteX16" fmla="*/ 679450 w 746125"/>
              <a:gd name="connsiteY16" fmla="*/ 192674 h 687974"/>
              <a:gd name="connsiteX17" fmla="*/ 676275 w 746125"/>
              <a:gd name="connsiteY17" fmla="*/ 224424 h 687974"/>
              <a:gd name="connsiteX18" fmla="*/ 666750 w 746125"/>
              <a:gd name="connsiteY18" fmla="*/ 246649 h 687974"/>
              <a:gd name="connsiteX19" fmla="*/ 663575 w 746125"/>
              <a:gd name="connsiteY19" fmla="*/ 259349 h 687974"/>
              <a:gd name="connsiteX20" fmla="*/ 657225 w 746125"/>
              <a:gd name="connsiteY20" fmla="*/ 278399 h 687974"/>
              <a:gd name="connsiteX21" fmla="*/ 650875 w 746125"/>
              <a:gd name="connsiteY21" fmla="*/ 303799 h 687974"/>
              <a:gd name="connsiteX22" fmla="*/ 644525 w 746125"/>
              <a:gd name="connsiteY22" fmla="*/ 316499 h 687974"/>
              <a:gd name="connsiteX23" fmla="*/ 641350 w 746125"/>
              <a:gd name="connsiteY23" fmla="*/ 329199 h 687974"/>
              <a:gd name="connsiteX24" fmla="*/ 635000 w 746125"/>
              <a:gd name="connsiteY24" fmla="*/ 341899 h 687974"/>
              <a:gd name="connsiteX25" fmla="*/ 631825 w 746125"/>
              <a:gd name="connsiteY25" fmla="*/ 354599 h 687974"/>
              <a:gd name="connsiteX26" fmla="*/ 622300 w 746125"/>
              <a:gd name="connsiteY26" fmla="*/ 364124 h 687974"/>
              <a:gd name="connsiteX27" fmla="*/ 612775 w 746125"/>
              <a:gd name="connsiteY27" fmla="*/ 386349 h 687974"/>
              <a:gd name="connsiteX28" fmla="*/ 619125 w 746125"/>
              <a:gd name="connsiteY28" fmla="*/ 481599 h 687974"/>
              <a:gd name="connsiteX29" fmla="*/ 622300 w 746125"/>
              <a:gd name="connsiteY29" fmla="*/ 491124 h 687974"/>
              <a:gd name="connsiteX30" fmla="*/ 625475 w 746125"/>
              <a:gd name="connsiteY30" fmla="*/ 516524 h 687974"/>
              <a:gd name="connsiteX31" fmla="*/ 628650 w 746125"/>
              <a:gd name="connsiteY31" fmla="*/ 538749 h 687974"/>
              <a:gd name="connsiteX32" fmla="*/ 631825 w 746125"/>
              <a:gd name="connsiteY32" fmla="*/ 580024 h 687974"/>
              <a:gd name="connsiteX33" fmla="*/ 635000 w 746125"/>
              <a:gd name="connsiteY33" fmla="*/ 589549 h 687974"/>
              <a:gd name="connsiteX34" fmla="*/ 638175 w 746125"/>
              <a:gd name="connsiteY34" fmla="*/ 605424 h 687974"/>
              <a:gd name="connsiteX35" fmla="*/ 644525 w 746125"/>
              <a:gd name="connsiteY35" fmla="*/ 633999 h 687974"/>
              <a:gd name="connsiteX36" fmla="*/ 654050 w 746125"/>
              <a:gd name="connsiteY36" fmla="*/ 646699 h 687974"/>
              <a:gd name="connsiteX37" fmla="*/ 657225 w 746125"/>
              <a:gd name="connsiteY37" fmla="*/ 656224 h 687974"/>
              <a:gd name="connsiteX38" fmla="*/ 663575 w 746125"/>
              <a:gd name="connsiteY38" fmla="*/ 665749 h 687974"/>
              <a:gd name="connsiteX39" fmla="*/ 654050 w 746125"/>
              <a:gd name="connsiteY39" fmla="*/ 668924 h 687974"/>
              <a:gd name="connsiteX40" fmla="*/ 603250 w 746125"/>
              <a:gd name="connsiteY40" fmla="*/ 672099 h 687974"/>
              <a:gd name="connsiteX41" fmla="*/ 561975 w 746125"/>
              <a:gd name="connsiteY41" fmla="*/ 678449 h 687974"/>
              <a:gd name="connsiteX42" fmla="*/ 514350 w 746125"/>
              <a:gd name="connsiteY42" fmla="*/ 687974 h 687974"/>
              <a:gd name="connsiteX43" fmla="*/ 393700 w 746125"/>
              <a:gd name="connsiteY43" fmla="*/ 684799 h 687974"/>
              <a:gd name="connsiteX44" fmla="*/ 355600 w 746125"/>
              <a:gd name="connsiteY44" fmla="*/ 678449 h 687974"/>
              <a:gd name="connsiteX45" fmla="*/ 311150 w 746125"/>
              <a:gd name="connsiteY45" fmla="*/ 675274 h 687974"/>
              <a:gd name="connsiteX46" fmla="*/ 234950 w 746125"/>
              <a:gd name="connsiteY46" fmla="*/ 678449 h 687974"/>
              <a:gd name="connsiteX47" fmla="*/ 174625 w 746125"/>
              <a:gd name="connsiteY47" fmla="*/ 684799 h 687974"/>
              <a:gd name="connsiteX48" fmla="*/ 133350 w 746125"/>
              <a:gd name="connsiteY48" fmla="*/ 678449 h 687974"/>
              <a:gd name="connsiteX49" fmla="*/ 123825 w 746125"/>
              <a:gd name="connsiteY49" fmla="*/ 668924 h 687974"/>
              <a:gd name="connsiteX50" fmla="*/ 98425 w 746125"/>
              <a:gd name="connsiteY50" fmla="*/ 646699 h 687974"/>
              <a:gd name="connsiteX51" fmla="*/ 95250 w 746125"/>
              <a:gd name="connsiteY51" fmla="*/ 633999 h 687974"/>
              <a:gd name="connsiteX52" fmla="*/ 82550 w 746125"/>
              <a:gd name="connsiteY52" fmla="*/ 627649 h 687974"/>
              <a:gd name="connsiteX53" fmla="*/ 73025 w 746125"/>
              <a:gd name="connsiteY53" fmla="*/ 621299 h 687974"/>
              <a:gd name="connsiteX54" fmla="*/ 66675 w 746125"/>
              <a:gd name="connsiteY54" fmla="*/ 608599 h 687974"/>
              <a:gd name="connsiteX55" fmla="*/ 44450 w 746125"/>
              <a:gd name="connsiteY55" fmla="*/ 595899 h 687974"/>
              <a:gd name="connsiteX56" fmla="*/ 38100 w 746125"/>
              <a:gd name="connsiteY56" fmla="*/ 586374 h 687974"/>
              <a:gd name="connsiteX57" fmla="*/ 15875 w 746125"/>
              <a:gd name="connsiteY57" fmla="*/ 576849 h 687974"/>
              <a:gd name="connsiteX58" fmla="*/ 9525 w 746125"/>
              <a:gd name="connsiteY58" fmla="*/ 567324 h 687974"/>
              <a:gd name="connsiteX59" fmla="*/ 19050 w 746125"/>
              <a:gd name="connsiteY59" fmla="*/ 557799 h 687974"/>
              <a:gd name="connsiteX60" fmla="*/ 31750 w 746125"/>
              <a:gd name="connsiteY60" fmla="*/ 538749 h 687974"/>
              <a:gd name="connsiteX61" fmla="*/ 38100 w 746125"/>
              <a:gd name="connsiteY61" fmla="*/ 529224 h 687974"/>
              <a:gd name="connsiteX62" fmla="*/ 47625 w 746125"/>
              <a:gd name="connsiteY62" fmla="*/ 494299 h 687974"/>
              <a:gd name="connsiteX63" fmla="*/ 38100 w 746125"/>
              <a:gd name="connsiteY63" fmla="*/ 487949 h 687974"/>
              <a:gd name="connsiteX64" fmla="*/ 25400 w 746125"/>
              <a:gd name="connsiteY64" fmla="*/ 481599 h 687974"/>
              <a:gd name="connsiteX65" fmla="*/ 22225 w 746125"/>
              <a:gd name="connsiteY65" fmla="*/ 472074 h 687974"/>
              <a:gd name="connsiteX66" fmla="*/ 25400 w 746125"/>
              <a:gd name="connsiteY66" fmla="*/ 437149 h 687974"/>
              <a:gd name="connsiteX67" fmla="*/ 34925 w 746125"/>
              <a:gd name="connsiteY67" fmla="*/ 433974 h 687974"/>
              <a:gd name="connsiteX68" fmla="*/ 66675 w 746125"/>
              <a:gd name="connsiteY68" fmla="*/ 411749 h 687974"/>
              <a:gd name="connsiteX69" fmla="*/ 79375 w 746125"/>
              <a:gd name="connsiteY69" fmla="*/ 408574 h 687974"/>
              <a:gd name="connsiteX70" fmla="*/ 85725 w 746125"/>
              <a:gd name="connsiteY70" fmla="*/ 399049 h 687974"/>
              <a:gd name="connsiteX71" fmla="*/ 98425 w 746125"/>
              <a:gd name="connsiteY71" fmla="*/ 370474 h 687974"/>
              <a:gd name="connsiteX72" fmla="*/ 111125 w 746125"/>
              <a:gd name="connsiteY72" fmla="*/ 367299 h 687974"/>
              <a:gd name="connsiteX73" fmla="*/ 123825 w 746125"/>
              <a:gd name="connsiteY73" fmla="*/ 351424 h 687974"/>
              <a:gd name="connsiteX74" fmla="*/ 130175 w 746125"/>
              <a:gd name="connsiteY74" fmla="*/ 341899 h 687974"/>
              <a:gd name="connsiteX75" fmla="*/ 139700 w 746125"/>
              <a:gd name="connsiteY75" fmla="*/ 332374 h 687974"/>
              <a:gd name="connsiteX76" fmla="*/ 142875 w 746125"/>
              <a:gd name="connsiteY76" fmla="*/ 322849 h 687974"/>
              <a:gd name="connsiteX77" fmla="*/ 152400 w 746125"/>
              <a:gd name="connsiteY77" fmla="*/ 319674 h 687974"/>
              <a:gd name="connsiteX78" fmla="*/ 139700 w 746125"/>
              <a:gd name="connsiteY78" fmla="*/ 281574 h 687974"/>
              <a:gd name="connsiteX79" fmla="*/ 127000 w 746125"/>
              <a:gd name="connsiteY79" fmla="*/ 278399 h 687974"/>
              <a:gd name="connsiteX80" fmla="*/ 127000 w 746125"/>
              <a:gd name="connsiteY80" fmla="*/ 211724 h 687974"/>
              <a:gd name="connsiteX81" fmla="*/ 133350 w 746125"/>
              <a:gd name="connsiteY81" fmla="*/ 202199 h 687974"/>
              <a:gd name="connsiteX82" fmla="*/ 139700 w 746125"/>
              <a:gd name="connsiteY82" fmla="*/ 183149 h 687974"/>
              <a:gd name="connsiteX83" fmla="*/ 152400 w 746125"/>
              <a:gd name="connsiteY83" fmla="*/ 138699 h 687974"/>
              <a:gd name="connsiteX84" fmla="*/ 155575 w 746125"/>
              <a:gd name="connsiteY84" fmla="*/ 129174 h 687974"/>
              <a:gd name="connsiteX85" fmla="*/ 161925 w 746125"/>
              <a:gd name="connsiteY85" fmla="*/ 119649 h 687974"/>
              <a:gd name="connsiteX86" fmla="*/ 152400 w 746125"/>
              <a:gd name="connsiteY86" fmla="*/ 78374 h 687974"/>
              <a:gd name="connsiteX87" fmla="*/ 149225 w 746125"/>
              <a:gd name="connsiteY87" fmla="*/ 65674 h 687974"/>
              <a:gd name="connsiteX88" fmla="*/ 139700 w 746125"/>
              <a:gd name="connsiteY88" fmla="*/ 59324 h 687974"/>
              <a:gd name="connsiteX89" fmla="*/ 114300 w 746125"/>
              <a:gd name="connsiteY89" fmla="*/ 62499 h 687974"/>
              <a:gd name="connsiteX90" fmla="*/ 104775 w 746125"/>
              <a:gd name="connsiteY90" fmla="*/ 65674 h 687974"/>
              <a:gd name="connsiteX91" fmla="*/ 98425 w 746125"/>
              <a:gd name="connsiteY91" fmla="*/ 75199 h 687974"/>
              <a:gd name="connsiteX92" fmla="*/ 79375 w 746125"/>
              <a:gd name="connsiteY92" fmla="*/ 81549 h 687974"/>
              <a:gd name="connsiteX93" fmla="*/ 9525 w 746125"/>
              <a:gd name="connsiteY93" fmla="*/ 78374 h 687974"/>
              <a:gd name="connsiteX94" fmla="*/ 3175 w 746125"/>
              <a:gd name="connsiteY94" fmla="*/ 59324 h 687974"/>
              <a:gd name="connsiteX95" fmla="*/ 0 w 746125"/>
              <a:gd name="connsiteY95" fmla="*/ 49799 h 687974"/>
              <a:gd name="connsiteX96" fmla="*/ 3175 w 746125"/>
              <a:gd name="connsiteY96" fmla="*/ 18049 h 687974"/>
              <a:gd name="connsiteX97" fmla="*/ 12700 w 746125"/>
              <a:gd name="connsiteY97" fmla="*/ 11699 h 687974"/>
              <a:gd name="connsiteX98" fmla="*/ 15875 w 746125"/>
              <a:gd name="connsiteY98" fmla="*/ 2174 h 687974"/>
              <a:gd name="connsiteX99" fmla="*/ 15875 w 746125"/>
              <a:gd name="connsiteY99" fmla="*/ 5349 h 687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746125" h="687974">
                <a:moveTo>
                  <a:pt x="15875" y="5349"/>
                </a:moveTo>
                <a:lnTo>
                  <a:pt x="15875" y="5349"/>
                </a:lnTo>
                <a:lnTo>
                  <a:pt x="476250" y="8524"/>
                </a:lnTo>
                <a:cubicBezTo>
                  <a:pt x="485868" y="8645"/>
                  <a:pt x="546686" y="13865"/>
                  <a:pt x="558800" y="14874"/>
                </a:cubicBezTo>
                <a:cubicBezTo>
                  <a:pt x="594783" y="13816"/>
                  <a:pt x="630869" y="14608"/>
                  <a:pt x="666750" y="11699"/>
                </a:cubicBezTo>
                <a:cubicBezTo>
                  <a:pt x="670553" y="11391"/>
                  <a:pt x="672462" y="5502"/>
                  <a:pt x="676275" y="5349"/>
                </a:cubicBezTo>
                <a:lnTo>
                  <a:pt x="746125" y="8524"/>
                </a:lnTo>
                <a:cubicBezTo>
                  <a:pt x="742950" y="16991"/>
                  <a:pt x="739641" y="25408"/>
                  <a:pt x="736600" y="33924"/>
                </a:cubicBezTo>
                <a:cubicBezTo>
                  <a:pt x="734349" y="40228"/>
                  <a:pt x="732736" y="46759"/>
                  <a:pt x="730250" y="52974"/>
                </a:cubicBezTo>
                <a:cubicBezTo>
                  <a:pt x="724263" y="67941"/>
                  <a:pt x="718409" y="83006"/>
                  <a:pt x="711200" y="97424"/>
                </a:cubicBezTo>
                <a:cubicBezTo>
                  <a:pt x="709083" y="101657"/>
                  <a:pt x="706512" y="105692"/>
                  <a:pt x="704850" y="110124"/>
                </a:cubicBezTo>
                <a:cubicBezTo>
                  <a:pt x="703318" y="114210"/>
                  <a:pt x="702929" y="118644"/>
                  <a:pt x="701675" y="122824"/>
                </a:cubicBezTo>
                <a:cubicBezTo>
                  <a:pt x="699752" y="129235"/>
                  <a:pt x="697442" y="135524"/>
                  <a:pt x="695325" y="141874"/>
                </a:cubicBezTo>
                <a:cubicBezTo>
                  <a:pt x="694267" y="145049"/>
                  <a:pt x="692962" y="148152"/>
                  <a:pt x="692150" y="151399"/>
                </a:cubicBezTo>
                <a:cubicBezTo>
                  <a:pt x="691092" y="155632"/>
                  <a:pt x="690229" y="159919"/>
                  <a:pt x="688975" y="164099"/>
                </a:cubicBezTo>
                <a:cubicBezTo>
                  <a:pt x="687052" y="170510"/>
                  <a:pt x="684742" y="176799"/>
                  <a:pt x="682625" y="183149"/>
                </a:cubicBezTo>
                <a:lnTo>
                  <a:pt x="679450" y="192674"/>
                </a:lnTo>
                <a:cubicBezTo>
                  <a:pt x="678392" y="203257"/>
                  <a:pt x="677892" y="213912"/>
                  <a:pt x="676275" y="224424"/>
                </a:cubicBezTo>
                <a:cubicBezTo>
                  <a:pt x="674904" y="233337"/>
                  <a:pt x="669929" y="238171"/>
                  <a:pt x="666750" y="246649"/>
                </a:cubicBezTo>
                <a:cubicBezTo>
                  <a:pt x="665218" y="250735"/>
                  <a:pt x="664829" y="255169"/>
                  <a:pt x="663575" y="259349"/>
                </a:cubicBezTo>
                <a:cubicBezTo>
                  <a:pt x="661652" y="265760"/>
                  <a:pt x="659064" y="271963"/>
                  <a:pt x="657225" y="278399"/>
                </a:cubicBezTo>
                <a:cubicBezTo>
                  <a:pt x="654827" y="286790"/>
                  <a:pt x="653635" y="295520"/>
                  <a:pt x="650875" y="303799"/>
                </a:cubicBezTo>
                <a:cubicBezTo>
                  <a:pt x="649378" y="308289"/>
                  <a:pt x="646187" y="312067"/>
                  <a:pt x="644525" y="316499"/>
                </a:cubicBezTo>
                <a:cubicBezTo>
                  <a:pt x="642993" y="320585"/>
                  <a:pt x="642882" y="325113"/>
                  <a:pt x="641350" y="329199"/>
                </a:cubicBezTo>
                <a:cubicBezTo>
                  <a:pt x="639688" y="333631"/>
                  <a:pt x="636662" y="337467"/>
                  <a:pt x="635000" y="341899"/>
                </a:cubicBezTo>
                <a:cubicBezTo>
                  <a:pt x="633468" y="345985"/>
                  <a:pt x="633990" y="350810"/>
                  <a:pt x="631825" y="354599"/>
                </a:cubicBezTo>
                <a:cubicBezTo>
                  <a:pt x="629597" y="358498"/>
                  <a:pt x="624910" y="360470"/>
                  <a:pt x="622300" y="364124"/>
                </a:cubicBezTo>
                <a:cubicBezTo>
                  <a:pt x="617396" y="370990"/>
                  <a:pt x="615366" y="378576"/>
                  <a:pt x="612775" y="386349"/>
                </a:cubicBezTo>
                <a:cubicBezTo>
                  <a:pt x="614892" y="418099"/>
                  <a:pt x="616244" y="449909"/>
                  <a:pt x="619125" y="481599"/>
                </a:cubicBezTo>
                <a:cubicBezTo>
                  <a:pt x="619428" y="484932"/>
                  <a:pt x="621701" y="487831"/>
                  <a:pt x="622300" y="491124"/>
                </a:cubicBezTo>
                <a:cubicBezTo>
                  <a:pt x="623826" y="499519"/>
                  <a:pt x="624347" y="508066"/>
                  <a:pt x="625475" y="516524"/>
                </a:cubicBezTo>
                <a:cubicBezTo>
                  <a:pt x="626464" y="523942"/>
                  <a:pt x="627905" y="531303"/>
                  <a:pt x="628650" y="538749"/>
                </a:cubicBezTo>
                <a:cubicBezTo>
                  <a:pt x="630023" y="552479"/>
                  <a:pt x="630113" y="566332"/>
                  <a:pt x="631825" y="580024"/>
                </a:cubicBezTo>
                <a:cubicBezTo>
                  <a:pt x="632240" y="583345"/>
                  <a:pt x="634188" y="586302"/>
                  <a:pt x="635000" y="589549"/>
                </a:cubicBezTo>
                <a:cubicBezTo>
                  <a:pt x="636309" y="594784"/>
                  <a:pt x="637210" y="600115"/>
                  <a:pt x="638175" y="605424"/>
                </a:cubicBezTo>
                <a:cubicBezTo>
                  <a:pt x="639056" y="610269"/>
                  <a:pt x="640793" y="627468"/>
                  <a:pt x="644525" y="633999"/>
                </a:cubicBezTo>
                <a:cubicBezTo>
                  <a:pt x="647150" y="638593"/>
                  <a:pt x="650875" y="642466"/>
                  <a:pt x="654050" y="646699"/>
                </a:cubicBezTo>
                <a:cubicBezTo>
                  <a:pt x="655108" y="649874"/>
                  <a:pt x="655728" y="653231"/>
                  <a:pt x="657225" y="656224"/>
                </a:cubicBezTo>
                <a:cubicBezTo>
                  <a:pt x="658932" y="659637"/>
                  <a:pt x="664500" y="662047"/>
                  <a:pt x="663575" y="665749"/>
                </a:cubicBezTo>
                <a:cubicBezTo>
                  <a:pt x="662763" y="668996"/>
                  <a:pt x="657378" y="668574"/>
                  <a:pt x="654050" y="668924"/>
                </a:cubicBezTo>
                <a:cubicBezTo>
                  <a:pt x="637177" y="670700"/>
                  <a:pt x="620183" y="671041"/>
                  <a:pt x="603250" y="672099"/>
                </a:cubicBezTo>
                <a:cubicBezTo>
                  <a:pt x="597057" y="672984"/>
                  <a:pt x="569134" y="676797"/>
                  <a:pt x="561975" y="678449"/>
                </a:cubicBezTo>
                <a:cubicBezTo>
                  <a:pt x="515738" y="689119"/>
                  <a:pt x="564901" y="681655"/>
                  <a:pt x="514350" y="687974"/>
                </a:cubicBezTo>
                <a:lnTo>
                  <a:pt x="393700" y="684799"/>
                </a:lnTo>
                <a:cubicBezTo>
                  <a:pt x="315568" y="681402"/>
                  <a:pt x="401331" y="683530"/>
                  <a:pt x="355600" y="678449"/>
                </a:cubicBezTo>
                <a:cubicBezTo>
                  <a:pt x="340836" y="676809"/>
                  <a:pt x="325967" y="676332"/>
                  <a:pt x="311150" y="675274"/>
                </a:cubicBezTo>
                <a:lnTo>
                  <a:pt x="234950" y="678449"/>
                </a:lnTo>
                <a:cubicBezTo>
                  <a:pt x="186995" y="680908"/>
                  <a:pt x="201657" y="678041"/>
                  <a:pt x="174625" y="684799"/>
                </a:cubicBezTo>
                <a:cubicBezTo>
                  <a:pt x="160867" y="682682"/>
                  <a:pt x="146637" y="682601"/>
                  <a:pt x="133350" y="678449"/>
                </a:cubicBezTo>
                <a:cubicBezTo>
                  <a:pt x="129064" y="677110"/>
                  <a:pt x="127234" y="671846"/>
                  <a:pt x="123825" y="668924"/>
                </a:cubicBezTo>
                <a:cubicBezTo>
                  <a:pt x="93218" y="642690"/>
                  <a:pt x="129707" y="677981"/>
                  <a:pt x="98425" y="646699"/>
                </a:cubicBezTo>
                <a:cubicBezTo>
                  <a:pt x="97367" y="642466"/>
                  <a:pt x="98044" y="637351"/>
                  <a:pt x="95250" y="633999"/>
                </a:cubicBezTo>
                <a:cubicBezTo>
                  <a:pt x="92220" y="630363"/>
                  <a:pt x="86659" y="629997"/>
                  <a:pt x="82550" y="627649"/>
                </a:cubicBezTo>
                <a:cubicBezTo>
                  <a:pt x="79237" y="625756"/>
                  <a:pt x="76200" y="623416"/>
                  <a:pt x="73025" y="621299"/>
                </a:cubicBezTo>
                <a:cubicBezTo>
                  <a:pt x="70908" y="617066"/>
                  <a:pt x="69755" y="612193"/>
                  <a:pt x="66675" y="608599"/>
                </a:cubicBezTo>
                <a:cubicBezTo>
                  <a:pt x="58986" y="599629"/>
                  <a:pt x="54132" y="599126"/>
                  <a:pt x="44450" y="595899"/>
                </a:cubicBezTo>
                <a:cubicBezTo>
                  <a:pt x="42333" y="592724"/>
                  <a:pt x="40798" y="589072"/>
                  <a:pt x="38100" y="586374"/>
                </a:cubicBezTo>
                <a:cubicBezTo>
                  <a:pt x="30791" y="579065"/>
                  <a:pt x="25591" y="579278"/>
                  <a:pt x="15875" y="576849"/>
                </a:cubicBezTo>
                <a:cubicBezTo>
                  <a:pt x="13758" y="573674"/>
                  <a:pt x="8898" y="571088"/>
                  <a:pt x="9525" y="567324"/>
                </a:cubicBezTo>
                <a:cubicBezTo>
                  <a:pt x="10263" y="562895"/>
                  <a:pt x="16293" y="561343"/>
                  <a:pt x="19050" y="557799"/>
                </a:cubicBezTo>
                <a:cubicBezTo>
                  <a:pt x="23735" y="551775"/>
                  <a:pt x="27517" y="545099"/>
                  <a:pt x="31750" y="538749"/>
                </a:cubicBezTo>
                <a:cubicBezTo>
                  <a:pt x="33867" y="535574"/>
                  <a:pt x="36893" y="532844"/>
                  <a:pt x="38100" y="529224"/>
                </a:cubicBezTo>
                <a:cubicBezTo>
                  <a:pt x="46157" y="505054"/>
                  <a:pt x="43137" y="516738"/>
                  <a:pt x="47625" y="494299"/>
                </a:cubicBezTo>
                <a:cubicBezTo>
                  <a:pt x="44450" y="492182"/>
                  <a:pt x="41413" y="489842"/>
                  <a:pt x="38100" y="487949"/>
                </a:cubicBezTo>
                <a:cubicBezTo>
                  <a:pt x="33991" y="485601"/>
                  <a:pt x="28747" y="484946"/>
                  <a:pt x="25400" y="481599"/>
                </a:cubicBezTo>
                <a:cubicBezTo>
                  <a:pt x="23033" y="479232"/>
                  <a:pt x="23283" y="475249"/>
                  <a:pt x="22225" y="472074"/>
                </a:cubicBezTo>
                <a:cubicBezTo>
                  <a:pt x="23283" y="460432"/>
                  <a:pt x="21703" y="448239"/>
                  <a:pt x="25400" y="437149"/>
                </a:cubicBezTo>
                <a:cubicBezTo>
                  <a:pt x="26458" y="433974"/>
                  <a:pt x="32019" y="435634"/>
                  <a:pt x="34925" y="433974"/>
                </a:cubicBezTo>
                <a:cubicBezTo>
                  <a:pt x="43098" y="429304"/>
                  <a:pt x="58556" y="413779"/>
                  <a:pt x="66675" y="411749"/>
                </a:cubicBezTo>
                <a:lnTo>
                  <a:pt x="79375" y="408574"/>
                </a:lnTo>
                <a:cubicBezTo>
                  <a:pt x="81492" y="405399"/>
                  <a:pt x="84175" y="402536"/>
                  <a:pt x="85725" y="399049"/>
                </a:cubicBezTo>
                <a:cubicBezTo>
                  <a:pt x="87571" y="394896"/>
                  <a:pt x="91618" y="375012"/>
                  <a:pt x="98425" y="370474"/>
                </a:cubicBezTo>
                <a:cubicBezTo>
                  <a:pt x="102056" y="368053"/>
                  <a:pt x="106892" y="368357"/>
                  <a:pt x="111125" y="367299"/>
                </a:cubicBezTo>
                <a:cubicBezTo>
                  <a:pt x="117306" y="348756"/>
                  <a:pt x="109464" y="365785"/>
                  <a:pt x="123825" y="351424"/>
                </a:cubicBezTo>
                <a:cubicBezTo>
                  <a:pt x="126523" y="348726"/>
                  <a:pt x="127732" y="344830"/>
                  <a:pt x="130175" y="341899"/>
                </a:cubicBezTo>
                <a:cubicBezTo>
                  <a:pt x="133050" y="338450"/>
                  <a:pt x="136525" y="335549"/>
                  <a:pt x="139700" y="332374"/>
                </a:cubicBezTo>
                <a:cubicBezTo>
                  <a:pt x="140758" y="329199"/>
                  <a:pt x="140508" y="325216"/>
                  <a:pt x="142875" y="322849"/>
                </a:cubicBezTo>
                <a:cubicBezTo>
                  <a:pt x="145242" y="320482"/>
                  <a:pt x="151801" y="322967"/>
                  <a:pt x="152400" y="319674"/>
                </a:cubicBezTo>
                <a:cubicBezTo>
                  <a:pt x="156082" y="299423"/>
                  <a:pt x="155479" y="288336"/>
                  <a:pt x="139700" y="281574"/>
                </a:cubicBezTo>
                <a:cubicBezTo>
                  <a:pt x="135689" y="279855"/>
                  <a:pt x="131233" y="279457"/>
                  <a:pt x="127000" y="278399"/>
                </a:cubicBezTo>
                <a:cubicBezTo>
                  <a:pt x="120259" y="251434"/>
                  <a:pt x="120245" y="256759"/>
                  <a:pt x="127000" y="211724"/>
                </a:cubicBezTo>
                <a:cubicBezTo>
                  <a:pt x="127566" y="207950"/>
                  <a:pt x="131800" y="205686"/>
                  <a:pt x="133350" y="202199"/>
                </a:cubicBezTo>
                <a:cubicBezTo>
                  <a:pt x="136068" y="196082"/>
                  <a:pt x="138077" y="189643"/>
                  <a:pt x="139700" y="183149"/>
                </a:cubicBezTo>
                <a:cubicBezTo>
                  <a:pt x="147673" y="151255"/>
                  <a:pt x="143290" y="166028"/>
                  <a:pt x="152400" y="138699"/>
                </a:cubicBezTo>
                <a:cubicBezTo>
                  <a:pt x="153458" y="135524"/>
                  <a:pt x="153719" y="131959"/>
                  <a:pt x="155575" y="129174"/>
                </a:cubicBezTo>
                <a:lnTo>
                  <a:pt x="161925" y="119649"/>
                </a:lnTo>
                <a:cubicBezTo>
                  <a:pt x="154555" y="68059"/>
                  <a:pt x="164022" y="124862"/>
                  <a:pt x="152400" y="78374"/>
                </a:cubicBezTo>
                <a:cubicBezTo>
                  <a:pt x="151342" y="74141"/>
                  <a:pt x="151646" y="69305"/>
                  <a:pt x="149225" y="65674"/>
                </a:cubicBezTo>
                <a:cubicBezTo>
                  <a:pt x="147108" y="62499"/>
                  <a:pt x="142875" y="61441"/>
                  <a:pt x="139700" y="59324"/>
                </a:cubicBezTo>
                <a:cubicBezTo>
                  <a:pt x="131233" y="60382"/>
                  <a:pt x="122695" y="60973"/>
                  <a:pt x="114300" y="62499"/>
                </a:cubicBezTo>
                <a:cubicBezTo>
                  <a:pt x="111007" y="63098"/>
                  <a:pt x="107388" y="63583"/>
                  <a:pt x="104775" y="65674"/>
                </a:cubicBezTo>
                <a:cubicBezTo>
                  <a:pt x="101795" y="68058"/>
                  <a:pt x="101661" y="73177"/>
                  <a:pt x="98425" y="75199"/>
                </a:cubicBezTo>
                <a:cubicBezTo>
                  <a:pt x="92749" y="78747"/>
                  <a:pt x="79375" y="81549"/>
                  <a:pt x="79375" y="81549"/>
                </a:cubicBezTo>
                <a:cubicBezTo>
                  <a:pt x="56092" y="80491"/>
                  <a:pt x="31900" y="84900"/>
                  <a:pt x="9525" y="78374"/>
                </a:cubicBezTo>
                <a:cubicBezTo>
                  <a:pt x="3099" y="76500"/>
                  <a:pt x="5292" y="65674"/>
                  <a:pt x="3175" y="59324"/>
                </a:cubicBezTo>
                <a:lnTo>
                  <a:pt x="0" y="49799"/>
                </a:lnTo>
                <a:cubicBezTo>
                  <a:pt x="1058" y="39216"/>
                  <a:pt x="-188" y="28139"/>
                  <a:pt x="3175" y="18049"/>
                </a:cubicBezTo>
                <a:cubicBezTo>
                  <a:pt x="4382" y="14429"/>
                  <a:pt x="10316" y="14679"/>
                  <a:pt x="12700" y="11699"/>
                </a:cubicBezTo>
                <a:cubicBezTo>
                  <a:pt x="14791" y="9086"/>
                  <a:pt x="14153" y="5044"/>
                  <a:pt x="15875" y="2174"/>
                </a:cubicBezTo>
                <a:cubicBezTo>
                  <a:pt x="17415" y="-393"/>
                  <a:pt x="20108" y="-2059"/>
                  <a:pt x="15875" y="5349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4" name="Freeform 688"/>
          <p:cNvSpPr>
            <a:spLocks/>
          </p:cNvSpPr>
          <p:nvPr/>
        </p:nvSpPr>
        <p:spPr bwMode="auto">
          <a:xfrm>
            <a:off x="5068888" y="3777199"/>
            <a:ext cx="36512" cy="36513"/>
          </a:xfrm>
          <a:custGeom>
            <a:avLst/>
            <a:gdLst>
              <a:gd name="T0" fmla="*/ 0 w 38"/>
              <a:gd name="T1" fmla="*/ 2147483647 h 29"/>
              <a:gd name="T2" fmla="*/ 2147483647 w 38"/>
              <a:gd name="T3" fmla="*/ 0 h 29"/>
              <a:gd name="T4" fmla="*/ 2147483647 w 38"/>
              <a:gd name="T5" fmla="*/ 0 h 29"/>
              <a:gd name="T6" fmla="*/ 2147483647 w 38"/>
              <a:gd name="T7" fmla="*/ 2147483647 h 29"/>
              <a:gd name="T8" fmla="*/ 2147483647 w 38"/>
              <a:gd name="T9" fmla="*/ 2147483647 h 29"/>
              <a:gd name="T10" fmla="*/ 2147483647 w 38"/>
              <a:gd name="T11" fmla="*/ 2147483647 h 29"/>
              <a:gd name="T12" fmla="*/ 0 w 38"/>
              <a:gd name="T13" fmla="*/ 2147483647 h 2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38" h="29">
                <a:moveTo>
                  <a:pt x="0" y="9"/>
                </a:moveTo>
                <a:lnTo>
                  <a:pt x="21" y="0"/>
                </a:lnTo>
                <a:lnTo>
                  <a:pt x="38" y="0"/>
                </a:lnTo>
                <a:lnTo>
                  <a:pt x="38" y="20"/>
                </a:lnTo>
                <a:lnTo>
                  <a:pt x="21" y="29"/>
                </a:lnTo>
                <a:lnTo>
                  <a:pt x="8" y="29"/>
                </a:lnTo>
                <a:lnTo>
                  <a:pt x="0" y="9"/>
                </a:lnTo>
                <a:close/>
              </a:path>
            </a:pathLst>
          </a:custGeom>
          <a:solidFill>
            <a:srgbClr val="1F497D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5" name="TextBox 1"/>
          <p:cNvSpPr txBox="1">
            <a:spLocks noChangeArrowheads="1"/>
          </p:cNvSpPr>
          <p:nvPr/>
        </p:nvSpPr>
        <p:spPr bwMode="auto">
          <a:xfrm>
            <a:off x="3302000" y="5299612"/>
            <a:ext cx="3827463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600" b="1" dirty="0"/>
              <a:t>Treat all in </a:t>
            </a:r>
            <a:r>
              <a:rPr lang="en-US" sz="1600" b="1" dirty="0" smtClean="0"/>
              <a:t>48 </a:t>
            </a:r>
            <a:r>
              <a:rPr lang="en-US" sz="1600" b="1" dirty="0"/>
              <a:t>countries (63% burden)</a:t>
            </a:r>
          </a:p>
        </p:txBody>
      </p:sp>
    </p:spTree>
    <p:extLst>
      <p:ext uri="{BB962C8B-B14F-4D97-AF65-F5344CB8AC3E}">
        <p14:creationId xmlns:p14="http://schemas.microsoft.com/office/powerpoint/2010/main" val="2645947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0" y="169740"/>
            <a:ext cx="9144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Methodology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16943" y="972611"/>
            <a:ext cx="9127057" cy="5516092"/>
            <a:chOff x="16943" y="972611"/>
            <a:chExt cx="9127057" cy="5516092"/>
          </a:xfrm>
        </p:grpSpPr>
        <p:grpSp>
          <p:nvGrpSpPr>
            <p:cNvPr id="38" name="Group 37"/>
            <p:cNvGrpSpPr/>
            <p:nvPr/>
          </p:nvGrpSpPr>
          <p:grpSpPr>
            <a:xfrm>
              <a:off x="16943" y="972611"/>
              <a:ext cx="9127057" cy="5516092"/>
              <a:chOff x="16943" y="972611"/>
              <a:chExt cx="9127057" cy="5516092"/>
            </a:xfrm>
          </p:grpSpPr>
          <p:cxnSp>
            <p:nvCxnSpPr>
              <p:cNvPr id="7" name="Straight Connector 6"/>
              <p:cNvCxnSpPr/>
              <p:nvPr/>
            </p:nvCxnSpPr>
            <p:spPr>
              <a:xfrm>
                <a:off x="3999175" y="1155176"/>
                <a:ext cx="0" cy="4715997"/>
              </a:xfrm>
              <a:prstGeom prst="line">
                <a:avLst/>
              </a:prstGeom>
              <a:ln w="762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20"/>
              <p:cNvSpPr/>
              <p:nvPr/>
            </p:nvSpPr>
            <p:spPr>
              <a:xfrm>
                <a:off x="338659" y="4470416"/>
                <a:ext cx="3437473" cy="1323439"/>
              </a:xfrm>
              <a:prstGeom prst="rect">
                <a:avLst/>
              </a:prstGeom>
              <a:effectLst/>
            </p:spPr>
            <p:txBody>
              <a:bodyPr wrap="square">
                <a:sp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n-US" sz="1600" b="1" kern="1200" dirty="0" smtClean="0">
                    <a:solidFill>
                      <a:schemeClr val="accent5">
                        <a:lumMod val="40000"/>
                        <a:lumOff val="60000"/>
                      </a:schemeClr>
                    </a:solidFill>
                    <a:effectLst/>
                    <a:latin typeface="Arial"/>
                    <a:ea typeface="ＭＳ 明朝"/>
                    <a:cs typeface="Arial"/>
                  </a:rPr>
                  <a:t>DATA  ANALYSIS (123) </a:t>
                </a:r>
                <a:endParaRPr lang="en-US" sz="16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effectLst/>
                  <a:latin typeface="Arial"/>
                  <a:ea typeface="ＭＳ 明朝"/>
                  <a:cs typeface="Arial"/>
                </a:endParaRPr>
              </a:p>
              <a:p>
                <a:pPr algn="ctr">
                  <a:spcAft>
                    <a:spcPts val="0"/>
                  </a:spcAft>
                </a:pPr>
                <a:r>
                  <a:rPr lang="en-US" sz="1600" dirty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From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123 </a:t>
                </a:r>
                <a:r>
                  <a:rPr lang="en-US" sz="1600" dirty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guidelines from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84  </a:t>
                </a:r>
                <a:r>
                  <a:rPr lang="en-US" sz="1600" dirty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countries,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no. of months taken </a:t>
                </a:r>
                <a:r>
                  <a:rPr lang="en-US" sz="1600" dirty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to adopt the WHO 2009, 2013 and/or 2015 guidelines calculated</a:t>
                </a:r>
              </a:p>
            </p:txBody>
          </p:sp>
          <p:cxnSp>
            <p:nvCxnSpPr>
              <p:cNvPr id="4" name="Straight Connector 3"/>
              <p:cNvCxnSpPr/>
              <p:nvPr/>
            </p:nvCxnSpPr>
            <p:spPr>
              <a:xfrm flipV="1">
                <a:off x="2357266" y="1175807"/>
                <a:ext cx="1675775" cy="1"/>
              </a:xfrm>
              <a:prstGeom prst="line">
                <a:avLst/>
              </a:prstGeom>
              <a:ln w="762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" name="Straight Connector 5"/>
              <p:cNvCxnSpPr/>
              <p:nvPr/>
            </p:nvCxnSpPr>
            <p:spPr>
              <a:xfrm flipV="1">
                <a:off x="3965309" y="5847598"/>
                <a:ext cx="1675775" cy="1"/>
              </a:xfrm>
              <a:prstGeom prst="line">
                <a:avLst/>
              </a:prstGeom>
              <a:ln w="76200" cmpd="sng">
                <a:solidFill>
                  <a:schemeClr val="bg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TextBox 9"/>
              <p:cNvSpPr txBox="1"/>
              <p:nvPr/>
            </p:nvSpPr>
            <p:spPr>
              <a:xfrm>
                <a:off x="16943" y="972611"/>
                <a:ext cx="23876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 err="1" smtClean="0">
                    <a:solidFill>
                      <a:srgbClr val="FFFF00"/>
                    </a:solidFill>
                    <a:latin typeface="Arial"/>
                    <a:cs typeface="Arial"/>
                  </a:rPr>
                  <a:t>HIVpolicywatch.org</a:t>
                </a:r>
                <a:endParaRPr lang="en-US" b="1" dirty="0">
                  <a:solidFill>
                    <a:srgbClr val="FFFF00"/>
                  </a:solidFill>
                  <a:latin typeface="Arial"/>
                  <a:cs typeface="Arial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3969162" y="1051770"/>
                <a:ext cx="3303710" cy="1431218"/>
              </a:xfrm>
              <a:prstGeom prst="ellipse">
                <a:avLst/>
              </a:prstGeom>
              <a:noFill/>
              <a:ln w="38100" cmpd="sng">
                <a:solidFill>
                  <a:schemeClr val="accent3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Text Box 76"/>
              <p:cNvSpPr txBox="1"/>
              <p:nvPr/>
            </p:nvSpPr>
            <p:spPr>
              <a:xfrm>
                <a:off x="4192906" y="1207647"/>
                <a:ext cx="2845799" cy="1077218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/>
              <a:p>
                <a:pPr algn="ctr">
                  <a:spcAft>
                    <a:spcPts val="0"/>
                  </a:spcAft>
                </a:pPr>
                <a:r>
                  <a:rPr lang="en-US" sz="1600" b="1" kern="1200" dirty="0" smtClean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effectLst/>
                    <a:latin typeface="Arial"/>
                    <a:ea typeface="ＭＳ 明朝"/>
                    <a:cs typeface="Arial"/>
                  </a:rPr>
                  <a:t>IDENTIFICATION (</a:t>
                </a:r>
                <a:r>
                  <a:rPr lang="en-US" sz="1600" b="1" dirty="0" smtClean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latin typeface="Arial"/>
                    <a:ea typeface="ＭＳ 明朝"/>
                    <a:cs typeface="Arial"/>
                  </a:rPr>
                  <a:t>218</a:t>
                </a:r>
                <a:r>
                  <a:rPr lang="en-US" sz="1600" b="1" kern="1200" dirty="0" smtClean="0">
                    <a:solidFill>
                      <a:schemeClr val="accent3">
                        <a:lumMod val="60000"/>
                        <a:lumOff val="40000"/>
                      </a:schemeClr>
                    </a:solidFill>
                    <a:effectLst/>
                    <a:latin typeface="Arial"/>
                    <a:ea typeface="ＭＳ 明朝"/>
                    <a:cs typeface="Arial"/>
                  </a:rPr>
                  <a:t>)</a:t>
                </a:r>
              </a:p>
              <a:p>
                <a:pPr lvl="0" algn="ctr">
                  <a:spcAft>
                    <a:spcPts val="0"/>
                  </a:spcAft>
                  <a:tabLst>
                    <a:tab pos="228600" algn="l"/>
                  </a:tabLst>
                </a:pP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218</a:t>
                </a:r>
                <a:r>
                  <a:rPr lang="en-US" sz="1600" kern="1200" dirty="0" smtClean="0">
                    <a:solidFill>
                      <a:schemeClr val="bg1"/>
                    </a:solidFill>
                    <a:effectLst/>
                    <a:latin typeface="Arial"/>
                    <a:ea typeface="ＭＳ 明朝"/>
                    <a:cs typeface="Arial"/>
                  </a:rPr>
                  <a:t> </a:t>
                </a:r>
                <a:r>
                  <a:rPr lang="en-US" sz="1600" dirty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guidelines (2001-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2017)  </a:t>
                </a:r>
                <a:r>
                  <a:rPr lang="en-US" sz="1600" kern="1200" dirty="0" smtClean="0">
                    <a:solidFill>
                      <a:schemeClr val="bg1"/>
                    </a:solidFill>
                    <a:effectLst/>
                    <a:latin typeface="Arial"/>
                    <a:ea typeface="ＭＳ 明朝"/>
                    <a:cs typeface="Arial"/>
                  </a:rPr>
                  <a:t>from </a:t>
                </a:r>
                <a:r>
                  <a:rPr lang="en-US" sz="1600" dirty="0" smtClean="0">
                    <a:solidFill>
                      <a:schemeClr val="bg1"/>
                    </a:solidFill>
                    <a:latin typeface="Arial"/>
                    <a:ea typeface="ＭＳ 明朝"/>
                    <a:cs typeface="Arial"/>
                  </a:rPr>
                  <a:t>91</a:t>
                </a:r>
                <a:r>
                  <a:rPr lang="en-US" sz="1600" kern="1200" dirty="0" smtClean="0">
                    <a:solidFill>
                      <a:schemeClr val="bg1"/>
                    </a:solidFill>
                    <a:effectLst/>
                    <a:latin typeface="Arial"/>
                    <a:ea typeface="ＭＳ 明朝"/>
                    <a:cs typeface="Arial"/>
                  </a:rPr>
                  <a:t> LMICs (92% global HIV burden in 2015)</a:t>
                </a:r>
                <a:endParaRPr lang="en-US" sz="1600" dirty="0">
                  <a:solidFill>
                    <a:schemeClr val="bg1"/>
                  </a:solidFill>
                  <a:effectLst/>
                  <a:latin typeface="Arial"/>
                  <a:ea typeface="ＭＳ 明朝"/>
                  <a:cs typeface="Arial"/>
                </a:endParaRP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376202" y="2643918"/>
                <a:ext cx="3902373" cy="1358788"/>
                <a:chOff x="342336" y="2169794"/>
                <a:chExt cx="3902373" cy="1358788"/>
              </a:xfrm>
            </p:grpSpPr>
            <p:sp>
              <p:nvSpPr>
                <p:cNvPr id="14" name="Rectangle 13"/>
                <p:cNvSpPr/>
                <p:nvPr/>
              </p:nvSpPr>
              <p:spPr>
                <a:xfrm>
                  <a:off x="474133" y="2286005"/>
                  <a:ext cx="3132670" cy="1077218"/>
                </a:xfrm>
                <a:prstGeom prst="rect">
                  <a:avLst/>
                </a:prstGeom>
                <a:effectLst/>
              </p:spPr>
              <p:txBody>
                <a:bodyPr wrap="square">
                  <a:spAutoFit/>
                </a:bodyPr>
                <a:lstStyle/>
                <a:p>
                  <a:pPr algn="ctr">
                    <a:spcAft>
                      <a:spcPts val="0"/>
                    </a:spcAft>
                  </a:pPr>
                  <a:r>
                    <a:rPr lang="en-US" sz="1600" b="1" kern="1200" dirty="0" smtClean="0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effectLst/>
                      <a:latin typeface="Arial"/>
                      <a:ea typeface="ＭＳ 明朝"/>
                      <a:cs typeface="Arial"/>
                    </a:rPr>
                    <a:t>SCREENING (</a:t>
                  </a:r>
                  <a:r>
                    <a:rPr lang="en-US" sz="1600" b="1" dirty="0" smtClean="0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latin typeface="Arial"/>
                      <a:ea typeface="ＭＳ 明朝"/>
                      <a:cs typeface="Arial"/>
                    </a:rPr>
                    <a:t>218</a:t>
                  </a:r>
                  <a:r>
                    <a:rPr lang="en-US" sz="1600" b="1" kern="1200" dirty="0" smtClean="0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effectLst/>
                      <a:latin typeface="Arial"/>
                      <a:ea typeface="ＭＳ 明朝"/>
                      <a:cs typeface="Arial"/>
                    </a:rPr>
                    <a:t>)</a:t>
                  </a:r>
                  <a:endParaRPr lang="en-US" sz="1600" b="1" dirty="0">
                    <a:solidFill>
                      <a:schemeClr val="accent2">
                        <a:lumMod val="40000"/>
                        <a:lumOff val="60000"/>
                      </a:schemeClr>
                    </a:solidFill>
                    <a:effectLst/>
                    <a:latin typeface="Arial"/>
                    <a:ea typeface="ＭＳ 明朝"/>
                    <a:cs typeface="Arial"/>
                  </a:endParaRPr>
                </a:p>
                <a:p>
                  <a:pPr algn="ctr"/>
                  <a:r>
                    <a:rPr lang="en-US" sz="1600" dirty="0" smtClean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218 </a:t>
                  </a:r>
                  <a:r>
                    <a:rPr lang="en-US" sz="1600" kern="1200" dirty="0" smtClean="0">
                      <a:solidFill>
                        <a:schemeClr val="bg1"/>
                      </a:solidFill>
                      <a:effectLst/>
                      <a:latin typeface="Arial"/>
                      <a:ea typeface="ＭＳ 明朝"/>
                      <a:cs typeface="Arial"/>
                    </a:rPr>
                    <a:t>guidelines from </a:t>
                  </a:r>
                  <a:r>
                    <a:rPr lang="en-US" sz="1600" dirty="0" smtClean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91</a:t>
                  </a:r>
                  <a:r>
                    <a:rPr lang="en-US" sz="1600" kern="1200" dirty="0" smtClean="0">
                      <a:solidFill>
                        <a:schemeClr val="bg1"/>
                      </a:solidFill>
                      <a:effectLst/>
                      <a:latin typeface="Arial"/>
                      <a:ea typeface="ＭＳ 明朝"/>
                      <a:cs typeface="Arial"/>
                    </a:rPr>
                    <a:t> </a:t>
                  </a:r>
                  <a:r>
                    <a:rPr lang="en-US" sz="1600" dirty="0" smtClean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LMICs</a:t>
                  </a:r>
                  <a:r>
                    <a:rPr lang="en-US" sz="1600" kern="1200" dirty="0" smtClean="0">
                      <a:solidFill>
                        <a:schemeClr val="bg1"/>
                      </a:solidFill>
                      <a:effectLst/>
                      <a:latin typeface="Arial"/>
                      <a:ea typeface="ＭＳ 明朝"/>
                      <a:cs typeface="Arial"/>
                    </a:rPr>
                    <a:t> screened </a:t>
                  </a:r>
                  <a:r>
                    <a:rPr lang="en-US" sz="1600" dirty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for </a:t>
                  </a:r>
                  <a:r>
                    <a:rPr lang="en-US" sz="1600" dirty="0" smtClean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date of publication </a:t>
                  </a:r>
                  <a:r>
                    <a:rPr lang="en-US" sz="1600" dirty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and ART eligibility </a:t>
                  </a:r>
                  <a:r>
                    <a:rPr lang="en-US" sz="1600" dirty="0" smtClean="0">
                      <a:solidFill>
                        <a:schemeClr val="bg1"/>
                      </a:solidFill>
                      <a:latin typeface="Arial"/>
                      <a:ea typeface="ＭＳ 明朝"/>
                      <a:cs typeface="Arial"/>
                    </a:rPr>
                    <a:t>criteria</a:t>
                  </a:r>
                  <a:endParaRPr lang="en-US" sz="1600" dirty="0" smtClean="0">
                    <a:solidFill>
                      <a:schemeClr val="bg1"/>
                    </a:solidFill>
                    <a:effectLst/>
                    <a:latin typeface="Arial"/>
                    <a:ea typeface="ＭＳ 明朝"/>
                    <a:cs typeface="Arial"/>
                  </a:endParaRPr>
                </a:p>
              </p:txBody>
            </p:sp>
            <p:sp>
              <p:nvSpPr>
                <p:cNvPr id="15" name="Oval 14"/>
                <p:cNvSpPr/>
                <p:nvPr/>
              </p:nvSpPr>
              <p:spPr>
                <a:xfrm>
                  <a:off x="342336" y="2169794"/>
                  <a:ext cx="3493823" cy="1358788"/>
                </a:xfrm>
                <a:prstGeom prst="ellipse">
                  <a:avLst/>
                </a:prstGeom>
                <a:noFill/>
                <a:ln w="38100" cmpd="sng"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6" name="Oval 15"/>
                <p:cNvSpPr/>
                <p:nvPr/>
              </p:nvSpPr>
              <p:spPr>
                <a:xfrm>
                  <a:off x="3652043" y="2641612"/>
                  <a:ext cx="592666" cy="609600"/>
                </a:xfrm>
                <a:prstGeom prst="ellipse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solidFill>
                    <a:srgbClr val="E6B9B8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cxnSp>
            <p:nvCxnSpPr>
              <p:cNvPr id="24" name="Straight Connector 23"/>
              <p:cNvCxnSpPr>
                <a:stCxn id="40" idx="1"/>
              </p:cNvCxnSpPr>
              <p:nvPr/>
            </p:nvCxnSpPr>
            <p:spPr>
              <a:xfrm flipV="1">
                <a:off x="3796909" y="3400185"/>
                <a:ext cx="1760135" cy="21748"/>
              </a:xfrm>
              <a:prstGeom prst="line">
                <a:avLst/>
              </a:prstGeom>
              <a:ln w="9525" cmpd="sng">
                <a:solidFill>
                  <a:schemeClr val="bg1">
                    <a:lumMod val="85000"/>
                  </a:schemeClr>
                </a:solidFill>
                <a:prstDash val="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Rectangle 24"/>
              <p:cNvSpPr/>
              <p:nvPr/>
            </p:nvSpPr>
            <p:spPr>
              <a:xfrm>
                <a:off x="5557044" y="2521476"/>
                <a:ext cx="3586956" cy="2612510"/>
              </a:xfrm>
              <a:prstGeom prst="rect">
                <a:avLst/>
              </a:prstGeom>
              <a:effectLst/>
            </p:spPr>
            <p:txBody>
              <a:bodyPr wrap="square">
                <a:spAutoFit/>
              </a:bodyPr>
              <a:lstStyle/>
              <a:p>
                <a:pPr marL="285750" indent="-285750">
                  <a:lnSpc>
                    <a:spcPct val="110000"/>
                  </a:lnSpc>
                  <a:spcAft>
                    <a:spcPts val="600"/>
                  </a:spcAft>
                  <a:buFont typeface="Arial"/>
                  <a:buChar char="•"/>
                </a:pPr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Excluded </a:t>
                </a:r>
                <a:r>
                  <a:rPr lang="en-US" sz="1400" dirty="0" smtClean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12 guidelines (7 LMICs) recommending ART at CD4 &lt;200 or &lt;250 [new guidelines not available]</a:t>
                </a:r>
              </a:p>
              <a:p>
                <a:pPr marL="285750" indent="-285750">
                  <a:lnSpc>
                    <a:spcPct val="110000"/>
                  </a:lnSpc>
                  <a:spcAft>
                    <a:spcPts val="600"/>
                  </a:spcAft>
                  <a:buFont typeface="Arial"/>
                  <a:buChar char="•"/>
                </a:pPr>
                <a:r>
                  <a:rPr lang="en-US" sz="1400" dirty="0" smtClean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Excluded 39 old guidelines from 84 LMICs </a:t>
                </a:r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recommending ART at CD4 &lt;</a:t>
                </a:r>
                <a:r>
                  <a:rPr lang="en-US" sz="1400" dirty="0" smtClean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200 [updated guidelines available]</a:t>
                </a:r>
                <a:endParaRPr lang="en-US" sz="1400" dirty="0">
                  <a:solidFill>
                    <a:schemeClr val="bg1">
                      <a:lumMod val="85000"/>
                    </a:schemeClr>
                  </a:solidFill>
                  <a:latin typeface="Arial"/>
                  <a:ea typeface="ＭＳ 明朝"/>
                  <a:cs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600"/>
                  </a:spcAft>
                  <a:buFont typeface="Arial"/>
                  <a:buChar char="•"/>
                </a:pPr>
                <a:r>
                  <a:rPr lang="en-US" sz="1400" dirty="0" smtClean="0">
                    <a:solidFill>
                      <a:schemeClr val="bg1">
                        <a:lumMod val="85000"/>
                      </a:schemeClr>
                    </a:solidFill>
                    <a:latin typeface="Arial"/>
                    <a:ea typeface="ＭＳ 明朝"/>
                    <a:cs typeface="Arial"/>
                  </a:rPr>
                  <a:t>Excluded 44 guidelines from 84 LMICs that adopted a recommendation before WHO and in which eligibility criteria did not change</a:t>
                </a:r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254000" y="4318006"/>
                <a:ext cx="3606797" cy="1686871"/>
              </a:xfrm>
              <a:prstGeom prst="ellipse">
                <a:avLst/>
              </a:prstGeom>
              <a:noFill/>
              <a:ln w="38100" cmpd="sng">
                <a:solidFill>
                  <a:schemeClr val="accent5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rgbClr val="93CDDD"/>
                  </a:solidFill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5675574" y="5317100"/>
                <a:ext cx="3468426" cy="11716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10000"/>
                  </a:lnSpc>
                </a:pPr>
                <a:r>
                  <a:rPr lang="en-US" sz="1600" b="1" dirty="0" smtClean="0">
                    <a:solidFill>
                      <a:srgbClr val="FFFF00"/>
                    </a:solidFill>
                    <a:latin typeface="Arial"/>
                    <a:cs typeface="Arial"/>
                  </a:rPr>
                  <a:t>Average time </a:t>
                </a:r>
                <a:r>
                  <a:rPr lang="en-US" sz="1600" b="1" dirty="0">
                    <a:solidFill>
                      <a:srgbClr val="FFFF00"/>
                    </a:solidFill>
                    <a:latin typeface="Arial"/>
                    <a:cs typeface="Arial"/>
                  </a:rPr>
                  <a:t>lag </a:t>
                </a:r>
                <a:r>
                  <a:rPr lang="en-US" sz="1600" dirty="0" smtClean="0">
                    <a:solidFill>
                      <a:srgbClr val="FFFF00"/>
                    </a:solidFill>
                    <a:latin typeface="Arial"/>
                    <a:cs typeface="Arial"/>
                  </a:rPr>
                  <a:t>to adopt</a:t>
                </a:r>
              </a:p>
              <a:p>
                <a:pPr marL="342900" indent="-342900">
                  <a:lnSpc>
                    <a:spcPct val="110000"/>
                  </a:lnSpc>
                  <a:buFont typeface="Arial"/>
                  <a:buChar char="•"/>
                </a:pPr>
                <a:r>
                  <a:rPr lang="en-US" sz="1600" dirty="0" smtClean="0">
                    <a:solidFill>
                      <a:srgbClr val="FFFF00"/>
                    </a:solidFill>
                    <a:latin typeface="Arial"/>
                    <a:cs typeface="Arial"/>
                  </a:rPr>
                  <a:t>WHO 2009 guidelines</a:t>
                </a:r>
              </a:p>
              <a:p>
                <a:pPr marL="342900" indent="-342900">
                  <a:lnSpc>
                    <a:spcPct val="110000"/>
                  </a:lnSpc>
                  <a:buFont typeface="Arial"/>
                  <a:buChar char="•"/>
                </a:pPr>
                <a:r>
                  <a:rPr lang="en-US" sz="1600" dirty="0" smtClean="0">
                    <a:solidFill>
                      <a:srgbClr val="FFFF00"/>
                    </a:solidFill>
                    <a:latin typeface="Arial"/>
                    <a:cs typeface="Arial"/>
                  </a:rPr>
                  <a:t>WHO 2013 guidelines</a:t>
                </a:r>
              </a:p>
              <a:p>
                <a:pPr marL="342900" indent="-342900">
                  <a:lnSpc>
                    <a:spcPct val="110000"/>
                  </a:lnSpc>
                  <a:buFont typeface="Arial"/>
                  <a:buChar char="•"/>
                </a:pPr>
                <a:r>
                  <a:rPr lang="en-US" sz="1600" dirty="0" smtClean="0">
                    <a:solidFill>
                      <a:srgbClr val="FFFF00"/>
                    </a:solidFill>
                    <a:latin typeface="Arial"/>
                    <a:cs typeface="Arial"/>
                  </a:rPr>
                  <a:t>WHO 2015 guidelines</a:t>
                </a:r>
                <a:endParaRPr lang="en-US" sz="1600" dirty="0">
                  <a:solidFill>
                    <a:srgbClr val="FFFF00"/>
                  </a:solidFill>
                  <a:latin typeface="Arial"/>
                  <a:cs typeface="Arial"/>
                </a:endParaRPr>
              </a:p>
            </p:txBody>
          </p:sp>
        </p:grpSp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70466" y="1325010"/>
              <a:ext cx="753685" cy="753685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96909" y="3223934"/>
              <a:ext cx="395997" cy="395997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637718" y="4776906"/>
              <a:ext cx="755999" cy="755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94404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16933" y="203606"/>
            <a:ext cx="9144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000" dirty="0" smtClean="0">
                <a:solidFill>
                  <a:srgbClr val="FFFF00"/>
                </a:solidFill>
                <a:latin typeface="Arial"/>
                <a:cs typeface="Arial"/>
              </a:rPr>
              <a:t>ART Eligibility Criteria (84 countries)</a:t>
            </a:r>
            <a:endParaRPr lang="en-US" sz="40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75501" y="6247430"/>
            <a:ext cx="8505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84 low- and middle-income countries (91% global HIV burden) – 30 (58% burden) recommend treat all</a:t>
            </a:r>
          </a:p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Last updated: June, 2017</a:t>
            </a:r>
            <a:endParaRPr lang="en-US" sz="14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0" y="972673"/>
            <a:ext cx="9144000" cy="5213958"/>
            <a:chOff x="0" y="867311"/>
            <a:chExt cx="9144000" cy="5333942"/>
          </a:xfrm>
        </p:grpSpPr>
        <p:sp>
          <p:nvSpPr>
            <p:cNvPr id="6" name="Rectangle 5"/>
            <p:cNvSpPr/>
            <p:nvPr/>
          </p:nvSpPr>
          <p:spPr>
            <a:xfrm>
              <a:off x="0" y="867311"/>
              <a:ext cx="9144000" cy="53339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157163" y="4809564"/>
              <a:ext cx="376237" cy="255588"/>
            </a:xfrm>
            <a:prstGeom prst="rect">
              <a:avLst/>
            </a:prstGeom>
            <a:solidFill>
              <a:srgbClr val="C050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/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157163" y="5493764"/>
              <a:ext cx="376237" cy="255587"/>
            </a:xfrm>
            <a:prstGeom prst="rect">
              <a:avLst/>
            </a:prstGeom>
            <a:solidFill>
              <a:srgbClr val="24367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/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157163" y="5150877"/>
              <a:ext cx="376237" cy="255587"/>
            </a:xfrm>
            <a:prstGeom prst="rect">
              <a:avLst/>
            </a:prstGeom>
            <a:solidFill>
              <a:srgbClr val="9BBB5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400"/>
            </a:p>
          </p:txBody>
        </p:sp>
        <p:sp>
          <p:nvSpPr>
            <p:cNvPr id="10" name="TextBox 30"/>
            <p:cNvSpPr txBox="1">
              <a:spLocks noChangeArrowheads="1"/>
            </p:cNvSpPr>
            <p:nvPr/>
          </p:nvSpPr>
          <p:spPr bwMode="auto">
            <a:xfrm>
              <a:off x="533080" y="4808209"/>
              <a:ext cx="1598244" cy="307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r>
                <a:rPr lang="en-US" sz="1400"/>
                <a:t>&lt;350</a:t>
              </a:r>
            </a:p>
          </p:txBody>
        </p:sp>
        <p:sp>
          <p:nvSpPr>
            <p:cNvPr id="11" name="TextBox 31"/>
            <p:cNvSpPr txBox="1">
              <a:spLocks noChangeArrowheads="1"/>
            </p:cNvSpPr>
            <p:nvPr/>
          </p:nvSpPr>
          <p:spPr bwMode="auto">
            <a:xfrm>
              <a:off x="553397" y="5146784"/>
              <a:ext cx="1598244" cy="307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r>
                <a:rPr lang="en-US" sz="1400"/>
                <a:t>&lt;500</a:t>
              </a:r>
            </a:p>
          </p:txBody>
        </p:sp>
        <p:sp>
          <p:nvSpPr>
            <p:cNvPr id="12" name="TextBox 33"/>
            <p:cNvSpPr txBox="1">
              <a:spLocks noChangeArrowheads="1"/>
            </p:cNvSpPr>
            <p:nvPr/>
          </p:nvSpPr>
          <p:spPr bwMode="auto">
            <a:xfrm>
              <a:off x="543239" y="5409054"/>
              <a:ext cx="1533401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r>
                <a:rPr lang="en-US" sz="1400" dirty="0"/>
                <a:t>Irrespective of CD4 count</a:t>
              </a: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157163" y="5902766"/>
              <a:ext cx="376237" cy="231775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4" name="TextBox 202"/>
            <p:cNvSpPr txBox="1">
              <a:spLocks noChangeArrowheads="1"/>
            </p:cNvSpPr>
            <p:nvPr/>
          </p:nvSpPr>
          <p:spPr bwMode="auto">
            <a:xfrm>
              <a:off x="506869" y="5853260"/>
              <a:ext cx="3965308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r>
                <a:rPr lang="en-US" sz="1400" dirty="0" smtClean="0"/>
                <a:t>Guidelines not included in analysis</a:t>
              </a:r>
              <a:endParaRPr lang="en-US" sz="1400" dirty="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160527" y="1002019"/>
              <a:ext cx="8888413" cy="4861977"/>
              <a:chOff x="141287" y="1341437"/>
              <a:chExt cx="8888413" cy="4387851"/>
            </a:xfrm>
          </p:grpSpPr>
          <p:sp>
            <p:nvSpPr>
              <p:cNvPr id="16" name="Freeform 6"/>
              <p:cNvSpPr>
                <a:spLocks/>
              </p:cNvSpPr>
              <p:nvPr/>
            </p:nvSpPr>
            <p:spPr bwMode="auto">
              <a:xfrm>
                <a:off x="5853112" y="2641600"/>
                <a:ext cx="374650" cy="300038"/>
              </a:xfrm>
              <a:custGeom>
                <a:avLst/>
                <a:gdLst>
                  <a:gd name="T0" fmla="*/ 23 w 236"/>
                  <a:gd name="T1" fmla="*/ 66 h 189"/>
                  <a:gd name="T2" fmla="*/ 37 w 236"/>
                  <a:gd name="T3" fmla="*/ 54 h 189"/>
                  <a:gd name="T4" fmla="*/ 58 w 236"/>
                  <a:gd name="T5" fmla="*/ 45 h 189"/>
                  <a:gd name="T6" fmla="*/ 71 w 236"/>
                  <a:gd name="T7" fmla="*/ 24 h 189"/>
                  <a:gd name="T8" fmla="*/ 82 w 236"/>
                  <a:gd name="T9" fmla="*/ 22 h 189"/>
                  <a:gd name="T10" fmla="*/ 97 w 236"/>
                  <a:gd name="T11" fmla="*/ 23 h 189"/>
                  <a:gd name="T12" fmla="*/ 116 w 236"/>
                  <a:gd name="T13" fmla="*/ 30 h 189"/>
                  <a:gd name="T14" fmla="*/ 134 w 236"/>
                  <a:gd name="T15" fmla="*/ 27 h 189"/>
                  <a:gd name="T16" fmla="*/ 147 w 236"/>
                  <a:gd name="T17" fmla="*/ 18 h 189"/>
                  <a:gd name="T18" fmla="*/ 149 w 236"/>
                  <a:gd name="T19" fmla="*/ 7 h 189"/>
                  <a:gd name="T20" fmla="*/ 165 w 236"/>
                  <a:gd name="T21" fmla="*/ 4 h 189"/>
                  <a:gd name="T22" fmla="*/ 170 w 236"/>
                  <a:gd name="T23" fmla="*/ 12 h 189"/>
                  <a:gd name="T24" fmla="*/ 182 w 236"/>
                  <a:gd name="T25" fmla="*/ 36 h 189"/>
                  <a:gd name="T26" fmla="*/ 193 w 236"/>
                  <a:gd name="T27" fmla="*/ 29 h 189"/>
                  <a:gd name="T28" fmla="*/ 214 w 236"/>
                  <a:gd name="T29" fmla="*/ 22 h 189"/>
                  <a:gd name="T30" fmla="*/ 236 w 236"/>
                  <a:gd name="T31" fmla="*/ 28 h 189"/>
                  <a:gd name="T32" fmla="*/ 219 w 236"/>
                  <a:gd name="T33" fmla="*/ 34 h 189"/>
                  <a:gd name="T34" fmla="*/ 183 w 236"/>
                  <a:gd name="T35" fmla="*/ 40 h 189"/>
                  <a:gd name="T36" fmla="*/ 181 w 236"/>
                  <a:gd name="T37" fmla="*/ 58 h 189"/>
                  <a:gd name="T38" fmla="*/ 179 w 236"/>
                  <a:gd name="T39" fmla="*/ 77 h 189"/>
                  <a:gd name="T40" fmla="*/ 178 w 236"/>
                  <a:gd name="T41" fmla="*/ 93 h 189"/>
                  <a:gd name="T42" fmla="*/ 172 w 236"/>
                  <a:gd name="T43" fmla="*/ 106 h 189"/>
                  <a:gd name="T44" fmla="*/ 157 w 236"/>
                  <a:gd name="T45" fmla="*/ 123 h 189"/>
                  <a:gd name="T46" fmla="*/ 155 w 236"/>
                  <a:gd name="T47" fmla="*/ 142 h 189"/>
                  <a:gd name="T48" fmla="*/ 135 w 236"/>
                  <a:gd name="T49" fmla="*/ 142 h 189"/>
                  <a:gd name="T50" fmla="*/ 121 w 236"/>
                  <a:gd name="T51" fmla="*/ 148 h 189"/>
                  <a:gd name="T52" fmla="*/ 116 w 236"/>
                  <a:gd name="T53" fmla="*/ 178 h 189"/>
                  <a:gd name="T54" fmla="*/ 82 w 236"/>
                  <a:gd name="T55" fmla="*/ 184 h 189"/>
                  <a:gd name="T56" fmla="*/ 68 w 236"/>
                  <a:gd name="T57" fmla="*/ 186 h 189"/>
                  <a:gd name="T58" fmla="*/ 20 w 236"/>
                  <a:gd name="T59" fmla="*/ 179 h 189"/>
                  <a:gd name="T60" fmla="*/ 29 w 236"/>
                  <a:gd name="T61" fmla="*/ 147 h 189"/>
                  <a:gd name="T62" fmla="*/ 11 w 236"/>
                  <a:gd name="T63" fmla="*/ 130 h 189"/>
                  <a:gd name="T64" fmla="*/ 8 w 236"/>
                  <a:gd name="T65" fmla="*/ 102 h 189"/>
                  <a:gd name="T66" fmla="*/ 2 w 236"/>
                  <a:gd name="T67" fmla="*/ 84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6" h="189">
                    <a:moveTo>
                      <a:pt x="4" y="58"/>
                    </a:moveTo>
                    <a:lnTo>
                      <a:pt x="23" y="66"/>
                    </a:lnTo>
                    <a:lnTo>
                      <a:pt x="35" y="63"/>
                    </a:lnTo>
                    <a:lnTo>
                      <a:pt x="37" y="54"/>
                    </a:lnTo>
                    <a:lnTo>
                      <a:pt x="50" y="51"/>
                    </a:lnTo>
                    <a:lnTo>
                      <a:pt x="58" y="45"/>
                    </a:lnTo>
                    <a:lnTo>
                      <a:pt x="58" y="28"/>
                    </a:lnTo>
                    <a:lnTo>
                      <a:pt x="71" y="24"/>
                    </a:lnTo>
                    <a:lnTo>
                      <a:pt x="72" y="17"/>
                    </a:lnTo>
                    <a:lnTo>
                      <a:pt x="82" y="22"/>
                    </a:lnTo>
                    <a:lnTo>
                      <a:pt x="87" y="23"/>
                    </a:lnTo>
                    <a:lnTo>
                      <a:pt x="97" y="23"/>
                    </a:lnTo>
                    <a:lnTo>
                      <a:pt x="110" y="27"/>
                    </a:lnTo>
                    <a:lnTo>
                      <a:pt x="116" y="30"/>
                    </a:lnTo>
                    <a:lnTo>
                      <a:pt x="127" y="23"/>
                    </a:lnTo>
                    <a:lnTo>
                      <a:pt x="134" y="27"/>
                    </a:lnTo>
                    <a:lnTo>
                      <a:pt x="137" y="18"/>
                    </a:lnTo>
                    <a:lnTo>
                      <a:pt x="147" y="18"/>
                    </a:lnTo>
                    <a:lnTo>
                      <a:pt x="149" y="15"/>
                    </a:lnTo>
                    <a:lnTo>
                      <a:pt x="149" y="7"/>
                    </a:lnTo>
                    <a:lnTo>
                      <a:pt x="154" y="0"/>
                    </a:lnTo>
                    <a:lnTo>
                      <a:pt x="165" y="4"/>
                    </a:lnTo>
                    <a:lnTo>
                      <a:pt x="165" y="11"/>
                    </a:lnTo>
                    <a:lnTo>
                      <a:pt x="170" y="12"/>
                    </a:lnTo>
                    <a:lnTo>
                      <a:pt x="173" y="29"/>
                    </a:lnTo>
                    <a:lnTo>
                      <a:pt x="182" y="36"/>
                    </a:lnTo>
                    <a:lnTo>
                      <a:pt x="186" y="31"/>
                    </a:lnTo>
                    <a:lnTo>
                      <a:pt x="193" y="29"/>
                    </a:lnTo>
                    <a:lnTo>
                      <a:pt x="202" y="20"/>
                    </a:lnTo>
                    <a:lnTo>
                      <a:pt x="214" y="22"/>
                    </a:lnTo>
                    <a:lnTo>
                      <a:pt x="232" y="22"/>
                    </a:lnTo>
                    <a:lnTo>
                      <a:pt x="236" y="28"/>
                    </a:lnTo>
                    <a:lnTo>
                      <a:pt x="227" y="30"/>
                    </a:lnTo>
                    <a:lnTo>
                      <a:pt x="219" y="34"/>
                    </a:lnTo>
                    <a:lnTo>
                      <a:pt x="200" y="36"/>
                    </a:lnTo>
                    <a:lnTo>
                      <a:pt x="183" y="40"/>
                    </a:lnTo>
                    <a:lnTo>
                      <a:pt x="175" y="50"/>
                    </a:lnTo>
                    <a:lnTo>
                      <a:pt x="181" y="58"/>
                    </a:lnTo>
                    <a:lnTo>
                      <a:pt x="185" y="69"/>
                    </a:lnTo>
                    <a:lnTo>
                      <a:pt x="179" y="77"/>
                    </a:lnTo>
                    <a:lnTo>
                      <a:pt x="182" y="85"/>
                    </a:lnTo>
                    <a:lnTo>
                      <a:pt x="178" y="93"/>
                    </a:lnTo>
                    <a:lnTo>
                      <a:pt x="162" y="92"/>
                    </a:lnTo>
                    <a:lnTo>
                      <a:pt x="172" y="106"/>
                    </a:lnTo>
                    <a:lnTo>
                      <a:pt x="162" y="111"/>
                    </a:lnTo>
                    <a:lnTo>
                      <a:pt x="157" y="123"/>
                    </a:lnTo>
                    <a:lnTo>
                      <a:pt x="160" y="136"/>
                    </a:lnTo>
                    <a:lnTo>
                      <a:pt x="155" y="142"/>
                    </a:lnTo>
                    <a:lnTo>
                      <a:pt x="148" y="140"/>
                    </a:lnTo>
                    <a:lnTo>
                      <a:pt x="135" y="142"/>
                    </a:lnTo>
                    <a:lnTo>
                      <a:pt x="134" y="148"/>
                    </a:lnTo>
                    <a:lnTo>
                      <a:pt x="121" y="148"/>
                    </a:lnTo>
                    <a:lnTo>
                      <a:pt x="113" y="160"/>
                    </a:lnTo>
                    <a:lnTo>
                      <a:pt x="116" y="178"/>
                    </a:lnTo>
                    <a:lnTo>
                      <a:pt x="95" y="186"/>
                    </a:lnTo>
                    <a:lnTo>
                      <a:pt x="82" y="184"/>
                    </a:lnTo>
                    <a:lnTo>
                      <a:pt x="79" y="189"/>
                    </a:lnTo>
                    <a:lnTo>
                      <a:pt x="68" y="186"/>
                    </a:lnTo>
                    <a:lnTo>
                      <a:pt x="51" y="189"/>
                    </a:lnTo>
                    <a:lnTo>
                      <a:pt x="20" y="179"/>
                    </a:lnTo>
                    <a:lnTo>
                      <a:pt x="33" y="160"/>
                    </a:lnTo>
                    <a:lnTo>
                      <a:pt x="29" y="147"/>
                    </a:lnTo>
                    <a:lnTo>
                      <a:pt x="15" y="143"/>
                    </a:lnTo>
                    <a:lnTo>
                      <a:pt x="11" y="130"/>
                    </a:lnTo>
                    <a:lnTo>
                      <a:pt x="3" y="113"/>
                    </a:lnTo>
                    <a:lnTo>
                      <a:pt x="8" y="102"/>
                    </a:lnTo>
                    <a:lnTo>
                      <a:pt x="0" y="99"/>
                    </a:lnTo>
                    <a:lnTo>
                      <a:pt x="2" y="84"/>
                    </a:lnTo>
                    <a:lnTo>
                      <a:pt x="4" y="58"/>
                    </a:lnTo>
                    <a:close/>
                  </a:path>
                </a:pathLst>
              </a:custGeom>
              <a:solidFill>
                <a:schemeClr val="accent2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" name="Freeform 7"/>
              <p:cNvSpPr>
                <a:spLocks/>
              </p:cNvSpPr>
              <p:nvPr/>
            </p:nvSpPr>
            <p:spPr bwMode="auto">
              <a:xfrm>
                <a:off x="4518025" y="4102100"/>
                <a:ext cx="361950" cy="398463"/>
              </a:xfrm>
              <a:custGeom>
                <a:avLst/>
                <a:gdLst>
                  <a:gd name="T0" fmla="*/ 92 w 228"/>
                  <a:gd name="T1" fmla="*/ 16 h 251"/>
                  <a:gd name="T2" fmla="*/ 102 w 228"/>
                  <a:gd name="T3" fmla="*/ 35 h 251"/>
                  <a:gd name="T4" fmla="*/ 121 w 228"/>
                  <a:gd name="T5" fmla="*/ 44 h 251"/>
                  <a:gd name="T6" fmla="*/ 137 w 228"/>
                  <a:gd name="T7" fmla="*/ 44 h 251"/>
                  <a:gd name="T8" fmla="*/ 144 w 228"/>
                  <a:gd name="T9" fmla="*/ 27 h 251"/>
                  <a:gd name="T10" fmla="*/ 157 w 228"/>
                  <a:gd name="T11" fmla="*/ 23 h 251"/>
                  <a:gd name="T12" fmla="*/ 165 w 228"/>
                  <a:gd name="T13" fmla="*/ 30 h 251"/>
                  <a:gd name="T14" fmla="*/ 187 w 228"/>
                  <a:gd name="T15" fmla="*/ 43 h 251"/>
                  <a:gd name="T16" fmla="*/ 188 w 228"/>
                  <a:gd name="T17" fmla="*/ 63 h 251"/>
                  <a:gd name="T18" fmla="*/ 195 w 228"/>
                  <a:gd name="T19" fmla="*/ 84 h 251"/>
                  <a:gd name="T20" fmla="*/ 198 w 228"/>
                  <a:gd name="T21" fmla="*/ 107 h 251"/>
                  <a:gd name="T22" fmla="*/ 217 w 228"/>
                  <a:gd name="T23" fmla="*/ 104 h 251"/>
                  <a:gd name="T24" fmla="*/ 227 w 228"/>
                  <a:gd name="T25" fmla="*/ 112 h 251"/>
                  <a:gd name="T26" fmla="*/ 228 w 228"/>
                  <a:gd name="T27" fmla="*/ 132 h 251"/>
                  <a:gd name="T28" fmla="*/ 227 w 228"/>
                  <a:gd name="T29" fmla="*/ 147 h 251"/>
                  <a:gd name="T30" fmla="*/ 186 w 228"/>
                  <a:gd name="T31" fmla="*/ 213 h 251"/>
                  <a:gd name="T32" fmla="*/ 209 w 228"/>
                  <a:gd name="T33" fmla="*/ 243 h 251"/>
                  <a:gd name="T34" fmla="*/ 132 w 228"/>
                  <a:gd name="T35" fmla="*/ 248 h 251"/>
                  <a:gd name="T36" fmla="*/ 46 w 228"/>
                  <a:gd name="T37" fmla="*/ 239 h 251"/>
                  <a:gd name="T38" fmla="*/ 33 w 228"/>
                  <a:gd name="T39" fmla="*/ 231 h 251"/>
                  <a:gd name="T40" fmla="*/ 10 w 228"/>
                  <a:gd name="T41" fmla="*/ 234 h 251"/>
                  <a:gd name="T42" fmla="*/ 0 w 228"/>
                  <a:gd name="T43" fmla="*/ 225 h 251"/>
                  <a:gd name="T44" fmla="*/ 9 w 228"/>
                  <a:gd name="T45" fmla="*/ 188 h 251"/>
                  <a:gd name="T46" fmla="*/ 16 w 228"/>
                  <a:gd name="T47" fmla="*/ 160 h 251"/>
                  <a:gd name="T48" fmla="*/ 31 w 228"/>
                  <a:gd name="T49" fmla="*/ 138 h 251"/>
                  <a:gd name="T50" fmla="*/ 39 w 228"/>
                  <a:gd name="T51" fmla="*/ 113 h 251"/>
                  <a:gd name="T52" fmla="*/ 33 w 228"/>
                  <a:gd name="T53" fmla="*/ 94 h 251"/>
                  <a:gd name="T54" fmla="*/ 24 w 228"/>
                  <a:gd name="T55" fmla="*/ 69 h 251"/>
                  <a:gd name="T56" fmla="*/ 31 w 228"/>
                  <a:gd name="T57" fmla="*/ 56 h 251"/>
                  <a:gd name="T58" fmla="*/ 22 w 228"/>
                  <a:gd name="T59" fmla="*/ 22 h 251"/>
                  <a:gd name="T60" fmla="*/ 14 w 228"/>
                  <a:gd name="T61" fmla="*/ 5 h 251"/>
                  <a:gd name="T62" fmla="*/ 27 w 228"/>
                  <a:gd name="T63" fmla="*/ 3 h 251"/>
                  <a:gd name="T64" fmla="*/ 88 w 228"/>
                  <a:gd name="T65" fmla="*/ 1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28" h="251">
                    <a:moveTo>
                      <a:pt x="88" y="1"/>
                    </a:moveTo>
                    <a:lnTo>
                      <a:pt x="92" y="16"/>
                    </a:lnTo>
                    <a:lnTo>
                      <a:pt x="97" y="29"/>
                    </a:lnTo>
                    <a:lnTo>
                      <a:pt x="102" y="35"/>
                    </a:lnTo>
                    <a:lnTo>
                      <a:pt x="109" y="46"/>
                    </a:lnTo>
                    <a:lnTo>
                      <a:pt x="121" y="44"/>
                    </a:lnTo>
                    <a:lnTo>
                      <a:pt x="127" y="42"/>
                    </a:lnTo>
                    <a:lnTo>
                      <a:pt x="137" y="44"/>
                    </a:lnTo>
                    <a:lnTo>
                      <a:pt x="140" y="39"/>
                    </a:lnTo>
                    <a:lnTo>
                      <a:pt x="144" y="27"/>
                    </a:lnTo>
                    <a:lnTo>
                      <a:pt x="156" y="26"/>
                    </a:lnTo>
                    <a:lnTo>
                      <a:pt x="157" y="23"/>
                    </a:lnTo>
                    <a:lnTo>
                      <a:pt x="166" y="22"/>
                    </a:lnTo>
                    <a:lnTo>
                      <a:pt x="165" y="30"/>
                    </a:lnTo>
                    <a:lnTo>
                      <a:pt x="187" y="30"/>
                    </a:lnTo>
                    <a:lnTo>
                      <a:pt x="187" y="43"/>
                    </a:lnTo>
                    <a:lnTo>
                      <a:pt x="190" y="51"/>
                    </a:lnTo>
                    <a:lnTo>
                      <a:pt x="188" y="63"/>
                    </a:lnTo>
                    <a:lnTo>
                      <a:pt x="189" y="76"/>
                    </a:lnTo>
                    <a:lnTo>
                      <a:pt x="195" y="84"/>
                    </a:lnTo>
                    <a:lnTo>
                      <a:pt x="193" y="109"/>
                    </a:lnTo>
                    <a:lnTo>
                      <a:pt x="198" y="107"/>
                    </a:lnTo>
                    <a:lnTo>
                      <a:pt x="206" y="107"/>
                    </a:lnTo>
                    <a:lnTo>
                      <a:pt x="217" y="104"/>
                    </a:lnTo>
                    <a:lnTo>
                      <a:pt x="226" y="105"/>
                    </a:lnTo>
                    <a:lnTo>
                      <a:pt x="227" y="112"/>
                    </a:lnTo>
                    <a:lnTo>
                      <a:pt x="225" y="122"/>
                    </a:lnTo>
                    <a:lnTo>
                      <a:pt x="228" y="132"/>
                    </a:lnTo>
                    <a:lnTo>
                      <a:pt x="225" y="140"/>
                    </a:lnTo>
                    <a:lnTo>
                      <a:pt x="227" y="147"/>
                    </a:lnTo>
                    <a:lnTo>
                      <a:pt x="188" y="146"/>
                    </a:lnTo>
                    <a:lnTo>
                      <a:pt x="186" y="213"/>
                    </a:lnTo>
                    <a:lnTo>
                      <a:pt x="198" y="230"/>
                    </a:lnTo>
                    <a:lnTo>
                      <a:pt x="209" y="243"/>
                    </a:lnTo>
                    <a:lnTo>
                      <a:pt x="176" y="251"/>
                    </a:lnTo>
                    <a:lnTo>
                      <a:pt x="132" y="248"/>
                    </a:lnTo>
                    <a:lnTo>
                      <a:pt x="120" y="238"/>
                    </a:lnTo>
                    <a:lnTo>
                      <a:pt x="46" y="239"/>
                    </a:lnTo>
                    <a:lnTo>
                      <a:pt x="43" y="240"/>
                    </a:lnTo>
                    <a:lnTo>
                      <a:pt x="33" y="231"/>
                    </a:lnTo>
                    <a:lnTo>
                      <a:pt x="21" y="230"/>
                    </a:lnTo>
                    <a:lnTo>
                      <a:pt x="10" y="234"/>
                    </a:lnTo>
                    <a:lnTo>
                      <a:pt x="1" y="238"/>
                    </a:lnTo>
                    <a:lnTo>
                      <a:pt x="0" y="225"/>
                    </a:lnTo>
                    <a:lnTo>
                      <a:pt x="2" y="206"/>
                    </a:lnTo>
                    <a:lnTo>
                      <a:pt x="9" y="188"/>
                    </a:lnTo>
                    <a:lnTo>
                      <a:pt x="10" y="179"/>
                    </a:lnTo>
                    <a:lnTo>
                      <a:pt x="16" y="160"/>
                    </a:lnTo>
                    <a:lnTo>
                      <a:pt x="21" y="151"/>
                    </a:lnTo>
                    <a:lnTo>
                      <a:pt x="31" y="138"/>
                    </a:lnTo>
                    <a:lnTo>
                      <a:pt x="37" y="129"/>
                    </a:lnTo>
                    <a:lnTo>
                      <a:pt x="39" y="113"/>
                    </a:lnTo>
                    <a:lnTo>
                      <a:pt x="39" y="101"/>
                    </a:lnTo>
                    <a:lnTo>
                      <a:pt x="33" y="94"/>
                    </a:lnTo>
                    <a:lnTo>
                      <a:pt x="29" y="81"/>
                    </a:lnTo>
                    <a:lnTo>
                      <a:pt x="24" y="69"/>
                    </a:lnTo>
                    <a:lnTo>
                      <a:pt x="25" y="64"/>
                    </a:lnTo>
                    <a:lnTo>
                      <a:pt x="31" y="56"/>
                    </a:lnTo>
                    <a:lnTo>
                      <a:pt x="25" y="36"/>
                    </a:lnTo>
                    <a:lnTo>
                      <a:pt x="22" y="22"/>
                    </a:lnTo>
                    <a:lnTo>
                      <a:pt x="13" y="9"/>
                    </a:lnTo>
                    <a:lnTo>
                      <a:pt x="14" y="5"/>
                    </a:lnTo>
                    <a:lnTo>
                      <a:pt x="22" y="2"/>
                    </a:lnTo>
                    <a:lnTo>
                      <a:pt x="27" y="3"/>
                    </a:lnTo>
                    <a:lnTo>
                      <a:pt x="34" y="0"/>
                    </a:lnTo>
                    <a:lnTo>
                      <a:pt x="88" y="1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" name="Freeform 8"/>
              <p:cNvSpPr>
                <a:spLocks/>
              </p:cNvSpPr>
              <p:nvPr/>
            </p:nvSpPr>
            <p:spPr bwMode="auto">
              <a:xfrm>
                <a:off x="4529137" y="4056063"/>
                <a:ext cx="31750" cy="44450"/>
              </a:xfrm>
              <a:custGeom>
                <a:avLst/>
                <a:gdLst>
                  <a:gd name="T0" fmla="*/ 10 w 20"/>
                  <a:gd name="T1" fmla="*/ 26 h 28"/>
                  <a:gd name="T2" fmla="*/ 5 w 20"/>
                  <a:gd name="T3" fmla="*/ 28 h 28"/>
                  <a:gd name="T4" fmla="*/ 0 w 20"/>
                  <a:gd name="T5" fmla="*/ 12 h 28"/>
                  <a:gd name="T6" fmla="*/ 7 w 20"/>
                  <a:gd name="T7" fmla="*/ 3 h 28"/>
                  <a:gd name="T8" fmla="*/ 13 w 20"/>
                  <a:gd name="T9" fmla="*/ 0 h 28"/>
                  <a:gd name="T10" fmla="*/ 20 w 20"/>
                  <a:gd name="T11" fmla="*/ 7 h 28"/>
                  <a:gd name="T12" fmla="*/ 13 w 20"/>
                  <a:gd name="T13" fmla="*/ 11 h 28"/>
                  <a:gd name="T14" fmla="*/ 10 w 20"/>
                  <a:gd name="T15" fmla="*/ 16 h 28"/>
                  <a:gd name="T16" fmla="*/ 10 w 20"/>
                  <a:gd name="T17" fmla="*/ 2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28">
                    <a:moveTo>
                      <a:pt x="10" y="26"/>
                    </a:moveTo>
                    <a:lnTo>
                      <a:pt x="5" y="28"/>
                    </a:lnTo>
                    <a:lnTo>
                      <a:pt x="0" y="12"/>
                    </a:lnTo>
                    <a:lnTo>
                      <a:pt x="7" y="3"/>
                    </a:lnTo>
                    <a:lnTo>
                      <a:pt x="13" y="0"/>
                    </a:lnTo>
                    <a:lnTo>
                      <a:pt x="20" y="7"/>
                    </a:lnTo>
                    <a:lnTo>
                      <a:pt x="13" y="11"/>
                    </a:lnTo>
                    <a:lnTo>
                      <a:pt x="10" y="16"/>
                    </a:lnTo>
                    <a:lnTo>
                      <a:pt x="10" y="2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" name="Freeform 9"/>
              <p:cNvSpPr>
                <a:spLocks/>
              </p:cNvSpPr>
              <p:nvPr/>
            </p:nvSpPr>
            <p:spPr bwMode="auto">
              <a:xfrm>
                <a:off x="4695825" y="2503487"/>
                <a:ext cx="49213" cy="100013"/>
              </a:xfrm>
              <a:custGeom>
                <a:avLst/>
                <a:gdLst>
                  <a:gd name="T0" fmla="*/ 22 w 31"/>
                  <a:gd name="T1" fmla="*/ 17 h 63"/>
                  <a:gd name="T2" fmla="*/ 20 w 31"/>
                  <a:gd name="T3" fmla="*/ 24 h 63"/>
                  <a:gd name="T4" fmla="*/ 23 w 31"/>
                  <a:gd name="T5" fmla="*/ 33 h 63"/>
                  <a:gd name="T6" fmla="*/ 31 w 31"/>
                  <a:gd name="T7" fmla="*/ 38 h 63"/>
                  <a:gd name="T8" fmla="*/ 31 w 31"/>
                  <a:gd name="T9" fmla="*/ 44 h 63"/>
                  <a:gd name="T10" fmla="*/ 25 w 31"/>
                  <a:gd name="T11" fmla="*/ 46 h 63"/>
                  <a:gd name="T12" fmla="*/ 25 w 31"/>
                  <a:gd name="T13" fmla="*/ 53 h 63"/>
                  <a:gd name="T14" fmla="*/ 18 w 31"/>
                  <a:gd name="T15" fmla="*/ 63 h 63"/>
                  <a:gd name="T16" fmla="*/ 15 w 31"/>
                  <a:gd name="T17" fmla="*/ 62 h 63"/>
                  <a:gd name="T18" fmla="*/ 14 w 31"/>
                  <a:gd name="T19" fmla="*/ 57 h 63"/>
                  <a:gd name="T20" fmla="*/ 4 w 31"/>
                  <a:gd name="T21" fmla="*/ 50 h 63"/>
                  <a:gd name="T22" fmla="*/ 2 w 31"/>
                  <a:gd name="T23" fmla="*/ 40 h 63"/>
                  <a:gd name="T24" fmla="*/ 3 w 31"/>
                  <a:gd name="T25" fmla="*/ 26 h 63"/>
                  <a:gd name="T26" fmla="*/ 4 w 31"/>
                  <a:gd name="T27" fmla="*/ 20 h 63"/>
                  <a:gd name="T28" fmla="*/ 1 w 31"/>
                  <a:gd name="T29" fmla="*/ 17 h 63"/>
                  <a:gd name="T30" fmla="*/ 0 w 31"/>
                  <a:gd name="T31" fmla="*/ 10 h 63"/>
                  <a:gd name="T32" fmla="*/ 6 w 31"/>
                  <a:gd name="T33" fmla="*/ 0 h 63"/>
                  <a:gd name="T34" fmla="*/ 7 w 31"/>
                  <a:gd name="T35" fmla="*/ 4 h 63"/>
                  <a:gd name="T36" fmla="*/ 12 w 31"/>
                  <a:gd name="T37" fmla="*/ 2 h 63"/>
                  <a:gd name="T38" fmla="*/ 16 w 31"/>
                  <a:gd name="T39" fmla="*/ 8 h 63"/>
                  <a:gd name="T40" fmla="*/ 20 w 31"/>
                  <a:gd name="T41" fmla="*/ 10 h 63"/>
                  <a:gd name="T42" fmla="*/ 22 w 31"/>
                  <a:gd name="T43" fmla="*/ 1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1" h="63">
                    <a:moveTo>
                      <a:pt x="22" y="17"/>
                    </a:moveTo>
                    <a:lnTo>
                      <a:pt x="20" y="24"/>
                    </a:lnTo>
                    <a:lnTo>
                      <a:pt x="23" y="33"/>
                    </a:lnTo>
                    <a:lnTo>
                      <a:pt x="31" y="38"/>
                    </a:lnTo>
                    <a:lnTo>
                      <a:pt x="31" y="44"/>
                    </a:lnTo>
                    <a:lnTo>
                      <a:pt x="25" y="46"/>
                    </a:lnTo>
                    <a:lnTo>
                      <a:pt x="25" y="53"/>
                    </a:lnTo>
                    <a:lnTo>
                      <a:pt x="18" y="63"/>
                    </a:lnTo>
                    <a:lnTo>
                      <a:pt x="15" y="62"/>
                    </a:lnTo>
                    <a:lnTo>
                      <a:pt x="14" y="57"/>
                    </a:lnTo>
                    <a:lnTo>
                      <a:pt x="4" y="50"/>
                    </a:lnTo>
                    <a:lnTo>
                      <a:pt x="2" y="40"/>
                    </a:lnTo>
                    <a:lnTo>
                      <a:pt x="3" y="26"/>
                    </a:lnTo>
                    <a:lnTo>
                      <a:pt x="4" y="20"/>
                    </a:lnTo>
                    <a:lnTo>
                      <a:pt x="1" y="17"/>
                    </a:lnTo>
                    <a:lnTo>
                      <a:pt x="0" y="10"/>
                    </a:lnTo>
                    <a:lnTo>
                      <a:pt x="6" y="0"/>
                    </a:lnTo>
                    <a:lnTo>
                      <a:pt x="7" y="4"/>
                    </a:lnTo>
                    <a:lnTo>
                      <a:pt x="12" y="2"/>
                    </a:lnTo>
                    <a:lnTo>
                      <a:pt x="16" y="8"/>
                    </a:lnTo>
                    <a:lnTo>
                      <a:pt x="20" y="10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" name="Freeform 10"/>
              <p:cNvSpPr>
                <a:spLocks/>
              </p:cNvSpPr>
              <p:nvPr/>
            </p:nvSpPr>
            <p:spPr bwMode="auto">
              <a:xfrm>
                <a:off x="5646737" y="3049587"/>
                <a:ext cx="134938" cy="117475"/>
              </a:xfrm>
              <a:custGeom>
                <a:avLst/>
                <a:gdLst>
                  <a:gd name="T0" fmla="*/ 0 w 85"/>
                  <a:gd name="T1" fmla="*/ 38 h 74"/>
                  <a:gd name="T2" fmla="*/ 3 w 85"/>
                  <a:gd name="T3" fmla="*/ 37 h 74"/>
                  <a:gd name="T4" fmla="*/ 4 w 85"/>
                  <a:gd name="T5" fmla="*/ 42 h 74"/>
                  <a:gd name="T6" fmla="*/ 18 w 85"/>
                  <a:gd name="T7" fmla="*/ 39 h 74"/>
                  <a:gd name="T8" fmla="*/ 33 w 85"/>
                  <a:gd name="T9" fmla="*/ 40 h 74"/>
                  <a:gd name="T10" fmla="*/ 44 w 85"/>
                  <a:gd name="T11" fmla="*/ 40 h 74"/>
                  <a:gd name="T12" fmla="*/ 54 w 85"/>
                  <a:gd name="T13" fmla="*/ 26 h 74"/>
                  <a:gd name="T14" fmla="*/ 66 w 85"/>
                  <a:gd name="T15" fmla="*/ 13 h 74"/>
                  <a:gd name="T16" fmla="*/ 76 w 85"/>
                  <a:gd name="T17" fmla="*/ 0 h 74"/>
                  <a:gd name="T18" fmla="*/ 80 w 85"/>
                  <a:gd name="T19" fmla="*/ 7 h 74"/>
                  <a:gd name="T20" fmla="*/ 85 w 85"/>
                  <a:gd name="T21" fmla="*/ 24 h 74"/>
                  <a:gd name="T22" fmla="*/ 75 w 85"/>
                  <a:gd name="T23" fmla="*/ 24 h 74"/>
                  <a:gd name="T24" fmla="*/ 76 w 85"/>
                  <a:gd name="T25" fmla="*/ 37 h 74"/>
                  <a:gd name="T26" fmla="*/ 79 w 85"/>
                  <a:gd name="T27" fmla="*/ 40 h 74"/>
                  <a:gd name="T28" fmla="*/ 72 w 85"/>
                  <a:gd name="T29" fmla="*/ 44 h 74"/>
                  <a:gd name="T30" fmla="*/ 72 w 85"/>
                  <a:gd name="T31" fmla="*/ 53 h 74"/>
                  <a:gd name="T32" fmla="*/ 68 w 85"/>
                  <a:gd name="T33" fmla="*/ 61 h 74"/>
                  <a:gd name="T34" fmla="*/ 69 w 85"/>
                  <a:gd name="T35" fmla="*/ 70 h 74"/>
                  <a:gd name="T36" fmla="*/ 65 w 85"/>
                  <a:gd name="T37" fmla="*/ 74 h 74"/>
                  <a:gd name="T38" fmla="*/ 10 w 85"/>
                  <a:gd name="T39" fmla="*/ 64 h 74"/>
                  <a:gd name="T40" fmla="*/ 1 w 85"/>
                  <a:gd name="T41" fmla="*/ 43 h 74"/>
                  <a:gd name="T42" fmla="*/ 0 w 85"/>
                  <a:gd name="T43" fmla="*/ 3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5" h="74">
                    <a:moveTo>
                      <a:pt x="0" y="38"/>
                    </a:moveTo>
                    <a:lnTo>
                      <a:pt x="3" y="37"/>
                    </a:lnTo>
                    <a:lnTo>
                      <a:pt x="4" y="42"/>
                    </a:lnTo>
                    <a:lnTo>
                      <a:pt x="18" y="39"/>
                    </a:lnTo>
                    <a:lnTo>
                      <a:pt x="33" y="40"/>
                    </a:lnTo>
                    <a:lnTo>
                      <a:pt x="44" y="40"/>
                    </a:lnTo>
                    <a:lnTo>
                      <a:pt x="54" y="26"/>
                    </a:lnTo>
                    <a:lnTo>
                      <a:pt x="66" y="13"/>
                    </a:lnTo>
                    <a:lnTo>
                      <a:pt x="76" y="0"/>
                    </a:lnTo>
                    <a:lnTo>
                      <a:pt x="80" y="7"/>
                    </a:lnTo>
                    <a:lnTo>
                      <a:pt x="85" y="24"/>
                    </a:lnTo>
                    <a:lnTo>
                      <a:pt x="75" y="24"/>
                    </a:lnTo>
                    <a:lnTo>
                      <a:pt x="76" y="37"/>
                    </a:lnTo>
                    <a:lnTo>
                      <a:pt x="79" y="40"/>
                    </a:lnTo>
                    <a:lnTo>
                      <a:pt x="72" y="44"/>
                    </a:lnTo>
                    <a:lnTo>
                      <a:pt x="72" y="53"/>
                    </a:lnTo>
                    <a:lnTo>
                      <a:pt x="68" y="61"/>
                    </a:lnTo>
                    <a:lnTo>
                      <a:pt x="69" y="70"/>
                    </a:lnTo>
                    <a:lnTo>
                      <a:pt x="65" y="74"/>
                    </a:lnTo>
                    <a:lnTo>
                      <a:pt x="10" y="64"/>
                    </a:lnTo>
                    <a:lnTo>
                      <a:pt x="1" y="43"/>
                    </a:lnTo>
                    <a:lnTo>
                      <a:pt x="0" y="38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" name="Freeform 11"/>
              <p:cNvSpPr>
                <a:spLocks noEditPoints="1"/>
              </p:cNvSpPr>
              <p:nvPr/>
            </p:nvSpPr>
            <p:spPr bwMode="auto">
              <a:xfrm>
                <a:off x="2219325" y="4629150"/>
                <a:ext cx="449263" cy="1089025"/>
              </a:xfrm>
              <a:custGeom>
                <a:avLst/>
                <a:gdLst>
                  <a:gd name="T0" fmla="*/ 331 w 1160"/>
                  <a:gd name="T1" fmla="*/ 82 h 2811"/>
                  <a:gd name="T2" fmla="*/ 436 w 1160"/>
                  <a:gd name="T3" fmla="*/ 17 h 2811"/>
                  <a:gd name="T4" fmla="*/ 602 w 1160"/>
                  <a:gd name="T5" fmla="*/ 174 h 2811"/>
                  <a:gd name="T6" fmla="*/ 761 w 1160"/>
                  <a:gd name="T7" fmla="*/ 250 h 2811"/>
                  <a:gd name="T8" fmla="*/ 855 w 1160"/>
                  <a:gd name="T9" fmla="*/ 321 h 2811"/>
                  <a:gd name="T10" fmla="*/ 877 w 1160"/>
                  <a:gd name="T11" fmla="*/ 473 h 2811"/>
                  <a:gd name="T12" fmla="*/ 1016 w 1160"/>
                  <a:gd name="T13" fmla="*/ 472 h 2811"/>
                  <a:gd name="T14" fmla="*/ 1076 w 1160"/>
                  <a:gd name="T15" fmla="*/ 332 h 2811"/>
                  <a:gd name="T16" fmla="*/ 1153 w 1160"/>
                  <a:gd name="T17" fmla="*/ 365 h 2811"/>
                  <a:gd name="T18" fmla="*/ 1105 w 1160"/>
                  <a:gd name="T19" fmla="*/ 480 h 2811"/>
                  <a:gd name="T20" fmla="*/ 990 w 1160"/>
                  <a:gd name="T21" fmla="*/ 597 h 2811"/>
                  <a:gd name="T22" fmla="*/ 904 w 1160"/>
                  <a:gd name="T23" fmla="*/ 781 h 2811"/>
                  <a:gd name="T24" fmla="*/ 914 w 1160"/>
                  <a:gd name="T25" fmla="*/ 953 h 2811"/>
                  <a:gd name="T26" fmla="*/ 907 w 1160"/>
                  <a:gd name="T27" fmla="*/ 1027 h 2811"/>
                  <a:gd name="T28" fmla="*/ 1014 w 1160"/>
                  <a:gd name="T29" fmla="*/ 1144 h 2811"/>
                  <a:gd name="T30" fmla="*/ 1067 w 1160"/>
                  <a:gd name="T31" fmla="*/ 1239 h 2811"/>
                  <a:gd name="T32" fmla="*/ 1027 w 1160"/>
                  <a:gd name="T33" fmla="*/ 1389 h 2811"/>
                  <a:gd name="T34" fmla="*/ 797 w 1160"/>
                  <a:gd name="T35" fmla="*/ 1452 h 2811"/>
                  <a:gd name="T36" fmla="*/ 745 w 1160"/>
                  <a:gd name="T37" fmla="*/ 1494 h 2811"/>
                  <a:gd name="T38" fmla="*/ 770 w 1160"/>
                  <a:gd name="T39" fmla="*/ 1600 h 2811"/>
                  <a:gd name="T40" fmla="*/ 668 w 1160"/>
                  <a:gd name="T41" fmla="*/ 1641 h 2811"/>
                  <a:gd name="T42" fmla="*/ 573 w 1160"/>
                  <a:gd name="T43" fmla="*/ 1632 h 2811"/>
                  <a:gd name="T44" fmla="*/ 659 w 1160"/>
                  <a:gd name="T45" fmla="*/ 1741 h 2811"/>
                  <a:gd name="T46" fmla="*/ 722 w 1160"/>
                  <a:gd name="T47" fmla="*/ 1759 h 2811"/>
                  <a:gd name="T48" fmla="*/ 626 w 1160"/>
                  <a:gd name="T49" fmla="*/ 1837 h 2811"/>
                  <a:gd name="T50" fmla="*/ 639 w 1160"/>
                  <a:gd name="T51" fmla="*/ 1966 h 2811"/>
                  <a:gd name="T52" fmla="*/ 536 w 1160"/>
                  <a:gd name="T53" fmla="*/ 2010 h 2811"/>
                  <a:gd name="T54" fmla="*/ 623 w 1160"/>
                  <a:gd name="T55" fmla="*/ 2134 h 2811"/>
                  <a:gd name="T56" fmla="*/ 695 w 1160"/>
                  <a:gd name="T57" fmla="*/ 2225 h 2811"/>
                  <a:gd name="T58" fmla="*/ 626 w 1160"/>
                  <a:gd name="T59" fmla="*/ 2369 h 2811"/>
                  <a:gd name="T60" fmla="*/ 567 w 1160"/>
                  <a:gd name="T61" fmla="*/ 2441 h 2811"/>
                  <a:gd name="T62" fmla="*/ 683 w 1160"/>
                  <a:gd name="T63" fmla="*/ 2574 h 2811"/>
                  <a:gd name="T64" fmla="*/ 590 w 1160"/>
                  <a:gd name="T65" fmla="*/ 2557 h 2811"/>
                  <a:gd name="T66" fmla="*/ 383 w 1160"/>
                  <a:gd name="T67" fmla="*/ 2498 h 2811"/>
                  <a:gd name="T68" fmla="*/ 317 w 1160"/>
                  <a:gd name="T69" fmla="*/ 2442 h 2811"/>
                  <a:gd name="T70" fmla="*/ 241 w 1160"/>
                  <a:gd name="T71" fmla="*/ 2324 h 2811"/>
                  <a:gd name="T72" fmla="*/ 278 w 1160"/>
                  <a:gd name="T73" fmla="*/ 2234 h 2811"/>
                  <a:gd name="T74" fmla="*/ 264 w 1160"/>
                  <a:gd name="T75" fmla="*/ 2121 h 2811"/>
                  <a:gd name="T76" fmla="*/ 226 w 1160"/>
                  <a:gd name="T77" fmla="*/ 1961 h 2811"/>
                  <a:gd name="T78" fmla="*/ 232 w 1160"/>
                  <a:gd name="T79" fmla="*/ 1914 h 2811"/>
                  <a:gd name="T80" fmla="*/ 206 w 1160"/>
                  <a:gd name="T81" fmla="*/ 1862 h 2811"/>
                  <a:gd name="T82" fmla="*/ 119 w 1160"/>
                  <a:gd name="T83" fmla="*/ 1733 h 2811"/>
                  <a:gd name="T84" fmla="*/ 99 w 1160"/>
                  <a:gd name="T85" fmla="*/ 1613 h 2811"/>
                  <a:gd name="T86" fmla="*/ 88 w 1160"/>
                  <a:gd name="T87" fmla="*/ 1451 h 2811"/>
                  <a:gd name="T88" fmla="*/ 78 w 1160"/>
                  <a:gd name="T89" fmla="*/ 1338 h 2811"/>
                  <a:gd name="T90" fmla="*/ 98 w 1160"/>
                  <a:gd name="T91" fmla="*/ 1204 h 2811"/>
                  <a:gd name="T92" fmla="*/ 102 w 1160"/>
                  <a:gd name="T93" fmla="*/ 1051 h 2811"/>
                  <a:gd name="T94" fmla="*/ 63 w 1160"/>
                  <a:gd name="T95" fmla="*/ 957 h 2811"/>
                  <a:gd name="T96" fmla="*/ 27 w 1160"/>
                  <a:gd name="T97" fmla="*/ 723 h 2811"/>
                  <a:gd name="T98" fmla="*/ 17 w 1160"/>
                  <a:gd name="T99" fmla="*/ 564 h 2811"/>
                  <a:gd name="T100" fmla="*/ 94 w 1160"/>
                  <a:gd name="T101" fmla="*/ 431 h 2811"/>
                  <a:gd name="T102" fmla="*/ 77 w 1160"/>
                  <a:gd name="T103" fmla="*/ 370 h 2811"/>
                  <a:gd name="T104" fmla="*/ 128 w 1160"/>
                  <a:gd name="T105" fmla="*/ 186 h 2811"/>
                  <a:gd name="T106" fmla="*/ 130 w 1160"/>
                  <a:gd name="T107" fmla="*/ 77 h 2811"/>
                  <a:gd name="T108" fmla="*/ 281 w 1160"/>
                  <a:gd name="T109" fmla="*/ 20 h 2811"/>
                  <a:gd name="T110" fmla="*/ 889 w 1160"/>
                  <a:gd name="T111" fmla="*/ 2811 h 2811"/>
                  <a:gd name="T112" fmla="*/ 806 w 1160"/>
                  <a:gd name="T113" fmla="*/ 2780 h 2811"/>
                  <a:gd name="T114" fmla="*/ 662 w 1160"/>
                  <a:gd name="T115" fmla="*/ 2598 h 2811"/>
                  <a:gd name="T116" fmla="*/ 759 w 1160"/>
                  <a:gd name="T117" fmla="*/ 2697 h 2811"/>
                  <a:gd name="T118" fmla="*/ 959 w 1160"/>
                  <a:gd name="T119" fmla="*/ 2766 h 2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60" h="2811">
                    <a:moveTo>
                      <a:pt x="281" y="20"/>
                    </a:moveTo>
                    <a:lnTo>
                      <a:pt x="331" y="82"/>
                    </a:lnTo>
                    <a:lnTo>
                      <a:pt x="352" y="13"/>
                    </a:lnTo>
                    <a:lnTo>
                      <a:pt x="436" y="17"/>
                    </a:lnTo>
                    <a:lnTo>
                      <a:pt x="450" y="35"/>
                    </a:lnTo>
                    <a:lnTo>
                      <a:pt x="602" y="174"/>
                    </a:lnTo>
                    <a:lnTo>
                      <a:pt x="663" y="187"/>
                    </a:lnTo>
                    <a:lnTo>
                      <a:pt x="761" y="250"/>
                    </a:lnTo>
                    <a:lnTo>
                      <a:pt x="840" y="283"/>
                    </a:lnTo>
                    <a:lnTo>
                      <a:pt x="855" y="321"/>
                    </a:lnTo>
                    <a:lnTo>
                      <a:pt x="801" y="450"/>
                    </a:lnTo>
                    <a:lnTo>
                      <a:pt x="877" y="473"/>
                    </a:lnTo>
                    <a:lnTo>
                      <a:pt x="960" y="486"/>
                    </a:lnTo>
                    <a:lnTo>
                      <a:pt x="1016" y="472"/>
                    </a:lnTo>
                    <a:lnTo>
                      <a:pt x="1074" y="407"/>
                    </a:lnTo>
                    <a:lnTo>
                      <a:pt x="1076" y="332"/>
                    </a:lnTo>
                    <a:lnTo>
                      <a:pt x="1111" y="316"/>
                    </a:lnTo>
                    <a:lnTo>
                      <a:pt x="1153" y="365"/>
                    </a:lnTo>
                    <a:lnTo>
                      <a:pt x="1160" y="433"/>
                    </a:lnTo>
                    <a:lnTo>
                      <a:pt x="1105" y="480"/>
                    </a:lnTo>
                    <a:lnTo>
                      <a:pt x="1060" y="514"/>
                    </a:lnTo>
                    <a:lnTo>
                      <a:pt x="990" y="597"/>
                    </a:lnTo>
                    <a:lnTo>
                      <a:pt x="911" y="713"/>
                    </a:lnTo>
                    <a:lnTo>
                      <a:pt x="904" y="781"/>
                    </a:lnTo>
                    <a:lnTo>
                      <a:pt x="899" y="868"/>
                    </a:lnTo>
                    <a:lnTo>
                      <a:pt x="914" y="953"/>
                    </a:lnTo>
                    <a:lnTo>
                      <a:pt x="902" y="972"/>
                    </a:lnTo>
                    <a:lnTo>
                      <a:pt x="907" y="1027"/>
                    </a:lnTo>
                    <a:lnTo>
                      <a:pt x="910" y="1071"/>
                    </a:lnTo>
                    <a:lnTo>
                      <a:pt x="1014" y="1144"/>
                    </a:lnTo>
                    <a:lnTo>
                      <a:pt x="1015" y="1202"/>
                    </a:lnTo>
                    <a:lnTo>
                      <a:pt x="1067" y="1239"/>
                    </a:lnTo>
                    <a:lnTo>
                      <a:pt x="1071" y="1280"/>
                    </a:lnTo>
                    <a:lnTo>
                      <a:pt x="1027" y="1389"/>
                    </a:lnTo>
                    <a:lnTo>
                      <a:pt x="933" y="1434"/>
                    </a:lnTo>
                    <a:lnTo>
                      <a:pt x="797" y="1452"/>
                    </a:lnTo>
                    <a:lnTo>
                      <a:pt x="719" y="1443"/>
                    </a:lnTo>
                    <a:lnTo>
                      <a:pt x="745" y="1494"/>
                    </a:lnTo>
                    <a:lnTo>
                      <a:pt x="747" y="1557"/>
                    </a:lnTo>
                    <a:lnTo>
                      <a:pt x="770" y="1600"/>
                    </a:lnTo>
                    <a:lnTo>
                      <a:pt x="736" y="1629"/>
                    </a:lnTo>
                    <a:lnTo>
                      <a:pt x="668" y="1641"/>
                    </a:lnTo>
                    <a:lnTo>
                      <a:pt x="594" y="1610"/>
                    </a:lnTo>
                    <a:lnTo>
                      <a:pt x="573" y="1632"/>
                    </a:lnTo>
                    <a:lnTo>
                      <a:pt x="606" y="1716"/>
                    </a:lnTo>
                    <a:lnTo>
                      <a:pt x="659" y="1741"/>
                    </a:lnTo>
                    <a:lnTo>
                      <a:pt x="689" y="1715"/>
                    </a:lnTo>
                    <a:lnTo>
                      <a:pt x="722" y="1759"/>
                    </a:lnTo>
                    <a:lnTo>
                      <a:pt x="666" y="1785"/>
                    </a:lnTo>
                    <a:lnTo>
                      <a:pt x="626" y="1837"/>
                    </a:lnTo>
                    <a:lnTo>
                      <a:pt x="641" y="1922"/>
                    </a:lnTo>
                    <a:lnTo>
                      <a:pt x="639" y="1966"/>
                    </a:lnTo>
                    <a:lnTo>
                      <a:pt x="575" y="1967"/>
                    </a:lnTo>
                    <a:lnTo>
                      <a:pt x="536" y="2010"/>
                    </a:lnTo>
                    <a:lnTo>
                      <a:pt x="537" y="2072"/>
                    </a:lnTo>
                    <a:lnTo>
                      <a:pt x="623" y="2134"/>
                    </a:lnTo>
                    <a:lnTo>
                      <a:pt x="693" y="2150"/>
                    </a:lnTo>
                    <a:lnTo>
                      <a:pt x="695" y="2225"/>
                    </a:lnTo>
                    <a:lnTo>
                      <a:pt x="633" y="2272"/>
                    </a:lnTo>
                    <a:lnTo>
                      <a:pt x="626" y="2369"/>
                    </a:lnTo>
                    <a:lnTo>
                      <a:pt x="578" y="2402"/>
                    </a:lnTo>
                    <a:lnTo>
                      <a:pt x="567" y="2441"/>
                    </a:lnTo>
                    <a:lnTo>
                      <a:pt x="621" y="2527"/>
                    </a:lnTo>
                    <a:lnTo>
                      <a:pt x="683" y="2574"/>
                    </a:lnTo>
                    <a:lnTo>
                      <a:pt x="654" y="2570"/>
                    </a:lnTo>
                    <a:lnTo>
                      <a:pt x="590" y="2557"/>
                    </a:lnTo>
                    <a:lnTo>
                      <a:pt x="429" y="2546"/>
                    </a:lnTo>
                    <a:lnTo>
                      <a:pt x="383" y="2498"/>
                    </a:lnTo>
                    <a:lnTo>
                      <a:pt x="359" y="2436"/>
                    </a:lnTo>
                    <a:lnTo>
                      <a:pt x="317" y="2442"/>
                    </a:lnTo>
                    <a:lnTo>
                      <a:pt x="282" y="2412"/>
                    </a:lnTo>
                    <a:lnTo>
                      <a:pt x="241" y="2324"/>
                    </a:lnTo>
                    <a:lnTo>
                      <a:pt x="277" y="2287"/>
                    </a:lnTo>
                    <a:lnTo>
                      <a:pt x="278" y="2234"/>
                    </a:lnTo>
                    <a:lnTo>
                      <a:pt x="255" y="2192"/>
                    </a:lnTo>
                    <a:lnTo>
                      <a:pt x="264" y="2121"/>
                    </a:lnTo>
                    <a:lnTo>
                      <a:pt x="250" y="2010"/>
                    </a:lnTo>
                    <a:lnTo>
                      <a:pt x="226" y="1961"/>
                    </a:lnTo>
                    <a:lnTo>
                      <a:pt x="250" y="1945"/>
                    </a:lnTo>
                    <a:lnTo>
                      <a:pt x="232" y="1914"/>
                    </a:lnTo>
                    <a:lnTo>
                      <a:pt x="195" y="1897"/>
                    </a:lnTo>
                    <a:lnTo>
                      <a:pt x="206" y="1862"/>
                    </a:lnTo>
                    <a:lnTo>
                      <a:pt x="165" y="1830"/>
                    </a:lnTo>
                    <a:lnTo>
                      <a:pt x="119" y="1733"/>
                    </a:lnTo>
                    <a:lnTo>
                      <a:pt x="141" y="1716"/>
                    </a:lnTo>
                    <a:lnTo>
                      <a:pt x="99" y="1613"/>
                    </a:lnTo>
                    <a:lnTo>
                      <a:pt x="90" y="1526"/>
                    </a:lnTo>
                    <a:lnTo>
                      <a:pt x="88" y="1451"/>
                    </a:lnTo>
                    <a:lnTo>
                      <a:pt x="121" y="1420"/>
                    </a:lnTo>
                    <a:lnTo>
                      <a:pt x="78" y="1338"/>
                    </a:lnTo>
                    <a:lnTo>
                      <a:pt x="58" y="1260"/>
                    </a:lnTo>
                    <a:lnTo>
                      <a:pt x="98" y="1204"/>
                    </a:lnTo>
                    <a:lnTo>
                      <a:pt x="80" y="1134"/>
                    </a:lnTo>
                    <a:lnTo>
                      <a:pt x="102" y="1051"/>
                    </a:lnTo>
                    <a:lnTo>
                      <a:pt x="85" y="973"/>
                    </a:lnTo>
                    <a:lnTo>
                      <a:pt x="63" y="957"/>
                    </a:lnTo>
                    <a:lnTo>
                      <a:pt x="0" y="811"/>
                    </a:lnTo>
                    <a:lnTo>
                      <a:pt x="27" y="723"/>
                    </a:lnTo>
                    <a:lnTo>
                      <a:pt x="5" y="641"/>
                    </a:lnTo>
                    <a:lnTo>
                      <a:pt x="17" y="564"/>
                    </a:lnTo>
                    <a:lnTo>
                      <a:pt x="51" y="484"/>
                    </a:lnTo>
                    <a:lnTo>
                      <a:pt x="94" y="431"/>
                    </a:lnTo>
                    <a:lnTo>
                      <a:pt x="67" y="397"/>
                    </a:lnTo>
                    <a:lnTo>
                      <a:pt x="77" y="370"/>
                    </a:lnTo>
                    <a:lnTo>
                      <a:pt x="54" y="228"/>
                    </a:lnTo>
                    <a:lnTo>
                      <a:pt x="128" y="186"/>
                    </a:lnTo>
                    <a:lnTo>
                      <a:pt x="142" y="98"/>
                    </a:lnTo>
                    <a:lnTo>
                      <a:pt x="130" y="77"/>
                    </a:lnTo>
                    <a:lnTo>
                      <a:pt x="182" y="0"/>
                    </a:lnTo>
                    <a:lnTo>
                      <a:pt x="281" y="20"/>
                    </a:lnTo>
                    <a:moveTo>
                      <a:pt x="947" y="2807"/>
                    </a:moveTo>
                    <a:lnTo>
                      <a:pt x="889" y="2811"/>
                    </a:lnTo>
                    <a:lnTo>
                      <a:pt x="845" y="2782"/>
                    </a:lnTo>
                    <a:lnTo>
                      <a:pt x="806" y="2780"/>
                    </a:lnTo>
                    <a:lnTo>
                      <a:pt x="739" y="2780"/>
                    </a:lnTo>
                    <a:lnTo>
                      <a:pt x="662" y="2598"/>
                    </a:lnTo>
                    <a:lnTo>
                      <a:pt x="702" y="2636"/>
                    </a:lnTo>
                    <a:lnTo>
                      <a:pt x="759" y="2697"/>
                    </a:lnTo>
                    <a:lnTo>
                      <a:pt x="862" y="2746"/>
                    </a:lnTo>
                    <a:lnTo>
                      <a:pt x="959" y="2766"/>
                    </a:lnTo>
                    <a:lnTo>
                      <a:pt x="947" y="2807"/>
                    </a:lnTo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" name="Freeform 12"/>
              <p:cNvSpPr>
                <a:spLocks/>
              </p:cNvSpPr>
              <p:nvPr/>
            </p:nvSpPr>
            <p:spPr bwMode="auto">
              <a:xfrm>
                <a:off x="5346700" y="2551112"/>
                <a:ext cx="92075" cy="80963"/>
              </a:xfrm>
              <a:custGeom>
                <a:avLst/>
                <a:gdLst>
                  <a:gd name="T0" fmla="*/ 0 w 58"/>
                  <a:gd name="T1" fmla="*/ 3 h 51"/>
                  <a:gd name="T2" fmla="*/ 23 w 58"/>
                  <a:gd name="T3" fmla="*/ 0 h 51"/>
                  <a:gd name="T4" fmla="*/ 27 w 58"/>
                  <a:gd name="T5" fmla="*/ 5 h 51"/>
                  <a:gd name="T6" fmla="*/ 34 w 58"/>
                  <a:gd name="T7" fmla="*/ 9 h 51"/>
                  <a:gd name="T8" fmla="*/ 32 w 58"/>
                  <a:gd name="T9" fmla="*/ 14 h 51"/>
                  <a:gd name="T10" fmla="*/ 42 w 58"/>
                  <a:gd name="T11" fmla="*/ 21 h 51"/>
                  <a:gd name="T12" fmla="*/ 39 w 58"/>
                  <a:gd name="T13" fmla="*/ 27 h 51"/>
                  <a:gd name="T14" fmla="*/ 47 w 58"/>
                  <a:gd name="T15" fmla="*/ 33 h 51"/>
                  <a:gd name="T16" fmla="*/ 55 w 58"/>
                  <a:gd name="T17" fmla="*/ 36 h 51"/>
                  <a:gd name="T18" fmla="*/ 58 w 58"/>
                  <a:gd name="T19" fmla="*/ 51 h 51"/>
                  <a:gd name="T20" fmla="*/ 52 w 58"/>
                  <a:gd name="T21" fmla="*/ 51 h 51"/>
                  <a:gd name="T22" fmla="*/ 43 w 58"/>
                  <a:gd name="T23" fmla="*/ 39 h 51"/>
                  <a:gd name="T24" fmla="*/ 42 w 58"/>
                  <a:gd name="T25" fmla="*/ 36 h 51"/>
                  <a:gd name="T26" fmla="*/ 35 w 58"/>
                  <a:gd name="T27" fmla="*/ 36 h 51"/>
                  <a:gd name="T28" fmla="*/ 29 w 58"/>
                  <a:gd name="T29" fmla="*/ 31 h 51"/>
                  <a:gd name="T30" fmla="*/ 26 w 58"/>
                  <a:gd name="T31" fmla="*/ 31 h 51"/>
                  <a:gd name="T32" fmla="*/ 18 w 58"/>
                  <a:gd name="T33" fmla="*/ 25 h 51"/>
                  <a:gd name="T34" fmla="*/ 4 w 58"/>
                  <a:gd name="T35" fmla="*/ 20 h 51"/>
                  <a:gd name="T36" fmla="*/ 4 w 58"/>
                  <a:gd name="T37" fmla="*/ 10 h 51"/>
                  <a:gd name="T38" fmla="*/ 0 w 58"/>
                  <a:gd name="T39" fmla="*/ 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8" h="51">
                    <a:moveTo>
                      <a:pt x="0" y="3"/>
                    </a:moveTo>
                    <a:lnTo>
                      <a:pt x="23" y="0"/>
                    </a:lnTo>
                    <a:lnTo>
                      <a:pt x="27" y="5"/>
                    </a:lnTo>
                    <a:lnTo>
                      <a:pt x="34" y="9"/>
                    </a:lnTo>
                    <a:lnTo>
                      <a:pt x="32" y="14"/>
                    </a:lnTo>
                    <a:lnTo>
                      <a:pt x="42" y="21"/>
                    </a:lnTo>
                    <a:lnTo>
                      <a:pt x="39" y="27"/>
                    </a:lnTo>
                    <a:lnTo>
                      <a:pt x="47" y="33"/>
                    </a:lnTo>
                    <a:lnTo>
                      <a:pt x="55" y="36"/>
                    </a:lnTo>
                    <a:lnTo>
                      <a:pt x="58" y="51"/>
                    </a:lnTo>
                    <a:lnTo>
                      <a:pt x="52" y="51"/>
                    </a:lnTo>
                    <a:lnTo>
                      <a:pt x="43" y="39"/>
                    </a:lnTo>
                    <a:lnTo>
                      <a:pt x="42" y="36"/>
                    </a:lnTo>
                    <a:lnTo>
                      <a:pt x="35" y="36"/>
                    </a:lnTo>
                    <a:lnTo>
                      <a:pt x="29" y="31"/>
                    </a:lnTo>
                    <a:lnTo>
                      <a:pt x="26" y="31"/>
                    </a:lnTo>
                    <a:lnTo>
                      <a:pt x="18" y="25"/>
                    </a:lnTo>
                    <a:lnTo>
                      <a:pt x="4" y="20"/>
                    </a:lnTo>
                    <a:lnTo>
                      <a:pt x="4" y="1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3" name="Freeform 13"/>
              <p:cNvSpPr>
                <a:spLocks noEditPoints="1"/>
              </p:cNvSpPr>
              <p:nvPr/>
            </p:nvSpPr>
            <p:spPr bwMode="auto">
              <a:xfrm>
                <a:off x="7351712" y="4260850"/>
                <a:ext cx="1160463" cy="1084263"/>
              </a:xfrm>
              <a:custGeom>
                <a:avLst/>
                <a:gdLst>
                  <a:gd name="T0" fmla="*/ 2629 w 2996"/>
                  <a:gd name="T1" fmla="*/ 334 h 2800"/>
                  <a:gd name="T2" fmla="*/ 2651 w 2996"/>
                  <a:gd name="T3" fmla="*/ 521 h 2800"/>
                  <a:gd name="T4" fmla="*/ 2668 w 2996"/>
                  <a:gd name="T5" fmla="*/ 706 h 2800"/>
                  <a:gd name="T6" fmla="*/ 2806 w 2996"/>
                  <a:gd name="T7" fmla="*/ 849 h 2800"/>
                  <a:gd name="T8" fmla="*/ 2893 w 2996"/>
                  <a:gd name="T9" fmla="*/ 1012 h 2800"/>
                  <a:gd name="T10" fmla="*/ 2961 w 2996"/>
                  <a:gd name="T11" fmla="*/ 1174 h 2800"/>
                  <a:gd name="T12" fmla="*/ 2955 w 2996"/>
                  <a:gd name="T13" fmla="*/ 1413 h 2800"/>
                  <a:gd name="T14" fmla="*/ 2851 w 2996"/>
                  <a:gd name="T15" fmla="*/ 1675 h 2800"/>
                  <a:gd name="T16" fmla="*/ 2654 w 2996"/>
                  <a:gd name="T17" fmla="*/ 1904 h 2800"/>
                  <a:gd name="T18" fmla="*/ 2448 w 2996"/>
                  <a:gd name="T19" fmla="*/ 2127 h 2800"/>
                  <a:gd name="T20" fmla="*/ 2290 w 2996"/>
                  <a:gd name="T21" fmla="*/ 2305 h 2800"/>
                  <a:gd name="T22" fmla="*/ 2014 w 2996"/>
                  <a:gd name="T23" fmla="*/ 2412 h 2800"/>
                  <a:gd name="T24" fmla="*/ 1930 w 2996"/>
                  <a:gd name="T25" fmla="*/ 2332 h 2800"/>
                  <a:gd name="T26" fmla="*/ 1719 w 2996"/>
                  <a:gd name="T27" fmla="*/ 2350 h 2800"/>
                  <a:gd name="T28" fmla="*/ 1669 w 2996"/>
                  <a:gd name="T29" fmla="*/ 2167 h 2800"/>
                  <a:gd name="T30" fmla="*/ 1641 w 2996"/>
                  <a:gd name="T31" fmla="*/ 2018 h 2800"/>
                  <a:gd name="T32" fmla="*/ 1600 w 2996"/>
                  <a:gd name="T33" fmla="*/ 1996 h 2800"/>
                  <a:gd name="T34" fmla="*/ 1521 w 2996"/>
                  <a:gd name="T35" fmla="*/ 1993 h 2800"/>
                  <a:gd name="T36" fmla="*/ 1427 w 2996"/>
                  <a:gd name="T37" fmla="*/ 1919 h 2800"/>
                  <a:gd name="T38" fmla="*/ 1303 w 2996"/>
                  <a:gd name="T39" fmla="*/ 1814 h 2800"/>
                  <a:gd name="T40" fmla="*/ 922 w 2996"/>
                  <a:gd name="T41" fmla="*/ 1840 h 2800"/>
                  <a:gd name="T42" fmla="*/ 664 w 2996"/>
                  <a:gd name="T43" fmla="*/ 1942 h 2800"/>
                  <a:gd name="T44" fmla="*/ 458 w 2996"/>
                  <a:gd name="T45" fmla="*/ 1970 h 2800"/>
                  <a:gd name="T46" fmla="*/ 274 w 2996"/>
                  <a:gd name="T47" fmla="*/ 2025 h 2800"/>
                  <a:gd name="T48" fmla="*/ 87 w 2996"/>
                  <a:gd name="T49" fmla="*/ 2072 h 2800"/>
                  <a:gd name="T50" fmla="*/ 59 w 2996"/>
                  <a:gd name="T51" fmla="*/ 1942 h 2800"/>
                  <a:gd name="T52" fmla="*/ 124 w 2996"/>
                  <a:gd name="T53" fmla="*/ 1783 h 2800"/>
                  <a:gd name="T54" fmla="*/ 123 w 2996"/>
                  <a:gd name="T55" fmla="*/ 1544 h 2800"/>
                  <a:gd name="T56" fmla="*/ 91 w 2996"/>
                  <a:gd name="T57" fmla="*/ 1352 h 2800"/>
                  <a:gd name="T58" fmla="*/ 138 w 2996"/>
                  <a:gd name="T59" fmla="*/ 1298 h 2800"/>
                  <a:gd name="T60" fmla="*/ 141 w 2996"/>
                  <a:gd name="T61" fmla="*/ 1193 h 2800"/>
                  <a:gd name="T62" fmla="*/ 189 w 2996"/>
                  <a:gd name="T63" fmla="*/ 1055 h 2800"/>
                  <a:gd name="T64" fmla="*/ 270 w 2996"/>
                  <a:gd name="T65" fmla="*/ 950 h 2800"/>
                  <a:gd name="T66" fmla="*/ 476 w 2996"/>
                  <a:gd name="T67" fmla="*/ 848 h 2800"/>
                  <a:gd name="T68" fmla="*/ 621 w 2996"/>
                  <a:gd name="T69" fmla="*/ 798 h 2800"/>
                  <a:gd name="T70" fmla="*/ 812 w 2996"/>
                  <a:gd name="T71" fmla="*/ 730 h 2800"/>
                  <a:gd name="T72" fmla="*/ 910 w 2996"/>
                  <a:gd name="T73" fmla="*/ 561 h 2800"/>
                  <a:gd name="T74" fmla="*/ 1008 w 2996"/>
                  <a:gd name="T75" fmla="*/ 505 h 2800"/>
                  <a:gd name="T76" fmla="*/ 1134 w 2996"/>
                  <a:gd name="T77" fmla="*/ 375 h 2800"/>
                  <a:gd name="T78" fmla="*/ 1232 w 2996"/>
                  <a:gd name="T79" fmla="*/ 313 h 2800"/>
                  <a:gd name="T80" fmla="*/ 1358 w 2996"/>
                  <a:gd name="T81" fmla="*/ 307 h 2800"/>
                  <a:gd name="T82" fmla="*/ 1476 w 2996"/>
                  <a:gd name="T83" fmla="*/ 320 h 2800"/>
                  <a:gd name="T84" fmla="*/ 1588 w 2996"/>
                  <a:gd name="T85" fmla="*/ 159 h 2800"/>
                  <a:gd name="T86" fmla="*/ 1743 w 2996"/>
                  <a:gd name="T87" fmla="*/ 80 h 2800"/>
                  <a:gd name="T88" fmla="*/ 1815 w 2996"/>
                  <a:gd name="T89" fmla="*/ 95 h 2800"/>
                  <a:gd name="T90" fmla="*/ 1988 w 2996"/>
                  <a:gd name="T91" fmla="*/ 110 h 2800"/>
                  <a:gd name="T92" fmla="*/ 2038 w 2996"/>
                  <a:gd name="T93" fmla="*/ 189 h 2800"/>
                  <a:gd name="T94" fmla="*/ 1954 w 2996"/>
                  <a:gd name="T95" fmla="*/ 303 h 2800"/>
                  <a:gd name="T96" fmla="*/ 2027 w 2996"/>
                  <a:gd name="T97" fmla="*/ 443 h 2800"/>
                  <a:gd name="T98" fmla="*/ 2161 w 2996"/>
                  <a:gd name="T99" fmla="*/ 545 h 2800"/>
                  <a:gd name="T100" fmla="*/ 2310 w 2996"/>
                  <a:gd name="T101" fmla="*/ 525 h 2800"/>
                  <a:gd name="T102" fmla="*/ 2381 w 2996"/>
                  <a:gd name="T103" fmla="*/ 332 h 2800"/>
                  <a:gd name="T104" fmla="*/ 2425 w 2996"/>
                  <a:gd name="T105" fmla="*/ 177 h 2800"/>
                  <a:gd name="T106" fmla="*/ 2466 w 2996"/>
                  <a:gd name="T107" fmla="*/ 32 h 2800"/>
                  <a:gd name="T108" fmla="*/ 2530 w 2996"/>
                  <a:gd name="T109" fmla="*/ 105 h 2800"/>
                  <a:gd name="T110" fmla="*/ 2540 w 2996"/>
                  <a:gd name="T111" fmla="*/ 264 h 2800"/>
                  <a:gd name="T112" fmla="*/ 2023 w 2996"/>
                  <a:gd name="T113" fmla="*/ 2562 h 2800"/>
                  <a:gd name="T114" fmla="*/ 1911 w 2996"/>
                  <a:gd name="T115" fmla="*/ 2764 h 2800"/>
                  <a:gd name="T116" fmla="*/ 1765 w 2996"/>
                  <a:gd name="T117" fmla="*/ 2793 h 2800"/>
                  <a:gd name="T118" fmla="*/ 1824 w 2996"/>
                  <a:gd name="T119" fmla="*/ 2553 h 28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96" h="2800">
                    <a:moveTo>
                      <a:pt x="2540" y="264"/>
                    </a:moveTo>
                    <a:lnTo>
                      <a:pt x="2557" y="330"/>
                    </a:lnTo>
                    <a:lnTo>
                      <a:pt x="2610" y="298"/>
                    </a:lnTo>
                    <a:lnTo>
                      <a:pt x="2629" y="334"/>
                    </a:lnTo>
                    <a:lnTo>
                      <a:pt x="2659" y="368"/>
                    </a:lnTo>
                    <a:lnTo>
                      <a:pt x="2645" y="405"/>
                    </a:lnTo>
                    <a:lnTo>
                      <a:pt x="2647" y="478"/>
                    </a:lnTo>
                    <a:lnTo>
                      <a:pt x="2651" y="521"/>
                    </a:lnTo>
                    <a:lnTo>
                      <a:pt x="2667" y="531"/>
                    </a:lnTo>
                    <a:lnTo>
                      <a:pt x="2673" y="604"/>
                    </a:lnTo>
                    <a:lnTo>
                      <a:pt x="2656" y="648"/>
                    </a:lnTo>
                    <a:lnTo>
                      <a:pt x="2668" y="706"/>
                    </a:lnTo>
                    <a:lnTo>
                      <a:pt x="2738" y="750"/>
                    </a:lnTo>
                    <a:lnTo>
                      <a:pt x="2780" y="791"/>
                    </a:lnTo>
                    <a:lnTo>
                      <a:pt x="2821" y="828"/>
                    </a:lnTo>
                    <a:lnTo>
                      <a:pt x="2806" y="849"/>
                    </a:lnTo>
                    <a:lnTo>
                      <a:pt x="2835" y="902"/>
                    </a:lnTo>
                    <a:lnTo>
                      <a:pt x="2839" y="994"/>
                    </a:lnTo>
                    <a:lnTo>
                      <a:pt x="2873" y="975"/>
                    </a:lnTo>
                    <a:lnTo>
                      <a:pt x="2893" y="1012"/>
                    </a:lnTo>
                    <a:lnTo>
                      <a:pt x="2914" y="999"/>
                    </a:lnTo>
                    <a:lnTo>
                      <a:pt x="2901" y="1089"/>
                    </a:lnTo>
                    <a:lnTo>
                      <a:pt x="2937" y="1142"/>
                    </a:lnTo>
                    <a:lnTo>
                      <a:pt x="2961" y="1174"/>
                    </a:lnTo>
                    <a:lnTo>
                      <a:pt x="2996" y="1243"/>
                    </a:lnTo>
                    <a:lnTo>
                      <a:pt x="2994" y="1311"/>
                    </a:lnTo>
                    <a:lnTo>
                      <a:pt x="2979" y="1360"/>
                    </a:lnTo>
                    <a:lnTo>
                      <a:pt x="2955" y="1413"/>
                    </a:lnTo>
                    <a:lnTo>
                      <a:pt x="2963" y="1485"/>
                    </a:lnTo>
                    <a:lnTo>
                      <a:pt x="2930" y="1560"/>
                    </a:lnTo>
                    <a:lnTo>
                      <a:pt x="2902" y="1599"/>
                    </a:lnTo>
                    <a:lnTo>
                      <a:pt x="2851" y="1675"/>
                    </a:lnTo>
                    <a:lnTo>
                      <a:pt x="2832" y="1724"/>
                    </a:lnTo>
                    <a:lnTo>
                      <a:pt x="2792" y="1785"/>
                    </a:lnTo>
                    <a:lnTo>
                      <a:pt x="2726" y="1862"/>
                    </a:lnTo>
                    <a:lnTo>
                      <a:pt x="2654" y="1904"/>
                    </a:lnTo>
                    <a:lnTo>
                      <a:pt x="2597" y="1970"/>
                    </a:lnTo>
                    <a:lnTo>
                      <a:pt x="2553" y="2012"/>
                    </a:lnTo>
                    <a:lnTo>
                      <a:pt x="2496" y="2085"/>
                    </a:lnTo>
                    <a:lnTo>
                      <a:pt x="2448" y="2127"/>
                    </a:lnTo>
                    <a:lnTo>
                      <a:pt x="2397" y="2191"/>
                    </a:lnTo>
                    <a:lnTo>
                      <a:pt x="2357" y="2249"/>
                    </a:lnTo>
                    <a:lnTo>
                      <a:pt x="2347" y="2276"/>
                    </a:lnTo>
                    <a:lnTo>
                      <a:pt x="2290" y="2305"/>
                    </a:lnTo>
                    <a:lnTo>
                      <a:pt x="2210" y="2308"/>
                    </a:lnTo>
                    <a:lnTo>
                      <a:pt x="2127" y="2343"/>
                    </a:lnTo>
                    <a:lnTo>
                      <a:pt x="2077" y="2376"/>
                    </a:lnTo>
                    <a:lnTo>
                      <a:pt x="2014" y="2412"/>
                    </a:lnTo>
                    <a:lnTo>
                      <a:pt x="1977" y="2375"/>
                    </a:lnTo>
                    <a:lnTo>
                      <a:pt x="1943" y="2360"/>
                    </a:lnTo>
                    <a:lnTo>
                      <a:pt x="1977" y="2316"/>
                    </a:lnTo>
                    <a:lnTo>
                      <a:pt x="1930" y="2332"/>
                    </a:lnTo>
                    <a:lnTo>
                      <a:pt x="1836" y="2393"/>
                    </a:lnTo>
                    <a:lnTo>
                      <a:pt x="1788" y="2370"/>
                    </a:lnTo>
                    <a:lnTo>
                      <a:pt x="1756" y="2357"/>
                    </a:lnTo>
                    <a:lnTo>
                      <a:pt x="1719" y="2350"/>
                    </a:lnTo>
                    <a:lnTo>
                      <a:pt x="1664" y="2326"/>
                    </a:lnTo>
                    <a:lnTo>
                      <a:pt x="1646" y="2274"/>
                    </a:lnTo>
                    <a:lnTo>
                      <a:pt x="1665" y="2210"/>
                    </a:lnTo>
                    <a:lnTo>
                      <a:pt x="1669" y="2167"/>
                    </a:lnTo>
                    <a:lnTo>
                      <a:pt x="1651" y="2132"/>
                    </a:lnTo>
                    <a:lnTo>
                      <a:pt x="1587" y="2122"/>
                    </a:lnTo>
                    <a:lnTo>
                      <a:pt x="1630" y="2081"/>
                    </a:lnTo>
                    <a:lnTo>
                      <a:pt x="1641" y="2018"/>
                    </a:lnTo>
                    <a:lnTo>
                      <a:pt x="1580" y="2077"/>
                    </a:lnTo>
                    <a:lnTo>
                      <a:pt x="1510" y="2092"/>
                    </a:lnTo>
                    <a:lnTo>
                      <a:pt x="1568" y="2045"/>
                    </a:lnTo>
                    <a:lnTo>
                      <a:pt x="1600" y="1996"/>
                    </a:lnTo>
                    <a:lnTo>
                      <a:pt x="1646" y="1955"/>
                    </a:lnTo>
                    <a:lnTo>
                      <a:pt x="1667" y="1892"/>
                    </a:lnTo>
                    <a:lnTo>
                      <a:pt x="1578" y="1964"/>
                    </a:lnTo>
                    <a:lnTo>
                      <a:pt x="1521" y="1993"/>
                    </a:lnTo>
                    <a:lnTo>
                      <a:pt x="1464" y="2061"/>
                    </a:lnTo>
                    <a:lnTo>
                      <a:pt x="1424" y="2026"/>
                    </a:lnTo>
                    <a:lnTo>
                      <a:pt x="1446" y="1981"/>
                    </a:lnTo>
                    <a:lnTo>
                      <a:pt x="1427" y="1919"/>
                    </a:lnTo>
                    <a:lnTo>
                      <a:pt x="1402" y="1888"/>
                    </a:lnTo>
                    <a:lnTo>
                      <a:pt x="1424" y="1868"/>
                    </a:lnTo>
                    <a:lnTo>
                      <a:pt x="1352" y="1816"/>
                    </a:lnTo>
                    <a:lnTo>
                      <a:pt x="1303" y="1814"/>
                    </a:lnTo>
                    <a:lnTo>
                      <a:pt x="1250" y="1773"/>
                    </a:lnTo>
                    <a:lnTo>
                      <a:pt x="1118" y="1781"/>
                    </a:lnTo>
                    <a:lnTo>
                      <a:pt x="1014" y="1811"/>
                    </a:lnTo>
                    <a:lnTo>
                      <a:pt x="922" y="1840"/>
                    </a:lnTo>
                    <a:lnTo>
                      <a:pt x="856" y="1834"/>
                    </a:lnTo>
                    <a:lnTo>
                      <a:pt x="764" y="1877"/>
                    </a:lnTo>
                    <a:lnTo>
                      <a:pt x="694" y="1897"/>
                    </a:lnTo>
                    <a:lnTo>
                      <a:pt x="664" y="1942"/>
                    </a:lnTo>
                    <a:lnTo>
                      <a:pt x="624" y="1976"/>
                    </a:lnTo>
                    <a:lnTo>
                      <a:pt x="563" y="1978"/>
                    </a:lnTo>
                    <a:lnTo>
                      <a:pt x="515" y="1986"/>
                    </a:lnTo>
                    <a:lnTo>
                      <a:pt x="458" y="1970"/>
                    </a:lnTo>
                    <a:lnTo>
                      <a:pt x="404" y="1979"/>
                    </a:lnTo>
                    <a:lnTo>
                      <a:pt x="353" y="1983"/>
                    </a:lnTo>
                    <a:lnTo>
                      <a:pt x="294" y="2029"/>
                    </a:lnTo>
                    <a:lnTo>
                      <a:pt x="274" y="2025"/>
                    </a:lnTo>
                    <a:lnTo>
                      <a:pt x="230" y="2049"/>
                    </a:lnTo>
                    <a:lnTo>
                      <a:pt x="185" y="2076"/>
                    </a:lnTo>
                    <a:lnTo>
                      <a:pt x="135" y="2072"/>
                    </a:lnTo>
                    <a:lnTo>
                      <a:pt x="87" y="2072"/>
                    </a:lnTo>
                    <a:lnTo>
                      <a:pt x="32" y="2018"/>
                    </a:lnTo>
                    <a:lnTo>
                      <a:pt x="0" y="2002"/>
                    </a:lnTo>
                    <a:lnTo>
                      <a:pt x="19" y="1953"/>
                    </a:lnTo>
                    <a:lnTo>
                      <a:pt x="59" y="1942"/>
                    </a:lnTo>
                    <a:lnTo>
                      <a:pt x="78" y="1923"/>
                    </a:lnTo>
                    <a:lnTo>
                      <a:pt x="86" y="1892"/>
                    </a:lnTo>
                    <a:lnTo>
                      <a:pt x="115" y="1833"/>
                    </a:lnTo>
                    <a:lnTo>
                      <a:pt x="124" y="1783"/>
                    </a:lnTo>
                    <a:lnTo>
                      <a:pt x="114" y="1697"/>
                    </a:lnTo>
                    <a:lnTo>
                      <a:pt x="117" y="1648"/>
                    </a:lnTo>
                    <a:lnTo>
                      <a:pt x="135" y="1600"/>
                    </a:lnTo>
                    <a:lnTo>
                      <a:pt x="123" y="1544"/>
                    </a:lnTo>
                    <a:lnTo>
                      <a:pt x="128" y="1519"/>
                    </a:lnTo>
                    <a:lnTo>
                      <a:pt x="105" y="1486"/>
                    </a:lnTo>
                    <a:lnTo>
                      <a:pt x="115" y="1419"/>
                    </a:lnTo>
                    <a:lnTo>
                      <a:pt x="91" y="1352"/>
                    </a:lnTo>
                    <a:lnTo>
                      <a:pt x="90" y="1315"/>
                    </a:lnTo>
                    <a:lnTo>
                      <a:pt x="113" y="1352"/>
                    </a:lnTo>
                    <a:lnTo>
                      <a:pt x="108" y="1273"/>
                    </a:lnTo>
                    <a:lnTo>
                      <a:pt x="138" y="1298"/>
                    </a:lnTo>
                    <a:lnTo>
                      <a:pt x="151" y="1331"/>
                    </a:lnTo>
                    <a:lnTo>
                      <a:pt x="161" y="1287"/>
                    </a:lnTo>
                    <a:lnTo>
                      <a:pt x="142" y="1220"/>
                    </a:lnTo>
                    <a:lnTo>
                      <a:pt x="141" y="1193"/>
                    </a:lnTo>
                    <a:lnTo>
                      <a:pt x="130" y="1168"/>
                    </a:lnTo>
                    <a:lnTo>
                      <a:pt x="149" y="1119"/>
                    </a:lnTo>
                    <a:lnTo>
                      <a:pt x="169" y="1098"/>
                    </a:lnTo>
                    <a:lnTo>
                      <a:pt x="189" y="1055"/>
                    </a:lnTo>
                    <a:lnTo>
                      <a:pt x="191" y="1005"/>
                    </a:lnTo>
                    <a:lnTo>
                      <a:pt x="235" y="944"/>
                    </a:lnTo>
                    <a:lnTo>
                      <a:pt x="227" y="1009"/>
                    </a:lnTo>
                    <a:lnTo>
                      <a:pt x="270" y="950"/>
                    </a:lnTo>
                    <a:lnTo>
                      <a:pt x="336" y="922"/>
                    </a:lnTo>
                    <a:lnTo>
                      <a:pt x="379" y="886"/>
                    </a:lnTo>
                    <a:lnTo>
                      <a:pt x="442" y="854"/>
                    </a:lnTo>
                    <a:lnTo>
                      <a:pt x="476" y="848"/>
                    </a:lnTo>
                    <a:lnTo>
                      <a:pt x="495" y="858"/>
                    </a:lnTo>
                    <a:lnTo>
                      <a:pt x="559" y="826"/>
                    </a:lnTo>
                    <a:lnTo>
                      <a:pt x="606" y="817"/>
                    </a:lnTo>
                    <a:lnTo>
                      <a:pt x="621" y="798"/>
                    </a:lnTo>
                    <a:lnTo>
                      <a:pt x="642" y="791"/>
                    </a:lnTo>
                    <a:lnTo>
                      <a:pt x="682" y="793"/>
                    </a:lnTo>
                    <a:lnTo>
                      <a:pt x="765" y="768"/>
                    </a:lnTo>
                    <a:lnTo>
                      <a:pt x="812" y="730"/>
                    </a:lnTo>
                    <a:lnTo>
                      <a:pt x="840" y="684"/>
                    </a:lnTo>
                    <a:lnTo>
                      <a:pt x="891" y="641"/>
                    </a:lnTo>
                    <a:lnTo>
                      <a:pt x="900" y="607"/>
                    </a:lnTo>
                    <a:lnTo>
                      <a:pt x="910" y="561"/>
                    </a:lnTo>
                    <a:lnTo>
                      <a:pt x="974" y="489"/>
                    </a:lnTo>
                    <a:lnTo>
                      <a:pt x="993" y="562"/>
                    </a:lnTo>
                    <a:lnTo>
                      <a:pt x="1028" y="545"/>
                    </a:lnTo>
                    <a:lnTo>
                      <a:pt x="1008" y="505"/>
                    </a:lnTo>
                    <a:lnTo>
                      <a:pt x="1038" y="464"/>
                    </a:lnTo>
                    <a:lnTo>
                      <a:pt x="1068" y="482"/>
                    </a:lnTo>
                    <a:lnTo>
                      <a:pt x="1087" y="417"/>
                    </a:lnTo>
                    <a:lnTo>
                      <a:pt x="1134" y="375"/>
                    </a:lnTo>
                    <a:lnTo>
                      <a:pt x="1157" y="342"/>
                    </a:lnTo>
                    <a:lnTo>
                      <a:pt x="1196" y="327"/>
                    </a:lnTo>
                    <a:lnTo>
                      <a:pt x="1201" y="303"/>
                    </a:lnTo>
                    <a:lnTo>
                      <a:pt x="1232" y="313"/>
                    </a:lnTo>
                    <a:lnTo>
                      <a:pt x="1236" y="292"/>
                    </a:lnTo>
                    <a:lnTo>
                      <a:pt x="1271" y="280"/>
                    </a:lnTo>
                    <a:lnTo>
                      <a:pt x="1308" y="268"/>
                    </a:lnTo>
                    <a:lnTo>
                      <a:pt x="1358" y="307"/>
                    </a:lnTo>
                    <a:lnTo>
                      <a:pt x="1392" y="358"/>
                    </a:lnTo>
                    <a:lnTo>
                      <a:pt x="1439" y="358"/>
                    </a:lnTo>
                    <a:lnTo>
                      <a:pt x="1485" y="366"/>
                    </a:lnTo>
                    <a:lnTo>
                      <a:pt x="1476" y="320"/>
                    </a:lnTo>
                    <a:lnTo>
                      <a:pt x="1521" y="251"/>
                    </a:lnTo>
                    <a:lnTo>
                      <a:pt x="1558" y="229"/>
                    </a:lnTo>
                    <a:lnTo>
                      <a:pt x="1549" y="208"/>
                    </a:lnTo>
                    <a:lnTo>
                      <a:pt x="1588" y="159"/>
                    </a:lnTo>
                    <a:lnTo>
                      <a:pt x="1637" y="129"/>
                    </a:lnTo>
                    <a:lnTo>
                      <a:pt x="1674" y="139"/>
                    </a:lnTo>
                    <a:lnTo>
                      <a:pt x="1739" y="123"/>
                    </a:lnTo>
                    <a:lnTo>
                      <a:pt x="1743" y="80"/>
                    </a:lnTo>
                    <a:lnTo>
                      <a:pt x="1691" y="52"/>
                    </a:lnTo>
                    <a:lnTo>
                      <a:pt x="1733" y="39"/>
                    </a:lnTo>
                    <a:lnTo>
                      <a:pt x="1780" y="60"/>
                    </a:lnTo>
                    <a:lnTo>
                      <a:pt x="1815" y="95"/>
                    </a:lnTo>
                    <a:lnTo>
                      <a:pt x="1876" y="117"/>
                    </a:lnTo>
                    <a:lnTo>
                      <a:pt x="1898" y="108"/>
                    </a:lnTo>
                    <a:lnTo>
                      <a:pt x="1941" y="135"/>
                    </a:lnTo>
                    <a:lnTo>
                      <a:pt x="1988" y="110"/>
                    </a:lnTo>
                    <a:lnTo>
                      <a:pt x="2015" y="118"/>
                    </a:lnTo>
                    <a:lnTo>
                      <a:pt x="2035" y="101"/>
                    </a:lnTo>
                    <a:lnTo>
                      <a:pt x="2064" y="143"/>
                    </a:lnTo>
                    <a:lnTo>
                      <a:pt x="2038" y="189"/>
                    </a:lnTo>
                    <a:lnTo>
                      <a:pt x="2005" y="223"/>
                    </a:lnTo>
                    <a:lnTo>
                      <a:pt x="1978" y="226"/>
                    </a:lnTo>
                    <a:lnTo>
                      <a:pt x="1982" y="260"/>
                    </a:lnTo>
                    <a:lnTo>
                      <a:pt x="1954" y="303"/>
                    </a:lnTo>
                    <a:lnTo>
                      <a:pt x="1921" y="345"/>
                    </a:lnTo>
                    <a:lnTo>
                      <a:pt x="1923" y="369"/>
                    </a:lnTo>
                    <a:lnTo>
                      <a:pt x="1974" y="416"/>
                    </a:lnTo>
                    <a:lnTo>
                      <a:pt x="2027" y="443"/>
                    </a:lnTo>
                    <a:lnTo>
                      <a:pt x="2060" y="472"/>
                    </a:lnTo>
                    <a:lnTo>
                      <a:pt x="2105" y="523"/>
                    </a:lnTo>
                    <a:lnTo>
                      <a:pt x="2126" y="523"/>
                    </a:lnTo>
                    <a:lnTo>
                      <a:pt x="2161" y="545"/>
                    </a:lnTo>
                    <a:lnTo>
                      <a:pt x="2167" y="571"/>
                    </a:lnTo>
                    <a:lnTo>
                      <a:pt x="2232" y="600"/>
                    </a:lnTo>
                    <a:lnTo>
                      <a:pt x="2287" y="571"/>
                    </a:lnTo>
                    <a:lnTo>
                      <a:pt x="2310" y="525"/>
                    </a:lnTo>
                    <a:lnTo>
                      <a:pt x="2332" y="487"/>
                    </a:lnTo>
                    <a:lnTo>
                      <a:pt x="2350" y="440"/>
                    </a:lnTo>
                    <a:lnTo>
                      <a:pt x="2384" y="373"/>
                    </a:lnTo>
                    <a:lnTo>
                      <a:pt x="2381" y="332"/>
                    </a:lnTo>
                    <a:lnTo>
                      <a:pt x="2390" y="307"/>
                    </a:lnTo>
                    <a:lnTo>
                      <a:pt x="2389" y="258"/>
                    </a:lnTo>
                    <a:lnTo>
                      <a:pt x="2408" y="194"/>
                    </a:lnTo>
                    <a:lnTo>
                      <a:pt x="2425" y="177"/>
                    </a:lnTo>
                    <a:lnTo>
                      <a:pt x="2417" y="148"/>
                    </a:lnTo>
                    <a:lnTo>
                      <a:pt x="2441" y="103"/>
                    </a:lnTo>
                    <a:lnTo>
                      <a:pt x="2461" y="56"/>
                    </a:lnTo>
                    <a:lnTo>
                      <a:pt x="2466" y="32"/>
                    </a:lnTo>
                    <a:lnTo>
                      <a:pt x="2498" y="0"/>
                    </a:lnTo>
                    <a:lnTo>
                      <a:pt x="2514" y="42"/>
                    </a:lnTo>
                    <a:lnTo>
                      <a:pt x="2512" y="95"/>
                    </a:lnTo>
                    <a:lnTo>
                      <a:pt x="2530" y="105"/>
                    </a:lnTo>
                    <a:lnTo>
                      <a:pt x="2528" y="141"/>
                    </a:lnTo>
                    <a:lnTo>
                      <a:pt x="2549" y="184"/>
                    </a:lnTo>
                    <a:lnTo>
                      <a:pt x="2548" y="233"/>
                    </a:lnTo>
                    <a:lnTo>
                      <a:pt x="2540" y="264"/>
                    </a:lnTo>
                    <a:moveTo>
                      <a:pt x="1865" y="2560"/>
                    </a:moveTo>
                    <a:lnTo>
                      <a:pt x="1914" y="2590"/>
                    </a:lnTo>
                    <a:lnTo>
                      <a:pt x="1959" y="2578"/>
                    </a:lnTo>
                    <a:lnTo>
                      <a:pt x="2023" y="2562"/>
                    </a:lnTo>
                    <a:lnTo>
                      <a:pt x="2061" y="2567"/>
                    </a:lnTo>
                    <a:lnTo>
                      <a:pt x="2004" y="2667"/>
                    </a:lnTo>
                    <a:lnTo>
                      <a:pt x="1962" y="2696"/>
                    </a:lnTo>
                    <a:lnTo>
                      <a:pt x="1911" y="2764"/>
                    </a:lnTo>
                    <a:lnTo>
                      <a:pt x="1902" y="2741"/>
                    </a:lnTo>
                    <a:lnTo>
                      <a:pt x="1816" y="2800"/>
                    </a:lnTo>
                    <a:lnTo>
                      <a:pt x="1805" y="2795"/>
                    </a:lnTo>
                    <a:lnTo>
                      <a:pt x="1765" y="2793"/>
                    </a:lnTo>
                    <a:lnTo>
                      <a:pt x="1769" y="2721"/>
                    </a:lnTo>
                    <a:lnTo>
                      <a:pt x="1795" y="2665"/>
                    </a:lnTo>
                    <a:lnTo>
                      <a:pt x="1800" y="2592"/>
                    </a:lnTo>
                    <a:lnTo>
                      <a:pt x="1824" y="2553"/>
                    </a:lnTo>
                    <a:lnTo>
                      <a:pt x="1865" y="2560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4" name="Freeform 14"/>
              <p:cNvSpPr>
                <a:spLocks/>
              </p:cNvSpPr>
              <p:nvPr/>
            </p:nvSpPr>
            <p:spPr bwMode="auto">
              <a:xfrm>
                <a:off x="4427537" y="2297112"/>
                <a:ext cx="190500" cy="85725"/>
              </a:xfrm>
              <a:custGeom>
                <a:avLst/>
                <a:gdLst>
                  <a:gd name="T0" fmla="*/ 120 w 120"/>
                  <a:gd name="T1" fmla="*/ 19 h 54"/>
                  <a:gd name="T2" fmla="*/ 119 w 120"/>
                  <a:gd name="T3" fmla="*/ 27 h 54"/>
                  <a:gd name="T4" fmla="*/ 110 w 120"/>
                  <a:gd name="T5" fmla="*/ 27 h 54"/>
                  <a:gd name="T6" fmla="*/ 114 w 120"/>
                  <a:gd name="T7" fmla="*/ 32 h 54"/>
                  <a:gd name="T8" fmla="*/ 109 w 120"/>
                  <a:gd name="T9" fmla="*/ 45 h 54"/>
                  <a:gd name="T10" fmla="*/ 107 w 120"/>
                  <a:gd name="T11" fmla="*/ 48 h 54"/>
                  <a:gd name="T12" fmla="*/ 92 w 120"/>
                  <a:gd name="T13" fmla="*/ 49 h 54"/>
                  <a:gd name="T14" fmla="*/ 85 w 120"/>
                  <a:gd name="T15" fmla="*/ 54 h 54"/>
                  <a:gd name="T16" fmla="*/ 71 w 120"/>
                  <a:gd name="T17" fmla="*/ 52 h 54"/>
                  <a:gd name="T18" fmla="*/ 47 w 120"/>
                  <a:gd name="T19" fmla="*/ 47 h 54"/>
                  <a:gd name="T20" fmla="*/ 43 w 120"/>
                  <a:gd name="T21" fmla="*/ 40 h 54"/>
                  <a:gd name="T22" fmla="*/ 27 w 120"/>
                  <a:gd name="T23" fmla="*/ 43 h 54"/>
                  <a:gd name="T24" fmla="*/ 25 w 120"/>
                  <a:gd name="T25" fmla="*/ 47 h 54"/>
                  <a:gd name="T26" fmla="*/ 15 w 120"/>
                  <a:gd name="T27" fmla="*/ 44 h 54"/>
                  <a:gd name="T28" fmla="*/ 7 w 120"/>
                  <a:gd name="T29" fmla="*/ 44 h 54"/>
                  <a:gd name="T30" fmla="*/ 0 w 120"/>
                  <a:gd name="T31" fmla="*/ 40 h 54"/>
                  <a:gd name="T32" fmla="*/ 2 w 120"/>
                  <a:gd name="T33" fmla="*/ 35 h 54"/>
                  <a:gd name="T34" fmla="*/ 1 w 120"/>
                  <a:gd name="T35" fmla="*/ 31 h 54"/>
                  <a:gd name="T36" fmla="*/ 6 w 120"/>
                  <a:gd name="T37" fmla="*/ 30 h 54"/>
                  <a:gd name="T38" fmla="*/ 15 w 120"/>
                  <a:gd name="T39" fmla="*/ 36 h 54"/>
                  <a:gd name="T40" fmla="*/ 16 w 120"/>
                  <a:gd name="T41" fmla="*/ 30 h 54"/>
                  <a:gd name="T42" fmla="*/ 31 w 120"/>
                  <a:gd name="T43" fmla="*/ 31 h 54"/>
                  <a:gd name="T44" fmla="*/ 42 w 120"/>
                  <a:gd name="T45" fmla="*/ 28 h 54"/>
                  <a:gd name="T46" fmla="*/ 50 w 120"/>
                  <a:gd name="T47" fmla="*/ 28 h 54"/>
                  <a:gd name="T48" fmla="*/ 55 w 120"/>
                  <a:gd name="T49" fmla="*/ 32 h 54"/>
                  <a:gd name="T50" fmla="*/ 57 w 120"/>
                  <a:gd name="T51" fmla="*/ 29 h 54"/>
                  <a:gd name="T52" fmla="*/ 53 w 120"/>
                  <a:gd name="T53" fmla="*/ 16 h 54"/>
                  <a:gd name="T54" fmla="*/ 59 w 120"/>
                  <a:gd name="T55" fmla="*/ 13 h 54"/>
                  <a:gd name="T56" fmla="*/ 64 w 120"/>
                  <a:gd name="T57" fmla="*/ 4 h 54"/>
                  <a:gd name="T58" fmla="*/ 77 w 120"/>
                  <a:gd name="T59" fmla="*/ 10 h 54"/>
                  <a:gd name="T60" fmla="*/ 85 w 120"/>
                  <a:gd name="T61" fmla="*/ 2 h 54"/>
                  <a:gd name="T62" fmla="*/ 90 w 120"/>
                  <a:gd name="T63" fmla="*/ 0 h 54"/>
                  <a:gd name="T64" fmla="*/ 103 w 120"/>
                  <a:gd name="T65" fmla="*/ 7 h 54"/>
                  <a:gd name="T66" fmla="*/ 111 w 120"/>
                  <a:gd name="T67" fmla="*/ 6 h 54"/>
                  <a:gd name="T68" fmla="*/ 119 w 120"/>
                  <a:gd name="T69" fmla="*/ 9 h 54"/>
                  <a:gd name="T70" fmla="*/ 118 w 120"/>
                  <a:gd name="T71" fmla="*/ 12 h 54"/>
                  <a:gd name="T72" fmla="*/ 120 w 120"/>
                  <a:gd name="T73" fmla="*/ 19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0" h="54">
                    <a:moveTo>
                      <a:pt x="120" y="19"/>
                    </a:moveTo>
                    <a:lnTo>
                      <a:pt x="119" y="27"/>
                    </a:lnTo>
                    <a:lnTo>
                      <a:pt x="110" y="27"/>
                    </a:lnTo>
                    <a:lnTo>
                      <a:pt x="114" y="32"/>
                    </a:lnTo>
                    <a:lnTo>
                      <a:pt x="109" y="45"/>
                    </a:lnTo>
                    <a:lnTo>
                      <a:pt x="107" y="48"/>
                    </a:lnTo>
                    <a:lnTo>
                      <a:pt x="92" y="49"/>
                    </a:lnTo>
                    <a:lnTo>
                      <a:pt x="85" y="54"/>
                    </a:lnTo>
                    <a:lnTo>
                      <a:pt x="71" y="52"/>
                    </a:lnTo>
                    <a:lnTo>
                      <a:pt x="47" y="47"/>
                    </a:lnTo>
                    <a:lnTo>
                      <a:pt x="43" y="40"/>
                    </a:lnTo>
                    <a:lnTo>
                      <a:pt x="27" y="43"/>
                    </a:lnTo>
                    <a:lnTo>
                      <a:pt x="25" y="47"/>
                    </a:lnTo>
                    <a:lnTo>
                      <a:pt x="15" y="44"/>
                    </a:lnTo>
                    <a:lnTo>
                      <a:pt x="7" y="44"/>
                    </a:lnTo>
                    <a:lnTo>
                      <a:pt x="0" y="40"/>
                    </a:lnTo>
                    <a:lnTo>
                      <a:pt x="2" y="35"/>
                    </a:lnTo>
                    <a:lnTo>
                      <a:pt x="1" y="31"/>
                    </a:lnTo>
                    <a:lnTo>
                      <a:pt x="6" y="30"/>
                    </a:lnTo>
                    <a:lnTo>
                      <a:pt x="15" y="36"/>
                    </a:lnTo>
                    <a:lnTo>
                      <a:pt x="16" y="30"/>
                    </a:lnTo>
                    <a:lnTo>
                      <a:pt x="31" y="31"/>
                    </a:lnTo>
                    <a:lnTo>
                      <a:pt x="42" y="28"/>
                    </a:lnTo>
                    <a:lnTo>
                      <a:pt x="50" y="28"/>
                    </a:lnTo>
                    <a:lnTo>
                      <a:pt x="55" y="32"/>
                    </a:lnTo>
                    <a:lnTo>
                      <a:pt x="57" y="29"/>
                    </a:lnTo>
                    <a:lnTo>
                      <a:pt x="53" y="16"/>
                    </a:lnTo>
                    <a:lnTo>
                      <a:pt x="59" y="13"/>
                    </a:lnTo>
                    <a:lnTo>
                      <a:pt x="64" y="4"/>
                    </a:lnTo>
                    <a:lnTo>
                      <a:pt x="77" y="10"/>
                    </a:lnTo>
                    <a:lnTo>
                      <a:pt x="85" y="2"/>
                    </a:lnTo>
                    <a:lnTo>
                      <a:pt x="90" y="0"/>
                    </a:lnTo>
                    <a:lnTo>
                      <a:pt x="103" y="7"/>
                    </a:lnTo>
                    <a:lnTo>
                      <a:pt x="111" y="6"/>
                    </a:lnTo>
                    <a:lnTo>
                      <a:pt x="119" y="9"/>
                    </a:lnTo>
                    <a:lnTo>
                      <a:pt x="118" y="12"/>
                    </a:lnTo>
                    <a:lnTo>
                      <a:pt x="120" y="1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5387975" y="2600325"/>
                <a:ext cx="41275" cy="31750"/>
              </a:xfrm>
              <a:custGeom>
                <a:avLst/>
                <a:gdLst>
                  <a:gd name="T0" fmla="*/ 14 w 108"/>
                  <a:gd name="T1" fmla="*/ 1 h 85"/>
                  <a:gd name="T2" fmla="*/ 38 w 108"/>
                  <a:gd name="T3" fmla="*/ 23 h 85"/>
                  <a:gd name="T4" fmla="*/ 69 w 108"/>
                  <a:gd name="T5" fmla="*/ 23 h 85"/>
                  <a:gd name="T6" fmla="*/ 71 w 108"/>
                  <a:gd name="T7" fmla="*/ 36 h 85"/>
                  <a:gd name="T8" fmla="*/ 108 w 108"/>
                  <a:gd name="T9" fmla="*/ 85 h 85"/>
                  <a:gd name="T10" fmla="*/ 58 w 108"/>
                  <a:gd name="T11" fmla="*/ 74 h 85"/>
                  <a:gd name="T12" fmla="*/ 16 w 108"/>
                  <a:gd name="T13" fmla="*/ 35 h 85"/>
                  <a:gd name="T14" fmla="*/ 0 w 108"/>
                  <a:gd name="T15" fmla="*/ 3 h 85"/>
                  <a:gd name="T16" fmla="*/ 14 w 108"/>
                  <a:gd name="T17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8" h="85">
                    <a:moveTo>
                      <a:pt x="14" y="1"/>
                    </a:moveTo>
                    <a:lnTo>
                      <a:pt x="38" y="23"/>
                    </a:lnTo>
                    <a:lnTo>
                      <a:pt x="69" y="23"/>
                    </a:lnTo>
                    <a:lnTo>
                      <a:pt x="71" y="36"/>
                    </a:lnTo>
                    <a:lnTo>
                      <a:pt x="108" y="85"/>
                    </a:lnTo>
                    <a:lnTo>
                      <a:pt x="58" y="74"/>
                    </a:lnTo>
                    <a:lnTo>
                      <a:pt x="16" y="35"/>
                    </a:lnTo>
                    <a:lnTo>
                      <a:pt x="0" y="3"/>
                    </a:lnTo>
                    <a:lnTo>
                      <a:pt x="14" y="0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6" name="Freeform 16"/>
              <p:cNvSpPr>
                <a:spLocks/>
              </p:cNvSpPr>
              <p:nvPr/>
            </p:nvSpPr>
            <p:spPr bwMode="auto">
              <a:xfrm>
                <a:off x="5383212" y="2530475"/>
                <a:ext cx="150813" cy="117475"/>
              </a:xfrm>
              <a:custGeom>
                <a:avLst/>
                <a:gdLst>
                  <a:gd name="T0" fmla="*/ 40 w 95"/>
                  <a:gd name="T1" fmla="*/ 13 h 74"/>
                  <a:gd name="T2" fmla="*/ 48 w 95"/>
                  <a:gd name="T3" fmla="*/ 15 h 74"/>
                  <a:gd name="T4" fmla="*/ 50 w 95"/>
                  <a:gd name="T5" fmla="*/ 9 h 74"/>
                  <a:gd name="T6" fmla="*/ 58 w 95"/>
                  <a:gd name="T7" fmla="*/ 1 h 74"/>
                  <a:gd name="T8" fmla="*/ 69 w 95"/>
                  <a:gd name="T9" fmla="*/ 12 h 74"/>
                  <a:gd name="T10" fmla="*/ 81 w 95"/>
                  <a:gd name="T11" fmla="*/ 27 h 74"/>
                  <a:gd name="T12" fmla="*/ 89 w 95"/>
                  <a:gd name="T13" fmla="*/ 28 h 74"/>
                  <a:gd name="T14" fmla="*/ 95 w 95"/>
                  <a:gd name="T15" fmla="*/ 33 h 74"/>
                  <a:gd name="T16" fmla="*/ 82 w 95"/>
                  <a:gd name="T17" fmla="*/ 35 h 74"/>
                  <a:gd name="T18" fmla="*/ 82 w 95"/>
                  <a:gd name="T19" fmla="*/ 51 h 74"/>
                  <a:gd name="T20" fmla="*/ 80 w 95"/>
                  <a:gd name="T21" fmla="*/ 58 h 74"/>
                  <a:gd name="T22" fmla="*/ 75 w 95"/>
                  <a:gd name="T23" fmla="*/ 63 h 74"/>
                  <a:gd name="T24" fmla="*/ 77 w 95"/>
                  <a:gd name="T25" fmla="*/ 73 h 74"/>
                  <a:gd name="T26" fmla="*/ 73 w 95"/>
                  <a:gd name="T27" fmla="*/ 74 h 74"/>
                  <a:gd name="T28" fmla="*/ 61 w 95"/>
                  <a:gd name="T29" fmla="*/ 63 h 74"/>
                  <a:gd name="T30" fmla="*/ 65 w 95"/>
                  <a:gd name="T31" fmla="*/ 53 h 74"/>
                  <a:gd name="T32" fmla="*/ 59 w 95"/>
                  <a:gd name="T33" fmla="*/ 47 h 74"/>
                  <a:gd name="T34" fmla="*/ 52 w 95"/>
                  <a:gd name="T35" fmla="*/ 49 h 74"/>
                  <a:gd name="T36" fmla="*/ 35 w 95"/>
                  <a:gd name="T37" fmla="*/ 64 h 74"/>
                  <a:gd name="T38" fmla="*/ 32 w 95"/>
                  <a:gd name="T39" fmla="*/ 49 h 74"/>
                  <a:gd name="T40" fmla="*/ 24 w 95"/>
                  <a:gd name="T41" fmla="*/ 46 h 74"/>
                  <a:gd name="T42" fmla="*/ 16 w 95"/>
                  <a:gd name="T43" fmla="*/ 40 h 74"/>
                  <a:gd name="T44" fmla="*/ 19 w 95"/>
                  <a:gd name="T45" fmla="*/ 34 h 74"/>
                  <a:gd name="T46" fmla="*/ 9 w 95"/>
                  <a:gd name="T47" fmla="*/ 27 h 74"/>
                  <a:gd name="T48" fmla="*/ 11 w 95"/>
                  <a:gd name="T49" fmla="*/ 22 h 74"/>
                  <a:gd name="T50" fmla="*/ 4 w 95"/>
                  <a:gd name="T51" fmla="*/ 18 h 74"/>
                  <a:gd name="T52" fmla="*/ 0 w 95"/>
                  <a:gd name="T53" fmla="*/ 13 h 74"/>
                  <a:gd name="T54" fmla="*/ 3 w 95"/>
                  <a:gd name="T55" fmla="*/ 9 h 74"/>
                  <a:gd name="T56" fmla="*/ 17 w 95"/>
                  <a:gd name="T57" fmla="*/ 15 h 74"/>
                  <a:gd name="T58" fmla="*/ 26 w 95"/>
                  <a:gd name="T59" fmla="*/ 17 h 74"/>
                  <a:gd name="T60" fmla="*/ 28 w 95"/>
                  <a:gd name="T61" fmla="*/ 14 h 74"/>
                  <a:gd name="T62" fmla="*/ 18 w 95"/>
                  <a:gd name="T63" fmla="*/ 3 h 74"/>
                  <a:gd name="T64" fmla="*/ 21 w 95"/>
                  <a:gd name="T65" fmla="*/ 0 h 74"/>
                  <a:gd name="T66" fmla="*/ 26 w 95"/>
                  <a:gd name="T67" fmla="*/ 1 h 74"/>
                  <a:gd name="T68" fmla="*/ 40 w 95"/>
                  <a:gd name="T69" fmla="*/ 1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5" h="74">
                    <a:moveTo>
                      <a:pt x="40" y="13"/>
                    </a:moveTo>
                    <a:lnTo>
                      <a:pt x="48" y="15"/>
                    </a:lnTo>
                    <a:lnTo>
                      <a:pt x="50" y="9"/>
                    </a:lnTo>
                    <a:lnTo>
                      <a:pt x="58" y="1"/>
                    </a:lnTo>
                    <a:lnTo>
                      <a:pt x="69" y="12"/>
                    </a:lnTo>
                    <a:lnTo>
                      <a:pt x="81" y="27"/>
                    </a:lnTo>
                    <a:lnTo>
                      <a:pt x="89" y="28"/>
                    </a:lnTo>
                    <a:lnTo>
                      <a:pt x="95" y="33"/>
                    </a:lnTo>
                    <a:lnTo>
                      <a:pt x="82" y="35"/>
                    </a:lnTo>
                    <a:lnTo>
                      <a:pt x="82" y="51"/>
                    </a:lnTo>
                    <a:lnTo>
                      <a:pt x="80" y="58"/>
                    </a:lnTo>
                    <a:lnTo>
                      <a:pt x="75" y="63"/>
                    </a:lnTo>
                    <a:lnTo>
                      <a:pt x="77" y="73"/>
                    </a:lnTo>
                    <a:lnTo>
                      <a:pt x="73" y="74"/>
                    </a:lnTo>
                    <a:lnTo>
                      <a:pt x="61" y="63"/>
                    </a:lnTo>
                    <a:lnTo>
                      <a:pt x="65" y="53"/>
                    </a:lnTo>
                    <a:lnTo>
                      <a:pt x="59" y="47"/>
                    </a:lnTo>
                    <a:lnTo>
                      <a:pt x="52" y="49"/>
                    </a:lnTo>
                    <a:lnTo>
                      <a:pt x="35" y="64"/>
                    </a:lnTo>
                    <a:lnTo>
                      <a:pt x="32" y="49"/>
                    </a:lnTo>
                    <a:lnTo>
                      <a:pt x="24" y="46"/>
                    </a:lnTo>
                    <a:lnTo>
                      <a:pt x="16" y="40"/>
                    </a:lnTo>
                    <a:lnTo>
                      <a:pt x="19" y="34"/>
                    </a:lnTo>
                    <a:lnTo>
                      <a:pt x="9" y="27"/>
                    </a:lnTo>
                    <a:lnTo>
                      <a:pt x="11" y="22"/>
                    </a:lnTo>
                    <a:lnTo>
                      <a:pt x="4" y="18"/>
                    </a:lnTo>
                    <a:lnTo>
                      <a:pt x="0" y="13"/>
                    </a:lnTo>
                    <a:lnTo>
                      <a:pt x="3" y="9"/>
                    </a:lnTo>
                    <a:lnTo>
                      <a:pt x="17" y="15"/>
                    </a:lnTo>
                    <a:lnTo>
                      <a:pt x="26" y="17"/>
                    </a:lnTo>
                    <a:lnTo>
                      <a:pt x="28" y="14"/>
                    </a:lnTo>
                    <a:lnTo>
                      <a:pt x="18" y="3"/>
                    </a:lnTo>
                    <a:lnTo>
                      <a:pt x="21" y="0"/>
                    </a:lnTo>
                    <a:lnTo>
                      <a:pt x="26" y="1"/>
                    </a:lnTo>
                    <a:lnTo>
                      <a:pt x="40" y="1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7" name="Freeform 17"/>
              <p:cNvSpPr>
                <a:spLocks/>
              </p:cNvSpPr>
              <p:nvPr/>
            </p:nvSpPr>
            <p:spPr bwMode="auto">
              <a:xfrm>
                <a:off x="5029200" y="3986213"/>
                <a:ext cx="49213" cy="71438"/>
              </a:xfrm>
              <a:custGeom>
                <a:avLst/>
                <a:gdLst>
                  <a:gd name="T0" fmla="*/ 5 w 31"/>
                  <a:gd name="T1" fmla="*/ 45 h 45"/>
                  <a:gd name="T2" fmla="*/ 4 w 31"/>
                  <a:gd name="T3" fmla="*/ 20 h 45"/>
                  <a:gd name="T4" fmla="*/ 0 w 31"/>
                  <a:gd name="T5" fmla="*/ 10 h 45"/>
                  <a:gd name="T6" fmla="*/ 11 w 31"/>
                  <a:gd name="T7" fmla="*/ 12 h 45"/>
                  <a:gd name="T8" fmla="*/ 16 w 31"/>
                  <a:gd name="T9" fmla="*/ 0 h 45"/>
                  <a:gd name="T10" fmla="*/ 26 w 31"/>
                  <a:gd name="T11" fmla="*/ 2 h 45"/>
                  <a:gd name="T12" fmla="*/ 27 w 31"/>
                  <a:gd name="T13" fmla="*/ 10 h 45"/>
                  <a:gd name="T14" fmla="*/ 31 w 31"/>
                  <a:gd name="T15" fmla="*/ 14 h 45"/>
                  <a:gd name="T16" fmla="*/ 31 w 31"/>
                  <a:gd name="T17" fmla="*/ 21 h 45"/>
                  <a:gd name="T18" fmla="*/ 27 w 31"/>
                  <a:gd name="T19" fmla="*/ 25 h 45"/>
                  <a:gd name="T20" fmla="*/ 19 w 31"/>
                  <a:gd name="T21" fmla="*/ 36 h 45"/>
                  <a:gd name="T22" fmla="*/ 12 w 31"/>
                  <a:gd name="T23" fmla="*/ 44 h 45"/>
                  <a:gd name="T24" fmla="*/ 5 w 31"/>
                  <a:gd name="T2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" h="45">
                    <a:moveTo>
                      <a:pt x="5" y="45"/>
                    </a:moveTo>
                    <a:lnTo>
                      <a:pt x="4" y="20"/>
                    </a:lnTo>
                    <a:lnTo>
                      <a:pt x="0" y="10"/>
                    </a:lnTo>
                    <a:lnTo>
                      <a:pt x="11" y="12"/>
                    </a:lnTo>
                    <a:lnTo>
                      <a:pt x="16" y="0"/>
                    </a:lnTo>
                    <a:lnTo>
                      <a:pt x="26" y="2"/>
                    </a:lnTo>
                    <a:lnTo>
                      <a:pt x="27" y="10"/>
                    </a:lnTo>
                    <a:lnTo>
                      <a:pt x="31" y="14"/>
                    </a:lnTo>
                    <a:lnTo>
                      <a:pt x="31" y="21"/>
                    </a:lnTo>
                    <a:lnTo>
                      <a:pt x="27" y="25"/>
                    </a:lnTo>
                    <a:lnTo>
                      <a:pt x="19" y="36"/>
                    </a:lnTo>
                    <a:lnTo>
                      <a:pt x="12" y="44"/>
                    </a:lnTo>
                    <a:lnTo>
                      <a:pt x="5" y="45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4244975" y="2219325"/>
                <a:ext cx="92075" cy="63500"/>
              </a:xfrm>
              <a:custGeom>
                <a:avLst/>
                <a:gdLst>
                  <a:gd name="T0" fmla="*/ 13 w 58"/>
                  <a:gd name="T1" fmla="*/ 3 h 40"/>
                  <a:gd name="T2" fmla="*/ 24 w 58"/>
                  <a:gd name="T3" fmla="*/ 4 h 40"/>
                  <a:gd name="T4" fmla="*/ 39 w 58"/>
                  <a:gd name="T5" fmla="*/ 0 h 40"/>
                  <a:gd name="T6" fmla="*/ 49 w 58"/>
                  <a:gd name="T7" fmla="*/ 9 h 40"/>
                  <a:gd name="T8" fmla="*/ 58 w 58"/>
                  <a:gd name="T9" fmla="*/ 14 h 40"/>
                  <a:gd name="T10" fmla="*/ 57 w 58"/>
                  <a:gd name="T11" fmla="*/ 27 h 40"/>
                  <a:gd name="T12" fmla="*/ 53 w 58"/>
                  <a:gd name="T13" fmla="*/ 28 h 40"/>
                  <a:gd name="T14" fmla="*/ 51 w 58"/>
                  <a:gd name="T15" fmla="*/ 40 h 40"/>
                  <a:gd name="T16" fmla="*/ 37 w 58"/>
                  <a:gd name="T17" fmla="*/ 30 h 40"/>
                  <a:gd name="T18" fmla="*/ 29 w 58"/>
                  <a:gd name="T19" fmla="*/ 32 h 40"/>
                  <a:gd name="T20" fmla="*/ 17 w 58"/>
                  <a:gd name="T21" fmla="*/ 22 h 40"/>
                  <a:gd name="T22" fmla="*/ 10 w 58"/>
                  <a:gd name="T23" fmla="*/ 14 h 40"/>
                  <a:gd name="T24" fmla="*/ 3 w 58"/>
                  <a:gd name="T25" fmla="*/ 14 h 40"/>
                  <a:gd name="T26" fmla="*/ 0 w 58"/>
                  <a:gd name="T27" fmla="*/ 7 h 40"/>
                  <a:gd name="T28" fmla="*/ 13 w 58"/>
                  <a:gd name="T29" fmla="*/ 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0">
                    <a:moveTo>
                      <a:pt x="13" y="3"/>
                    </a:moveTo>
                    <a:lnTo>
                      <a:pt x="24" y="4"/>
                    </a:lnTo>
                    <a:lnTo>
                      <a:pt x="39" y="0"/>
                    </a:lnTo>
                    <a:lnTo>
                      <a:pt x="49" y="9"/>
                    </a:lnTo>
                    <a:lnTo>
                      <a:pt x="58" y="14"/>
                    </a:lnTo>
                    <a:lnTo>
                      <a:pt x="57" y="27"/>
                    </a:lnTo>
                    <a:lnTo>
                      <a:pt x="53" y="28"/>
                    </a:lnTo>
                    <a:lnTo>
                      <a:pt x="51" y="40"/>
                    </a:lnTo>
                    <a:lnTo>
                      <a:pt x="37" y="30"/>
                    </a:lnTo>
                    <a:lnTo>
                      <a:pt x="29" y="32"/>
                    </a:lnTo>
                    <a:lnTo>
                      <a:pt x="17" y="22"/>
                    </a:lnTo>
                    <a:lnTo>
                      <a:pt x="10" y="14"/>
                    </a:lnTo>
                    <a:lnTo>
                      <a:pt x="3" y="14"/>
                    </a:lnTo>
                    <a:lnTo>
                      <a:pt x="0" y="7"/>
                    </a:lnTo>
                    <a:lnTo>
                      <a:pt x="13" y="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9" name="Freeform 19"/>
              <p:cNvSpPr>
                <a:spLocks/>
              </p:cNvSpPr>
              <p:nvPr/>
            </p:nvSpPr>
            <p:spPr bwMode="auto">
              <a:xfrm>
                <a:off x="4203700" y="3505200"/>
                <a:ext cx="88900" cy="201613"/>
              </a:xfrm>
              <a:custGeom>
                <a:avLst/>
                <a:gdLst>
                  <a:gd name="T0" fmla="*/ 36 w 56"/>
                  <a:gd name="T1" fmla="*/ 124 h 127"/>
                  <a:gd name="T2" fmla="*/ 20 w 56"/>
                  <a:gd name="T3" fmla="*/ 127 h 127"/>
                  <a:gd name="T4" fmla="*/ 16 w 56"/>
                  <a:gd name="T5" fmla="*/ 113 h 127"/>
                  <a:gd name="T6" fmla="*/ 17 w 56"/>
                  <a:gd name="T7" fmla="*/ 65 h 127"/>
                  <a:gd name="T8" fmla="*/ 13 w 56"/>
                  <a:gd name="T9" fmla="*/ 61 h 127"/>
                  <a:gd name="T10" fmla="*/ 12 w 56"/>
                  <a:gd name="T11" fmla="*/ 50 h 127"/>
                  <a:gd name="T12" fmla="*/ 6 w 56"/>
                  <a:gd name="T13" fmla="*/ 43 h 127"/>
                  <a:gd name="T14" fmla="*/ 0 w 56"/>
                  <a:gd name="T15" fmla="*/ 37 h 127"/>
                  <a:gd name="T16" fmla="*/ 3 w 56"/>
                  <a:gd name="T17" fmla="*/ 26 h 127"/>
                  <a:gd name="T18" fmla="*/ 9 w 56"/>
                  <a:gd name="T19" fmla="*/ 23 h 127"/>
                  <a:gd name="T20" fmla="*/ 13 w 56"/>
                  <a:gd name="T21" fmla="*/ 14 h 127"/>
                  <a:gd name="T22" fmla="*/ 22 w 56"/>
                  <a:gd name="T23" fmla="*/ 13 h 127"/>
                  <a:gd name="T24" fmla="*/ 26 w 56"/>
                  <a:gd name="T25" fmla="*/ 6 h 127"/>
                  <a:gd name="T26" fmla="*/ 32 w 56"/>
                  <a:gd name="T27" fmla="*/ 0 h 127"/>
                  <a:gd name="T28" fmla="*/ 38 w 56"/>
                  <a:gd name="T29" fmla="*/ 0 h 127"/>
                  <a:gd name="T30" fmla="*/ 52 w 56"/>
                  <a:gd name="T31" fmla="*/ 12 h 127"/>
                  <a:gd name="T32" fmla="*/ 52 w 56"/>
                  <a:gd name="T33" fmla="*/ 19 h 127"/>
                  <a:gd name="T34" fmla="*/ 56 w 56"/>
                  <a:gd name="T35" fmla="*/ 31 h 127"/>
                  <a:gd name="T36" fmla="*/ 52 w 56"/>
                  <a:gd name="T37" fmla="*/ 40 h 127"/>
                  <a:gd name="T38" fmla="*/ 54 w 56"/>
                  <a:gd name="T39" fmla="*/ 45 h 127"/>
                  <a:gd name="T40" fmla="*/ 45 w 56"/>
                  <a:gd name="T41" fmla="*/ 58 h 127"/>
                  <a:gd name="T42" fmla="*/ 40 w 56"/>
                  <a:gd name="T43" fmla="*/ 64 h 127"/>
                  <a:gd name="T44" fmla="*/ 36 w 56"/>
                  <a:gd name="T45" fmla="*/ 78 h 127"/>
                  <a:gd name="T46" fmla="*/ 37 w 56"/>
                  <a:gd name="T47" fmla="*/ 91 h 127"/>
                  <a:gd name="T48" fmla="*/ 36 w 56"/>
                  <a:gd name="T49" fmla="*/ 124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6" h="127">
                    <a:moveTo>
                      <a:pt x="36" y="124"/>
                    </a:moveTo>
                    <a:lnTo>
                      <a:pt x="20" y="127"/>
                    </a:lnTo>
                    <a:lnTo>
                      <a:pt x="16" y="113"/>
                    </a:lnTo>
                    <a:lnTo>
                      <a:pt x="17" y="65"/>
                    </a:lnTo>
                    <a:lnTo>
                      <a:pt x="13" y="61"/>
                    </a:lnTo>
                    <a:lnTo>
                      <a:pt x="12" y="50"/>
                    </a:lnTo>
                    <a:lnTo>
                      <a:pt x="6" y="43"/>
                    </a:lnTo>
                    <a:lnTo>
                      <a:pt x="0" y="37"/>
                    </a:lnTo>
                    <a:lnTo>
                      <a:pt x="3" y="26"/>
                    </a:lnTo>
                    <a:lnTo>
                      <a:pt x="9" y="23"/>
                    </a:lnTo>
                    <a:lnTo>
                      <a:pt x="13" y="14"/>
                    </a:lnTo>
                    <a:lnTo>
                      <a:pt x="22" y="13"/>
                    </a:lnTo>
                    <a:lnTo>
                      <a:pt x="26" y="6"/>
                    </a:lnTo>
                    <a:lnTo>
                      <a:pt x="32" y="0"/>
                    </a:lnTo>
                    <a:lnTo>
                      <a:pt x="38" y="0"/>
                    </a:lnTo>
                    <a:lnTo>
                      <a:pt x="52" y="12"/>
                    </a:lnTo>
                    <a:lnTo>
                      <a:pt x="52" y="19"/>
                    </a:lnTo>
                    <a:lnTo>
                      <a:pt x="56" y="31"/>
                    </a:lnTo>
                    <a:lnTo>
                      <a:pt x="52" y="40"/>
                    </a:lnTo>
                    <a:lnTo>
                      <a:pt x="54" y="45"/>
                    </a:lnTo>
                    <a:lnTo>
                      <a:pt x="45" y="58"/>
                    </a:lnTo>
                    <a:lnTo>
                      <a:pt x="40" y="64"/>
                    </a:lnTo>
                    <a:lnTo>
                      <a:pt x="36" y="78"/>
                    </a:lnTo>
                    <a:lnTo>
                      <a:pt x="37" y="91"/>
                    </a:lnTo>
                    <a:lnTo>
                      <a:pt x="36" y="124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0" name="Freeform 20"/>
              <p:cNvSpPr>
                <a:spLocks/>
              </p:cNvSpPr>
              <p:nvPr/>
            </p:nvSpPr>
            <p:spPr bwMode="auto">
              <a:xfrm>
                <a:off x="4022725" y="3409950"/>
                <a:ext cx="222250" cy="182563"/>
              </a:xfrm>
              <a:custGeom>
                <a:avLst/>
                <a:gdLst>
                  <a:gd name="T0" fmla="*/ 49 w 140"/>
                  <a:gd name="T1" fmla="*/ 114 h 115"/>
                  <a:gd name="T2" fmla="*/ 36 w 140"/>
                  <a:gd name="T3" fmla="*/ 109 h 115"/>
                  <a:gd name="T4" fmla="*/ 28 w 140"/>
                  <a:gd name="T5" fmla="*/ 110 h 115"/>
                  <a:gd name="T6" fmla="*/ 21 w 140"/>
                  <a:gd name="T7" fmla="*/ 115 h 115"/>
                  <a:gd name="T8" fmla="*/ 13 w 140"/>
                  <a:gd name="T9" fmla="*/ 110 h 115"/>
                  <a:gd name="T10" fmla="*/ 10 w 140"/>
                  <a:gd name="T11" fmla="*/ 103 h 115"/>
                  <a:gd name="T12" fmla="*/ 1 w 140"/>
                  <a:gd name="T13" fmla="*/ 99 h 115"/>
                  <a:gd name="T14" fmla="*/ 0 w 140"/>
                  <a:gd name="T15" fmla="*/ 87 h 115"/>
                  <a:gd name="T16" fmla="*/ 5 w 140"/>
                  <a:gd name="T17" fmla="*/ 78 h 115"/>
                  <a:gd name="T18" fmla="*/ 5 w 140"/>
                  <a:gd name="T19" fmla="*/ 71 h 115"/>
                  <a:gd name="T20" fmla="*/ 19 w 140"/>
                  <a:gd name="T21" fmla="*/ 54 h 115"/>
                  <a:gd name="T22" fmla="*/ 22 w 140"/>
                  <a:gd name="T23" fmla="*/ 40 h 115"/>
                  <a:gd name="T24" fmla="*/ 27 w 140"/>
                  <a:gd name="T25" fmla="*/ 34 h 115"/>
                  <a:gd name="T26" fmla="*/ 36 w 140"/>
                  <a:gd name="T27" fmla="*/ 37 h 115"/>
                  <a:gd name="T28" fmla="*/ 44 w 140"/>
                  <a:gd name="T29" fmla="*/ 33 h 115"/>
                  <a:gd name="T30" fmla="*/ 46 w 140"/>
                  <a:gd name="T31" fmla="*/ 28 h 115"/>
                  <a:gd name="T32" fmla="*/ 61 w 140"/>
                  <a:gd name="T33" fmla="*/ 18 h 115"/>
                  <a:gd name="T34" fmla="*/ 64 w 140"/>
                  <a:gd name="T35" fmla="*/ 12 h 115"/>
                  <a:gd name="T36" fmla="*/ 81 w 140"/>
                  <a:gd name="T37" fmla="*/ 3 h 115"/>
                  <a:gd name="T38" fmla="*/ 91 w 140"/>
                  <a:gd name="T39" fmla="*/ 0 h 115"/>
                  <a:gd name="T40" fmla="*/ 95 w 140"/>
                  <a:gd name="T41" fmla="*/ 4 h 115"/>
                  <a:gd name="T42" fmla="*/ 107 w 140"/>
                  <a:gd name="T43" fmla="*/ 4 h 115"/>
                  <a:gd name="T44" fmla="*/ 106 w 140"/>
                  <a:gd name="T45" fmla="*/ 14 h 115"/>
                  <a:gd name="T46" fmla="*/ 108 w 140"/>
                  <a:gd name="T47" fmla="*/ 24 h 115"/>
                  <a:gd name="T48" fmla="*/ 118 w 140"/>
                  <a:gd name="T49" fmla="*/ 37 h 115"/>
                  <a:gd name="T50" fmla="*/ 119 w 140"/>
                  <a:gd name="T51" fmla="*/ 47 h 115"/>
                  <a:gd name="T52" fmla="*/ 140 w 140"/>
                  <a:gd name="T53" fmla="*/ 52 h 115"/>
                  <a:gd name="T54" fmla="*/ 140 w 140"/>
                  <a:gd name="T55" fmla="*/ 66 h 115"/>
                  <a:gd name="T56" fmla="*/ 136 w 140"/>
                  <a:gd name="T57" fmla="*/ 73 h 115"/>
                  <a:gd name="T58" fmla="*/ 127 w 140"/>
                  <a:gd name="T59" fmla="*/ 74 h 115"/>
                  <a:gd name="T60" fmla="*/ 123 w 140"/>
                  <a:gd name="T61" fmla="*/ 83 h 115"/>
                  <a:gd name="T62" fmla="*/ 117 w 140"/>
                  <a:gd name="T63" fmla="*/ 86 h 115"/>
                  <a:gd name="T64" fmla="*/ 101 w 140"/>
                  <a:gd name="T65" fmla="*/ 85 h 115"/>
                  <a:gd name="T66" fmla="*/ 92 w 140"/>
                  <a:gd name="T67" fmla="*/ 84 h 115"/>
                  <a:gd name="T68" fmla="*/ 86 w 140"/>
                  <a:gd name="T69" fmla="*/ 87 h 115"/>
                  <a:gd name="T70" fmla="*/ 78 w 140"/>
                  <a:gd name="T71" fmla="*/ 86 h 115"/>
                  <a:gd name="T72" fmla="*/ 47 w 140"/>
                  <a:gd name="T73" fmla="*/ 87 h 115"/>
                  <a:gd name="T74" fmla="*/ 46 w 140"/>
                  <a:gd name="T75" fmla="*/ 98 h 115"/>
                  <a:gd name="T76" fmla="*/ 49 w 140"/>
                  <a:gd name="T77" fmla="*/ 114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40" h="115">
                    <a:moveTo>
                      <a:pt x="49" y="114"/>
                    </a:moveTo>
                    <a:lnTo>
                      <a:pt x="36" y="109"/>
                    </a:lnTo>
                    <a:lnTo>
                      <a:pt x="28" y="110"/>
                    </a:lnTo>
                    <a:lnTo>
                      <a:pt x="21" y="115"/>
                    </a:lnTo>
                    <a:lnTo>
                      <a:pt x="13" y="110"/>
                    </a:lnTo>
                    <a:lnTo>
                      <a:pt x="10" y="103"/>
                    </a:lnTo>
                    <a:lnTo>
                      <a:pt x="1" y="99"/>
                    </a:lnTo>
                    <a:lnTo>
                      <a:pt x="0" y="87"/>
                    </a:lnTo>
                    <a:lnTo>
                      <a:pt x="5" y="78"/>
                    </a:lnTo>
                    <a:lnTo>
                      <a:pt x="5" y="71"/>
                    </a:lnTo>
                    <a:lnTo>
                      <a:pt x="19" y="54"/>
                    </a:lnTo>
                    <a:lnTo>
                      <a:pt x="22" y="40"/>
                    </a:lnTo>
                    <a:lnTo>
                      <a:pt x="27" y="34"/>
                    </a:lnTo>
                    <a:lnTo>
                      <a:pt x="36" y="37"/>
                    </a:lnTo>
                    <a:lnTo>
                      <a:pt x="44" y="33"/>
                    </a:lnTo>
                    <a:lnTo>
                      <a:pt x="46" y="28"/>
                    </a:lnTo>
                    <a:lnTo>
                      <a:pt x="61" y="18"/>
                    </a:lnTo>
                    <a:lnTo>
                      <a:pt x="64" y="12"/>
                    </a:lnTo>
                    <a:lnTo>
                      <a:pt x="81" y="3"/>
                    </a:lnTo>
                    <a:lnTo>
                      <a:pt x="91" y="0"/>
                    </a:lnTo>
                    <a:lnTo>
                      <a:pt x="95" y="4"/>
                    </a:lnTo>
                    <a:lnTo>
                      <a:pt x="107" y="4"/>
                    </a:lnTo>
                    <a:lnTo>
                      <a:pt x="106" y="14"/>
                    </a:lnTo>
                    <a:lnTo>
                      <a:pt x="108" y="24"/>
                    </a:lnTo>
                    <a:lnTo>
                      <a:pt x="118" y="37"/>
                    </a:lnTo>
                    <a:lnTo>
                      <a:pt x="119" y="47"/>
                    </a:lnTo>
                    <a:lnTo>
                      <a:pt x="140" y="52"/>
                    </a:lnTo>
                    <a:lnTo>
                      <a:pt x="140" y="66"/>
                    </a:lnTo>
                    <a:lnTo>
                      <a:pt x="136" y="73"/>
                    </a:lnTo>
                    <a:lnTo>
                      <a:pt x="127" y="74"/>
                    </a:lnTo>
                    <a:lnTo>
                      <a:pt x="123" y="83"/>
                    </a:lnTo>
                    <a:lnTo>
                      <a:pt x="117" y="86"/>
                    </a:lnTo>
                    <a:lnTo>
                      <a:pt x="101" y="85"/>
                    </a:lnTo>
                    <a:lnTo>
                      <a:pt x="92" y="84"/>
                    </a:lnTo>
                    <a:lnTo>
                      <a:pt x="86" y="87"/>
                    </a:lnTo>
                    <a:lnTo>
                      <a:pt x="78" y="86"/>
                    </a:lnTo>
                    <a:lnTo>
                      <a:pt x="47" y="87"/>
                    </a:lnTo>
                    <a:lnTo>
                      <a:pt x="46" y="98"/>
                    </a:lnTo>
                    <a:lnTo>
                      <a:pt x="49" y="114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1" name="Freeform 21"/>
              <p:cNvSpPr>
                <a:spLocks/>
              </p:cNvSpPr>
              <p:nvPr/>
            </p:nvSpPr>
            <p:spPr bwMode="auto">
              <a:xfrm>
                <a:off x="6677025" y="3036887"/>
                <a:ext cx="153988" cy="190500"/>
              </a:xfrm>
              <a:custGeom>
                <a:avLst/>
                <a:gdLst>
                  <a:gd name="T0" fmla="*/ 94 w 97"/>
                  <a:gd name="T1" fmla="*/ 92 h 120"/>
                  <a:gd name="T2" fmla="*/ 97 w 97"/>
                  <a:gd name="T3" fmla="*/ 106 h 120"/>
                  <a:gd name="T4" fmla="*/ 90 w 97"/>
                  <a:gd name="T5" fmla="*/ 103 h 120"/>
                  <a:gd name="T6" fmla="*/ 94 w 97"/>
                  <a:gd name="T7" fmla="*/ 120 h 120"/>
                  <a:gd name="T8" fmla="*/ 87 w 97"/>
                  <a:gd name="T9" fmla="*/ 109 h 120"/>
                  <a:gd name="T10" fmla="*/ 84 w 97"/>
                  <a:gd name="T11" fmla="*/ 99 h 120"/>
                  <a:gd name="T12" fmla="*/ 79 w 97"/>
                  <a:gd name="T13" fmla="*/ 89 h 120"/>
                  <a:gd name="T14" fmla="*/ 69 w 97"/>
                  <a:gd name="T15" fmla="*/ 76 h 120"/>
                  <a:gd name="T16" fmla="*/ 53 w 97"/>
                  <a:gd name="T17" fmla="*/ 76 h 120"/>
                  <a:gd name="T18" fmla="*/ 56 w 97"/>
                  <a:gd name="T19" fmla="*/ 84 h 120"/>
                  <a:gd name="T20" fmla="*/ 52 w 97"/>
                  <a:gd name="T21" fmla="*/ 96 h 120"/>
                  <a:gd name="T22" fmla="*/ 44 w 97"/>
                  <a:gd name="T23" fmla="*/ 92 h 120"/>
                  <a:gd name="T24" fmla="*/ 42 w 97"/>
                  <a:gd name="T25" fmla="*/ 95 h 120"/>
                  <a:gd name="T26" fmla="*/ 36 w 97"/>
                  <a:gd name="T27" fmla="*/ 93 h 120"/>
                  <a:gd name="T28" fmla="*/ 29 w 97"/>
                  <a:gd name="T29" fmla="*/ 91 h 120"/>
                  <a:gd name="T30" fmla="*/ 23 w 97"/>
                  <a:gd name="T31" fmla="*/ 74 h 120"/>
                  <a:gd name="T32" fmla="*/ 14 w 97"/>
                  <a:gd name="T33" fmla="*/ 58 h 120"/>
                  <a:gd name="T34" fmla="*/ 15 w 97"/>
                  <a:gd name="T35" fmla="*/ 46 h 120"/>
                  <a:gd name="T36" fmla="*/ 3 w 97"/>
                  <a:gd name="T37" fmla="*/ 40 h 120"/>
                  <a:gd name="T38" fmla="*/ 6 w 97"/>
                  <a:gd name="T39" fmla="*/ 33 h 120"/>
                  <a:gd name="T40" fmla="*/ 16 w 97"/>
                  <a:gd name="T41" fmla="*/ 25 h 120"/>
                  <a:gd name="T42" fmla="*/ 0 w 97"/>
                  <a:gd name="T43" fmla="*/ 14 h 120"/>
                  <a:gd name="T44" fmla="*/ 4 w 97"/>
                  <a:gd name="T45" fmla="*/ 0 h 120"/>
                  <a:gd name="T46" fmla="*/ 20 w 97"/>
                  <a:gd name="T47" fmla="*/ 9 h 120"/>
                  <a:gd name="T48" fmla="*/ 28 w 97"/>
                  <a:gd name="T49" fmla="*/ 10 h 120"/>
                  <a:gd name="T50" fmla="*/ 33 w 97"/>
                  <a:gd name="T51" fmla="*/ 24 h 120"/>
                  <a:gd name="T52" fmla="*/ 50 w 97"/>
                  <a:gd name="T53" fmla="*/ 27 h 120"/>
                  <a:gd name="T54" fmla="*/ 67 w 97"/>
                  <a:gd name="T55" fmla="*/ 27 h 120"/>
                  <a:gd name="T56" fmla="*/ 78 w 97"/>
                  <a:gd name="T57" fmla="*/ 31 h 120"/>
                  <a:gd name="T58" fmla="*/ 73 w 97"/>
                  <a:gd name="T59" fmla="*/ 48 h 120"/>
                  <a:gd name="T60" fmla="*/ 65 w 97"/>
                  <a:gd name="T61" fmla="*/ 49 h 120"/>
                  <a:gd name="T62" fmla="*/ 62 w 97"/>
                  <a:gd name="T63" fmla="*/ 61 h 120"/>
                  <a:gd name="T64" fmla="*/ 74 w 97"/>
                  <a:gd name="T65" fmla="*/ 72 h 120"/>
                  <a:gd name="T66" fmla="*/ 74 w 97"/>
                  <a:gd name="T67" fmla="*/ 59 h 120"/>
                  <a:gd name="T68" fmla="*/ 79 w 97"/>
                  <a:gd name="T69" fmla="*/ 59 h 120"/>
                  <a:gd name="T70" fmla="*/ 94 w 97"/>
                  <a:gd name="T71" fmla="*/ 9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7" h="120">
                    <a:moveTo>
                      <a:pt x="94" y="92"/>
                    </a:moveTo>
                    <a:lnTo>
                      <a:pt x="97" y="106"/>
                    </a:lnTo>
                    <a:lnTo>
                      <a:pt x="90" y="103"/>
                    </a:lnTo>
                    <a:lnTo>
                      <a:pt x="94" y="120"/>
                    </a:lnTo>
                    <a:lnTo>
                      <a:pt x="87" y="109"/>
                    </a:lnTo>
                    <a:lnTo>
                      <a:pt x="84" y="99"/>
                    </a:lnTo>
                    <a:lnTo>
                      <a:pt x="79" y="89"/>
                    </a:lnTo>
                    <a:lnTo>
                      <a:pt x="69" y="76"/>
                    </a:lnTo>
                    <a:lnTo>
                      <a:pt x="53" y="76"/>
                    </a:lnTo>
                    <a:lnTo>
                      <a:pt x="56" y="84"/>
                    </a:lnTo>
                    <a:lnTo>
                      <a:pt x="52" y="96"/>
                    </a:lnTo>
                    <a:lnTo>
                      <a:pt x="44" y="92"/>
                    </a:lnTo>
                    <a:lnTo>
                      <a:pt x="42" y="95"/>
                    </a:lnTo>
                    <a:lnTo>
                      <a:pt x="36" y="93"/>
                    </a:lnTo>
                    <a:lnTo>
                      <a:pt x="29" y="91"/>
                    </a:lnTo>
                    <a:lnTo>
                      <a:pt x="23" y="74"/>
                    </a:lnTo>
                    <a:lnTo>
                      <a:pt x="14" y="58"/>
                    </a:lnTo>
                    <a:lnTo>
                      <a:pt x="15" y="46"/>
                    </a:lnTo>
                    <a:lnTo>
                      <a:pt x="3" y="40"/>
                    </a:lnTo>
                    <a:lnTo>
                      <a:pt x="6" y="33"/>
                    </a:lnTo>
                    <a:lnTo>
                      <a:pt x="16" y="25"/>
                    </a:lnTo>
                    <a:lnTo>
                      <a:pt x="0" y="14"/>
                    </a:lnTo>
                    <a:lnTo>
                      <a:pt x="4" y="0"/>
                    </a:lnTo>
                    <a:lnTo>
                      <a:pt x="20" y="9"/>
                    </a:lnTo>
                    <a:lnTo>
                      <a:pt x="28" y="10"/>
                    </a:lnTo>
                    <a:lnTo>
                      <a:pt x="33" y="24"/>
                    </a:lnTo>
                    <a:lnTo>
                      <a:pt x="50" y="27"/>
                    </a:lnTo>
                    <a:lnTo>
                      <a:pt x="67" y="27"/>
                    </a:lnTo>
                    <a:lnTo>
                      <a:pt x="78" y="31"/>
                    </a:lnTo>
                    <a:lnTo>
                      <a:pt x="73" y="48"/>
                    </a:lnTo>
                    <a:lnTo>
                      <a:pt x="65" y="49"/>
                    </a:lnTo>
                    <a:lnTo>
                      <a:pt x="62" y="61"/>
                    </a:lnTo>
                    <a:lnTo>
                      <a:pt x="74" y="72"/>
                    </a:lnTo>
                    <a:lnTo>
                      <a:pt x="74" y="59"/>
                    </a:lnTo>
                    <a:lnTo>
                      <a:pt x="79" y="59"/>
                    </a:lnTo>
                    <a:lnTo>
                      <a:pt x="94" y="92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2" name="Freeform 22"/>
              <p:cNvSpPr>
                <a:spLocks/>
              </p:cNvSpPr>
              <p:nvPr/>
            </p:nvSpPr>
            <p:spPr bwMode="auto">
              <a:xfrm>
                <a:off x="4772025" y="2452687"/>
                <a:ext cx="161925" cy="98425"/>
              </a:xfrm>
              <a:custGeom>
                <a:avLst/>
                <a:gdLst>
                  <a:gd name="T0" fmla="*/ 3 w 102"/>
                  <a:gd name="T1" fmla="*/ 0 h 62"/>
                  <a:gd name="T2" fmla="*/ 9 w 102"/>
                  <a:gd name="T3" fmla="*/ 9 h 62"/>
                  <a:gd name="T4" fmla="*/ 15 w 102"/>
                  <a:gd name="T5" fmla="*/ 7 h 62"/>
                  <a:gd name="T6" fmla="*/ 28 w 102"/>
                  <a:gd name="T7" fmla="*/ 10 h 62"/>
                  <a:gd name="T8" fmla="*/ 53 w 102"/>
                  <a:gd name="T9" fmla="*/ 12 h 62"/>
                  <a:gd name="T10" fmla="*/ 60 w 102"/>
                  <a:gd name="T11" fmla="*/ 6 h 62"/>
                  <a:gd name="T12" fmla="*/ 80 w 102"/>
                  <a:gd name="T13" fmla="*/ 2 h 62"/>
                  <a:gd name="T14" fmla="*/ 92 w 102"/>
                  <a:gd name="T15" fmla="*/ 9 h 62"/>
                  <a:gd name="T16" fmla="*/ 102 w 102"/>
                  <a:gd name="T17" fmla="*/ 11 h 62"/>
                  <a:gd name="T18" fmla="*/ 95 w 102"/>
                  <a:gd name="T19" fmla="*/ 20 h 62"/>
                  <a:gd name="T20" fmla="*/ 91 w 102"/>
                  <a:gd name="T21" fmla="*/ 34 h 62"/>
                  <a:gd name="T22" fmla="*/ 98 w 102"/>
                  <a:gd name="T23" fmla="*/ 46 h 62"/>
                  <a:gd name="T24" fmla="*/ 83 w 102"/>
                  <a:gd name="T25" fmla="*/ 43 h 62"/>
                  <a:gd name="T26" fmla="*/ 66 w 102"/>
                  <a:gd name="T27" fmla="*/ 50 h 62"/>
                  <a:gd name="T28" fmla="*/ 67 w 102"/>
                  <a:gd name="T29" fmla="*/ 60 h 62"/>
                  <a:gd name="T30" fmla="*/ 52 w 102"/>
                  <a:gd name="T31" fmla="*/ 62 h 62"/>
                  <a:gd name="T32" fmla="*/ 40 w 102"/>
                  <a:gd name="T33" fmla="*/ 55 h 62"/>
                  <a:gd name="T34" fmla="*/ 27 w 102"/>
                  <a:gd name="T35" fmla="*/ 60 h 62"/>
                  <a:gd name="T36" fmla="*/ 14 w 102"/>
                  <a:gd name="T37" fmla="*/ 60 h 62"/>
                  <a:gd name="T38" fmla="*/ 12 w 102"/>
                  <a:gd name="T39" fmla="*/ 46 h 62"/>
                  <a:gd name="T40" fmla="*/ 3 w 102"/>
                  <a:gd name="T41" fmla="*/ 40 h 62"/>
                  <a:gd name="T42" fmla="*/ 5 w 102"/>
                  <a:gd name="T43" fmla="*/ 37 h 62"/>
                  <a:gd name="T44" fmla="*/ 3 w 102"/>
                  <a:gd name="T45" fmla="*/ 34 h 62"/>
                  <a:gd name="T46" fmla="*/ 5 w 102"/>
                  <a:gd name="T47" fmla="*/ 28 h 62"/>
                  <a:gd name="T48" fmla="*/ 11 w 102"/>
                  <a:gd name="T49" fmla="*/ 21 h 62"/>
                  <a:gd name="T50" fmla="*/ 2 w 102"/>
                  <a:gd name="T51" fmla="*/ 13 h 62"/>
                  <a:gd name="T52" fmla="*/ 0 w 102"/>
                  <a:gd name="T53" fmla="*/ 5 h 62"/>
                  <a:gd name="T54" fmla="*/ 3 w 102"/>
                  <a:gd name="T5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02" h="62">
                    <a:moveTo>
                      <a:pt x="3" y="0"/>
                    </a:moveTo>
                    <a:lnTo>
                      <a:pt x="9" y="9"/>
                    </a:lnTo>
                    <a:lnTo>
                      <a:pt x="15" y="7"/>
                    </a:lnTo>
                    <a:lnTo>
                      <a:pt x="28" y="10"/>
                    </a:lnTo>
                    <a:lnTo>
                      <a:pt x="53" y="12"/>
                    </a:lnTo>
                    <a:lnTo>
                      <a:pt x="60" y="6"/>
                    </a:lnTo>
                    <a:lnTo>
                      <a:pt x="80" y="2"/>
                    </a:lnTo>
                    <a:lnTo>
                      <a:pt x="92" y="9"/>
                    </a:lnTo>
                    <a:lnTo>
                      <a:pt x="102" y="11"/>
                    </a:lnTo>
                    <a:lnTo>
                      <a:pt x="95" y="20"/>
                    </a:lnTo>
                    <a:lnTo>
                      <a:pt x="91" y="34"/>
                    </a:lnTo>
                    <a:lnTo>
                      <a:pt x="98" y="46"/>
                    </a:lnTo>
                    <a:lnTo>
                      <a:pt x="83" y="43"/>
                    </a:lnTo>
                    <a:lnTo>
                      <a:pt x="66" y="50"/>
                    </a:lnTo>
                    <a:lnTo>
                      <a:pt x="67" y="60"/>
                    </a:lnTo>
                    <a:lnTo>
                      <a:pt x="52" y="62"/>
                    </a:lnTo>
                    <a:lnTo>
                      <a:pt x="40" y="55"/>
                    </a:lnTo>
                    <a:lnTo>
                      <a:pt x="27" y="60"/>
                    </a:lnTo>
                    <a:lnTo>
                      <a:pt x="14" y="60"/>
                    </a:lnTo>
                    <a:lnTo>
                      <a:pt x="12" y="46"/>
                    </a:lnTo>
                    <a:lnTo>
                      <a:pt x="3" y="40"/>
                    </a:lnTo>
                    <a:lnTo>
                      <a:pt x="5" y="37"/>
                    </a:lnTo>
                    <a:lnTo>
                      <a:pt x="3" y="34"/>
                    </a:lnTo>
                    <a:lnTo>
                      <a:pt x="5" y="28"/>
                    </a:lnTo>
                    <a:lnTo>
                      <a:pt x="11" y="21"/>
                    </a:lnTo>
                    <a:lnTo>
                      <a:pt x="2" y="13"/>
                    </a:lnTo>
                    <a:lnTo>
                      <a:pt x="0" y="5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3" name="Freeform 23"/>
              <p:cNvSpPr>
                <a:spLocks/>
              </p:cNvSpPr>
              <p:nvPr/>
            </p:nvSpPr>
            <p:spPr bwMode="auto">
              <a:xfrm>
                <a:off x="1957387" y="3078162"/>
                <a:ext cx="23813" cy="49213"/>
              </a:xfrm>
              <a:custGeom>
                <a:avLst/>
                <a:gdLst>
                  <a:gd name="T0" fmla="*/ 13 w 15"/>
                  <a:gd name="T1" fmla="*/ 30 h 31"/>
                  <a:gd name="T2" fmla="*/ 8 w 15"/>
                  <a:gd name="T3" fmla="*/ 31 h 31"/>
                  <a:gd name="T4" fmla="*/ 5 w 15"/>
                  <a:gd name="T5" fmla="*/ 19 h 31"/>
                  <a:gd name="T6" fmla="*/ 0 w 15"/>
                  <a:gd name="T7" fmla="*/ 13 h 31"/>
                  <a:gd name="T8" fmla="*/ 6 w 15"/>
                  <a:gd name="T9" fmla="*/ 0 h 31"/>
                  <a:gd name="T10" fmla="*/ 11 w 15"/>
                  <a:gd name="T11" fmla="*/ 0 h 31"/>
                  <a:gd name="T12" fmla="*/ 15 w 15"/>
                  <a:gd name="T13" fmla="*/ 18 h 31"/>
                  <a:gd name="T14" fmla="*/ 13 w 15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1">
                    <a:moveTo>
                      <a:pt x="13" y="30"/>
                    </a:moveTo>
                    <a:lnTo>
                      <a:pt x="8" y="31"/>
                    </a:lnTo>
                    <a:lnTo>
                      <a:pt x="5" y="19"/>
                    </a:lnTo>
                    <a:lnTo>
                      <a:pt x="0" y="13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5" y="18"/>
                    </a:lnTo>
                    <a:lnTo>
                      <a:pt x="13" y="3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4" name="Freeform 24"/>
              <p:cNvSpPr>
                <a:spLocks/>
              </p:cNvSpPr>
              <p:nvPr/>
            </p:nvSpPr>
            <p:spPr bwMode="auto">
              <a:xfrm>
                <a:off x="1952625" y="3022600"/>
                <a:ext cx="33338" cy="15875"/>
              </a:xfrm>
              <a:custGeom>
                <a:avLst/>
                <a:gdLst>
                  <a:gd name="T0" fmla="*/ 20 w 21"/>
                  <a:gd name="T1" fmla="*/ 6 h 10"/>
                  <a:gd name="T2" fmla="*/ 0 w 21"/>
                  <a:gd name="T3" fmla="*/ 10 h 10"/>
                  <a:gd name="T4" fmla="*/ 0 w 21"/>
                  <a:gd name="T5" fmla="*/ 2 h 10"/>
                  <a:gd name="T6" fmla="*/ 9 w 21"/>
                  <a:gd name="T7" fmla="*/ 0 h 10"/>
                  <a:gd name="T8" fmla="*/ 21 w 21"/>
                  <a:gd name="T9" fmla="*/ 1 h 10"/>
                  <a:gd name="T10" fmla="*/ 20 w 21"/>
                  <a:gd name="T1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10">
                    <a:moveTo>
                      <a:pt x="20" y="6"/>
                    </a:moveTo>
                    <a:lnTo>
                      <a:pt x="0" y="10"/>
                    </a:lnTo>
                    <a:lnTo>
                      <a:pt x="0" y="2"/>
                    </a:lnTo>
                    <a:lnTo>
                      <a:pt x="9" y="0"/>
                    </a:lnTo>
                    <a:lnTo>
                      <a:pt x="21" y="1"/>
                    </a:lnTo>
                    <a:lnTo>
                      <a:pt x="20" y="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5" name="Freeform 25"/>
              <p:cNvSpPr>
                <a:spLocks/>
              </p:cNvSpPr>
              <p:nvPr/>
            </p:nvSpPr>
            <p:spPr bwMode="auto">
              <a:xfrm>
                <a:off x="1987550" y="3017837"/>
                <a:ext cx="20638" cy="38100"/>
              </a:xfrm>
              <a:custGeom>
                <a:avLst/>
                <a:gdLst>
                  <a:gd name="T0" fmla="*/ 13 w 13"/>
                  <a:gd name="T1" fmla="*/ 9 h 24"/>
                  <a:gd name="T2" fmla="*/ 7 w 13"/>
                  <a:gd name="T3" fmla="*/ 24 h 24"/>
                  <a:gd name="T4" fmla="*/ 5 w 13"/>
                  <a:gd name="T5" fmla="*/ 21 h 24"/>
                  <a:gd name="T6" fmla="*/ 7 w 13"/>
                  <a:gd name="T7" fmla="*/ 10 h 24"/>
                  <a:gd name="T8" fmla="*/ 0 w 13"/>
                  <a:gd name="T9" fmla="*/ 2 h 24"/>
                  <a:gd name="T10" fmla="*/ 1 w 13"/>
                  <a:gd name="T11" fmla="*/ 0 h 24"/>
                  <a:gd name="T12" fmla="*/ 13 w 13"/>
                  <a:gd name="T13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4">
                    <a:moveTo>
                      <a:pt x="13" y="9"/>
                    </a:moveTo>
                    <a:lnTo>
                      <a:pt x="7" y="24"/>
                    </a:lnTo>
                    <a:lnTo>
                      <a:pt x="5" y="21"/>
                    </a:lnTo>
                    <a:lnTo>
                      <a:pt x="7" y="1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6" name="Freeform 26"/>
              <p:cNvSpPr>
                <a:spLocks/>
              </p:cNvSpPr>
              <p:nvPr/>
            </p:nvSpPr>
            <p:spPr bwMode="auto">
              <a:xfrm>
                <a:off x="4594225" y="2420937"/>
                <a:ext cx="103188" cy="84138"/>
              </a:xfrm>
              <a:custGeom>
                <a:avLst/>
                <a:gdLst>
                  <a:gd name="T0" fmla="*/ 54 w 65"/>
                  <a:gd name="T1" fmla="*/ 7 h 53"/>
                  <a:gd name="T2" fmla="*/ 60 w 65"/>
                  <a:gd name="T3" fmla="*/ 7 h 53"/>
                  <a:gd name="T4" fmla="*/ 56 w 65"/>
                  <a:gd name="T5" fmla="*/ 16 h 53"/>
                  <a:gd name="T6" fmla="*/ 65 w 65"/>
                  <a:gd name="T7" fmla="*/ 24 h 53"/>
                  <a:gd name="T8" fmla="*/ 64 w 65"/>
                  <a:gd name="T9" fmla="*/ 34 h 53"/>
                  <a:gd name="T10" fmla="*/ 60 w 65"/>
                  <a:gd name="T11" fmla="*/ 35 h 53"/>
                  <a:gd name="T12" fmla="*/ 57 w 65"/>
                  <a:gd name="T13" fmla="*/ 37 h 53"/>
                  <a:gd name="T14" fmla="*/ 52 w 65"/>
                  <a:gd name="T15" fmla="*/ 42 h 53"/>
                  <a:gd name="T16" fmla="*/ 50 w 65"/>
                  <a:gd name="T17" fmla="*/ 53 h 53"/>
                  <a:gd name="T18" fmla="*/ 35 w 65"/>
                  <a:gd name="T19" fmla="*/ 45 h 53"/>
                  <a:gd name="T20" fmla="*/ 28 w 65"/>
                  <a:gd name="T21" fmla="*/ 37 h 53"/>
                  <a:gd name="T22" fmla="*/ 21 w 65"/>
                  <a:gd name="T23" fmla="*/ 32 h 53"/>
                  <a:gd name="T24" fmla="*/ 13 w 65"/>
                  <a:gd name="T25" fmla="*/ 24 h 53"/>
                  <a:gd name="T26" fmla="*/ 9 w 65"/>
                  <a:gd name="T27" fmla="*/ 18 h 53"/>
                  <a:gd name="T28" fmla="*/ 0 w 65"/>
                  <a:gd name="T29" fmla="*/ 8 h 53"/>
                  <a:gd name="T30" fmla="*/ 3 w 65"/>
                  <a:gd name="T31" fmla="*/ 0 h 53"/>
                  <a:gd name="T32" fmla="*/ 9 w 65"/>
                  <a:gd name="T33" fmla="*/ 5 h 53"/>
                  <a:gd name="T34" fmla="*/ 13 w 65"/>
                  <a:gd name="T35" fmla="*/ 0 h 53"/>
                  <a:gd name="T36" fmla="*/ 20 w 65"/>
                  <a:gd name="T37" fmla="*/ 0 h 53"/>
                  <a:gd name="T38" fmla="*/ 35 w 65"/>
                  <a:gd name="T39" fmla="*/ 3 h 53"/>
                  <a:gd name="T40" fmla="*/ 46 w 65"/>
                  <a:gd name="T41" fmla="*/ 3 h 53"/>
                  <a:gd name="T42" fmla="*/ 54 w 65"/>
                  <a:gd name="T43" fmla="*/ 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5" h="53">
                    <a:moveTo>
                      <a:pt x="54" y="7"/>
                    </a:moveTo>
                    <a:lnTo>
                      <a:pt x="60" y="7"/>
                    </a:lnTo>
                    <a:lnTo>
                      <a:pt x="56" y="16"/>
                    </a:lnTo>
                    <a:lnTo>
                      <a:pt x="65" y="24"/>
                    </a:lnTo>
                    <a:lnTo>
                      <a:pt x="64" y="34"/>
                    </a:lnTo>
                    <a:lnTo>
                      <a:pt x="60" y="35"/>
                    </a:lnTo>
                    <a:lnTo>
                      <a:pt x="57" y="37"/>
                    </a:lnTo>
                    <a:lnTo>
                      <a:pt x="52" y="42"/>
                    </a:lnTo>
                    <a:lnTo>
                      <a:pt x="50" y="53"/>
                    </a:lnTo>
                    <a:lnTo>
                      <a:pt x="35" y="45"/>
                    </a:lnTo>
                    <a:lnTo>
                      <a:pt x="28" y="37"/>
                    </a:lnTo>
                    <a:lnTo>
                      <a:pt x="21" y="32"/>
                    </a:lnTo>
                    <a:lnTo>
                      <a:pt x="13" y="24"/>
                    </a:lnTo>
                    <a:lnTo>
                      <a:pt x="9" y="18"/>
                    </a:lnTo>
                    <a:lnTo>
                      <a:pt x="0" y="8"/>
                    </a:lnTo>
                    <a:lnTo>
                      <a:pt x="3" y="0"/>
                    </a:lnTo>
                    <a:lnTo>
                      <a:pt x="9" y="5"/>
                    </a:lnTo>
                    <a:lnTo>
                      <a:pt x="13" y="0"/>
                    </a:lnTo>
                    <a:lnTo>
                      <a:pt x="20" y="0"/>
                    </a:lnTo>
                    <a:lnTo>
                      <a:pt x="35" y="3"/>
                    </a:lnTo>
                    <a:lnTo>
                      <a:pt x="46" y="3"/>
                    </a:lnTo>
                    <a:lnTo>
                      <a:pt x="54" y="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7" name="Freeform 27"/>
              <p:cNvSpPr>
                <a:spLocks/>
              </p:cNvSpPr>
              <p:nvPr/>
            </p:nvSpPr>
            <p:spPr bwMode="auto">
              <a:xfrm>
                <a:off x="4759325" y="2071687"/>
                <a:ext cx="231775" cy="152400"/>
              </a:xfrm>
              <a:custGeom>
                <a:avLst/>
                <a:gdLst>
                  <a:gd name="T0" fmla="*/ 1 w 146"/>
                  <a:gd name="T1" fmla="*/ 44 h 96"/>
                  <a:gd name="T2" fmla="*/ 15 w 146"/>
                  <a:gd name="T3" fmla="*/ 44 h 96"/>
                  <a:gd name="T4" fmla="*/ 31 w 146"/>
                  <a:gd name="T5" fmla="*/ 37 h 96"/>
                  <a:gd name="T6" fmla="*/ 33 w 146"/>
                  <a:gd name="T7" fmla="*/ 26 h 96"/>
                  <a:gd name="T8" fmla="*/ 45 w 146"/>
                  <a:gd name="T9" fmla="*/ 20 h 96"/>
                  <a:gd name="T10" fmla="*/ 42 w 146"/>
                  <a:gd name="T11" fmla="*/ 11 h 96"/>
                  <a:gd name="T12" fmla="*/ 50 w 146"/>
                  <a:gd name="T13" fmla="*/ 7 h 96"/>
                  <a:gd name="T14" fmla="*/ 65 w 146"/>
                  <a:gd name="T15" fmla="*/ 0 h 96"/>
                  <a:gd name="T16" fmla="*/ 82 w 146"/>
                  <a:gd name="T17" fmla="*/ 5 h 96"/>
                  <a:gd name="T18" fmla="*/ 85 w 146"/>
                  <a:gd name="T19" fmla="*/ 10 h 96"/>
                  <a:gd name="T20" fmla="*/ 93 w 146"/>
                  <a:gd name="T21" fmla="*/ 7 h 96"/>
                  <a:gd name="T22" fmla="*/ 109 w 146"/>
                  <a:gd name="T23" fmla="*/ 12 h 96"/>
                  <a:gd name="T24" fmla="*/ 112 w 146"/>
                  <a:gd name="T25" fmla="*/ 21 h 96"/>
                  <a:gd name="T26" fmla="*/ 110 w 146"/>
                  <a:gd name="T27" fmla="*/ 27 h 96"/>
                  <a:gd name="T28" fmla="*/ 122 w 146"/>
                  <a:gd name="T29" fmla="*/ 40 h 96"/>
                  <a:gd name="T30" fmla="*/ 129 w 146"/>
                  <a:gd name="T31" fmla="*/ 43 h 96"/>
                  <a:gd name="T32" fmla="*/ 129 w 146"/>
                  <a:gd name="T33" fmla="*/ 47 h 96"/>
                  <a:gd name="T34" fmla="*/ 140 w 146"/>
                  <a:gd name="T35" fmla="*/ 50 h 96"/>
                  <a:gd name="T36" fmla="*/ 146 w 146"/>
                  <a:gd name="T37" fmla="*/ 56 h 96"/>
                  <a:gd name="T38" fmla="*/ 140 w 146"/>
                  <a:gd name="T39" fmla="*/ 60 h 96"/>
                  <a:gd name="T40" fmla="*/ 128 w 146"/>
                  <a:gd name="T41" fmla="*/ 59 h 96"/>
                  <a:gd name="T42" fmla="*/ 125 w 146"/>
                  <a:gd name="T43" fmla="*/ 61 h 96"/>
                  <a:gd name="T44" fmla="*/ 130 w 146"/>
                  <a:gd name="T45" fmla="*/ 68 h 96"/>
                  <a:gd name="T46" fmla="*/ 136 w 146"/>
                  <a:gd name="T47" fmla="*/ 81 h 96"/>
                  <a:gd name="T48" fmla="*/ 123 w 146"/>
                  <a:gd name="T49" fmla="*/ 82 h 96"/>
                  <a:gd name="T50" fmla="*/ 119 w 146"/>
                  <a:gd name="T51" fmla="*/ 86 h 96"/>
                  <a:gd name="T52" fmla="*/ 119 w 146"/>
                  <a:gd name="T53" fmla="*/ 96 h 96"/>
                  <a:gd name="T54" fmla="*/ 113 w 146"/>
                  <a:gd name="T55" fmla="*/ 95 h 96"/>
                  <a:gd name="T56" fmla="*/ 99 w 146"/>
                  <a:gd name="T57" fmla="*/ 95 h 96"/>
                  <a:gd name="T58" fmla="*/ 94 w 146"/>
                  <a:gd name="T59" fmla="*/ 91 h 96"/>
                  <a:gd name="T60" fmla="*/ 88 w 146"/>
                  <a:gd name="T61" fmla="*/ 94 h 96"/>
                  <a:gd name="T62" fmla="*/ 82 w 146"/>
                  <a:gd name="T63" fmla="*/ 91 h 96"/>
                  <a:gd name="T64" fmla="*/ 70 w 146"/>
                  <a:gd name="T65" fmla="*/ 91 h 96"/>
                  <a:gd name="T66" fmla="*/ 51 w 146"/>
                  <a:gd name="T67" fmla="*/ 86 h 96"/>
                  <a:gd name="T68" fmla="*/ 35 w 146"/>
                  <a:gd name="T69" fmla="*/ 84 h 96"/>
                  <a:gd name="T70" fmla="*/ 23 w 146"/>
                  <a:gd name="T71" fmla="*/ 85 h 96"/>
                  <a:gd name="T72" fmla="*/ 15 w 146"/>
                  <a:gd name="T73" fmla="*/ 90 h 96"/>
                  <a:gd name="T74" fmla="*/ 8 w 146"/>
                  <a:gd name="T75" fmla="*/ 91 h 96"/>
                  <a:gd name="T76" fmla="*/ 6 w 146"/>
                  <a:gd name="T77" fmla="*/ 82 h 96"/>
                  <a:gd name="T78" fmla="*/ 0 w 146"/>
                  <a:gd name="T79" fmla="*/ 73 h 96"/>
                  <a:gd name="T80" fmla="*/ 9 w 146"/>
                  <a:gd name="T81" fmla="*/ 69 h 96"/>
                  <a:gd name="T82" fmla="*/ 8 w 146"/>
                  <a:gd name="T83" fmla="*/ 61 h 96"/>
                  <a:gd name="T84" fmla="*/ 3 w 146"/>
                  <a:gd name="T85" fmla="*/ 53 h 96"/>
                  <a:gd name="T86" fmla="*/ 1 w 146"/>
                  <a:gd name="T87" fmla="*/ 4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6" h="96">
                    <a:moveTo>
                      <a:pt x="1" y="44"/>
                    </a:moveTo>
                    <a:lnTo>
                      <a:pt x="15" y="44"/>
                    </a:lnTo>
                    <a:lnTo>
                      <a:pt x="31" y="37"/>
                    </a:lnTo>
                    <a:lnTo>
                      <a:pt x="33" y="26"/>
                    </a:lnTo>
                    <a:lnTo>
                      <a:pt x="45" y="20"/>
                    </a:lnTo>
                    <a:lnTo>
                      <a:pt x="42" y="11"/>
                    </a:lnTo>
                    <a:lnTo>
                      <a:pt x="50" y="7"/>
                    </a:lnTo>
                    <a:lnTo>
                      <a:pt x="65" y="0"/>
                    </a:lnTo>
                    <a:lnTo>
                      <a:pt x="82" y="5"/>
                    </a:lnTo>
                    <a:lnTo>
                      <a:pt x="85" y="10"/>
                    </a:lnTo>
                    <a:lnTo>
                      <a:pt x="93" y="7"/>
                    </a:lnTo>
                    <a:lnTo>
                      <a:pt x="109" y="12"/>
                    </a:lnTo>
                    <a:lnTo>
                      <a:pt x="112" y="21"/>
                    </a:lnTo>
                    <a:lnTo>
                      <a:pt x="110" y="27"/>
                    </a:lnTo>
                    <a:lnTo>
                      <a:pt x="122" y="40"/>
                    </a:lnTo>
                    <a:lnTo>
                      <a:pt x="129" y="43"/>
                    </a:lnTo>
                    <a:lnTo>
                      <a:pt x="129" y="47"/>
                    </a:lnTo>
                    <a:lnTo>
                      <a:pt x="140" y="50"/>
                    </a:lnTo>
                    <a:lnTo>
                      <a:pt x="146" y="56"/>
                    </a:lnTo>
                    <a:lnTo>
                      <a:pt x="140" y="60"/>
                    </a:lnTo>
                    <a:lnTo>
                      <a:pt x="128" y="59"/>
                    </a:lnTo>
                    <a:lnTo>
                      <a:pt x="125" y="61"/>
                    </a:lnTo>
                    <a:lnTo>
                      <a:pt x="130" y="68"/>
                    </a:lnTo>
                    <a:lnTo>
                      <a:pt x="136" y="81"/>
                    </a:lnTo>
                    <a:lnTo>
                      <a:pt x="123" y="82"/>
                    </a:lnTo>
                    <a:lnTo>
                      <a:pt x="119" y="86"/>
                    </a:lnTo>
                    <a:lnTo>
                      <a:pt x="119" y="96"/>
                    </a:lnTo>
                    <a:lnTo>
                      <a:pt x="113" y="95"/>
                    </a:lnTo>
                    <a:lnTo>
                      <a:pt x="99" y="95"/>
                    </a:lnTo>
                    <a:lnTo>
                      <a:pt x="94" y="91"/>
                    </a:lnTo>
                    <a:lnTo>
                      <a:pt x="88" y="94"/>
                    </a:lnTo>
                    <a:lnTo>
                      <a:pt x="82" y="91"/>
                    </a:lnTo>
                    <a:lnTo>
                      <a:pt x="70" y="91"/>
                    </a:lnTo>
                    <a:lnTo>
                      <a:pt x="51" y="86"/>
                    </a:lnTo>
                    <a:lnTo>
                      <a:pt x="35" y="84"/>
                    </a:lnTo>
                    <a:lnTo>
                      <a:pt x="23" y="85"/>
                    </a:lnTo>
                    <a:lnTo>
                      <a:pt x="15" y="90"/>
                    </a:lnTo>
                    <a:lnTo>
                      <a:pt x="8" y="91"/>
                    </a:lnTo>
                    <a:lnTo>
                      <a:pt x="6" y="82"/>
                    </a:lnTo>
                    <a:lnTo>
                      <a:pt x="0" y="73"/>
                    </a:lnTo>
                    <a:lnTo>
                      <a:pt x="9" y="69"/>
                    </a:lnTo>
                    <a:lnTo>
                      <a:pt x="8" y="61"/>
                    </a:lnTo>
                    <a:lnTo>
                      <a:pt x="3" y="53"/>
                    </a:lnTo>
                    <a:lnTo>
                      <a:pt x="1" y="44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8" name="Freeform 28"/>
              <p:cNvSpPr>
                <a:spLocks/>
              </p:cNvSpPr>
              <p:nvPr/>
            </p:nvSpPr>
            <p:spPr bwMode="auto">
              <a:xfrm>
                <a:off x="1608137" y="3298825"/>
                <a:ext cx="41275" cy="85725"/>
              </a:xfrm>
              <a:custGeom>
                <a:avLst/>
                <a:gdLst>
                  <a:gd name="T0" fmla="*/ 6 w 26"/>
                  <a:gd name="T1" fmla="*/ 14 h 54"/>
                  <a:gd name="T2" fmla="*/ 6 w 26"/>
                  <a:gd name="T3" fmla="*/ 11 h 54"/>
                  <a:gd name="T4" fmla="*/ 9 w 26"/>
                  <a:gd name="T5" fmla="*/ 11 h 54"/>
                  <a:gd name="T6" fmla="*/ 12 w 26"/>
                  <a:gd name="T7" fmla="*/ 13 h 54"/>
                  <a:gd name="T8" fmla="*/ 20 w 26"/>
                  <a:gd name="T9" fmla="*/ 0 h 54"/>
                  <a:gd name="T10" fmla="*/ 23 w 26"/>
                  <a:gd name="T11" fmla="*/ 0 h 54"/>
                  <a:gd name="T12" fmla="*/ 23 w 26"/>
                  <a:gd name="T13" fmla="*/ 3 h 54"/>
                  <a:gd name="T14" fmla="*/ 26 w 26"/>
                  <a:gd name="T15" fmla="*/ 3 h 54"/>
                  <a:gd name="T16" fmla="*/ 25 w 26"/>
                  <a:gd name="T17" fmla="*/ 9 h 54"/>
                  <a:gd name="T18" fmla="*/ 21 w 26"/>
                  <a:gd name="T19" fmla="*/ 18 h 54"/>
                  <a:gd name="T20" fmla="*/ 22 w 26"/>
                  <a:gd name="T21" fmla="*/ 21 h 54"/>
                  <a:gd name="T22" fmla="*/ 19 w 26"/>
                  <a:gd name="T23" fmla="*/ 29 h 54"/>
                  <a:gd name="T24" fmla="*/ 20 w 26"/>
                  <a:gd name="T25" fmla="*/ 31 h 54"/>
                  <a:gd name="T26" fmla="*/ 17 w 26"/>
                  <a:gd name="T27" fmla="*/ 41 h 54"/>
                  <a:gd name="T28" fmla="*/ 13 w 26"/>
                  <a:gd name="T29" fmla="*/ 46 h 54"/>
                  <a:gd name="T30" fmla="*/ 10 w 26"/>
                  <a:gd name="T31" fmla="*/ 47 h 54"/>
                  <a:gd name="T32" fmla="*/ 5 w 26"/>
                  <a:gd name="T33" fmla="*/ 54 h 54"/>
                  <a:gd name="T34" fmla="*/ 0 w 26"/>
                  <a:gd name="T35" fmla="*/ 54 h 54"/>
                  <a:gd name="T36" fmla="*/ 4 w 26"/>
                  <a:gd name="T37" fmla="*/ 31 h 54"/>
                  <a:gd name="T38" fmla="*/ 6 w 26"/>
                  <a:gd name="T39" fmla="*/ 1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6" h="54">
                    <a:moveTo>
                      <a:pt x="6" y="14"/>
                    </a:moveTo>
                    <a:lnTo>
                      <a:pt x="6" y="11"/>
                    </a:lnTo>
                    <a:lnTo>
                      <a:pt x="9" y="11"/>
                    </a:lnTo>
                    <a:lnTo>
                      <a:pt x="12" y="13"/>
                    </a:lnTo>
                    <a:lnTo>
                      <a:pt x="20" y="0"/>
                    </a:lnTo>
                    <a:lnTo>
                      <a:pt x="23" y="0"/>
                    </a:lnTo>
                    <a:lnTo>
                      <a:pt x="23" y="3"/>
                    </a:lnTo>
                    <a:lnTo>
                      <a:pt x="26" y="3"/>
                    </a:lnTo>
                    <a:lnTo>
                      <a:pt x="25" y="9"/>
                    </a:lnTo>
                    <a:lnTo>
                      <a:pt x="21" y="18"/>
                    </a:lnTo>
                    <a:lnTo>
                      <a:pt x="22" y="21"/>
                    </a:lnTo>
                    <a:lnTo>
                      <a:pt x="19" y="29"/>
                    </a:lnTo>
                    <a:lnTo>
                      <a:pt x="20" y="31"/>
                    </a:lnTo>
                    <a:lnTo>
                      <a:pt x="17" y="41"/>
                    </a:lnTo>
                    <a:lnTo>
                      <a:pt x="13" y="46"/>
                    </a:lnTo>
                    <a:lnTo>
                      <a:pt x="10" y="47"/>
                    </a:lnTo>
                    <a:lnTo>
                      <a:pt x="5" y="54"/>
                    </a:lnTo>
                    <a:lnTo>
                      <a:pt x="0" y="54"/>
                    </a:lnTo>
                    <a:lnTo>
                      <a:pt x="4" y="31"/>
                    </a:lnTo>
                    <a:lnTo>
                      <a:pt x="6" y="14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39" name="Freeform 29"/>
              <p:cNvSpPr>
                <a:spLocks/>
              </p:cNvSpPr>
              <p:nvPr/>
            </p:nvSpPr>
            <p:spPr bwMode="auto">
              <a:xfrm>
                <a:off x="2163762" y="4230688"/>
                <a:ext cx="365125" cy="433388"/>
              </a:xfrm>
              <a:custGeom>
                <a:avLst/>
                <a:gdLst>
                  <a:gd name="T0" fmla="*/ 141 w 230"/>
                  <a:gd name="T1" fmla="*/ 255 h 273"/>
                  <a:gd name="T2" fmla="*/ 121 w 230"/>
                  <a:gd name="T3" fmla="*/ 254 h 273"/>
                  <a:gd name="T4" fmla="*/ 116 w 230"/>
                  <a:gd name="T5" fmla="*/ 271 h 273"/>
                  <a:gd name="T6" fmla="*/ 104 w 230"/>
                  <a:gd name="T7" fmla="*/ 256 h 273"/>
                  <a:gd name="T8" fmla="*/ 79 w 230"/>
                  <a:gd name="T9" fmla="*/ 251 h 273"/>
                  <a:gd name="T10" fmla="*/ 67 w 230"/>
                  <a:gd name="T11" fmla="*/ 270 h 273"/>
                  <a:gd name="T12" fmla="*/ 54 w 230"/>
                  <a:gd name="T13" fmla="*/ 273 h 273"/>
                  <a:gd name="T14" fmla="*/ 43 w 230"/>
                  <a:gd name="T15" fmla="*/ 244 h 273"/>
                  <a:gd name="T16" fmla="*/ 31 w 230"/>
                  <a:gd name="T17" fmla="*/ 221 h 273"/>
                  <a:gd name="T18" fmla="*/ 34 w 230"/>
                  <a:gd name="T19" fmla="*/ 201 h 273"/>
                  <a:gd name="T20" fmla="*/ 24 w 230"/>
                  <a:gd name="T21" fmla="*/ 192 h 273"/>
                  <a:gd name="T22" fmla="*/ 20 w 230"/>
                  <a:gd name="T23" fmla="*/ 177 h 273"/>
                  <a:gd name="T24" fmla="*/ 10 w 230"/>
                  <a:gd name="T25" fmla="*/ 163 h 273"/>
                  <a:gd name="T26" fmla="*/ 19 w 230"/>
                  <a:gd name="T27" fmla="*/ 140 h 273"/>
                  <a:gd name="T28" fmla="*/ 10 w 230"/>
                  <a:gd name="T29" fmla="*/ 123 h 273"/>
                  <a:gd name="T30" fmla="*/ 13 w 230"/>
                  <a:gd name="T31" fmla="*/ 116 h 273"/>
                  <a:gd name="T32" fmla="*/ 10 w 230"/>
                  <a:gd name="T33" fmla="*/ 108 h 273"/>
                  <a:gd name="T34" fmla="*/ 16 w 230"/>
                  <a:gd name="T35" fmla="*/ 98 h 273"/>
                  <a:gd name="T36" fmla="*/ 15 w 230"/>
                  <a:gd name="T37" fmla="*/ 80 h 273"/>
                  <a:gd name="T38" fmla="*/ 15 w 230"/>
                  <a:gd name="T39" fmla="*/ 65 h 273"/>
                  <a:gd name="T40" fmla="*/ 18 w 230"/>
                  <a:gd name="T41" fmla="*/ 58 h 273"/>
                  <a:gd name="T42" fmla="*/ 0 w 230"/>
                  <a:gd name="T43" fmla="*/ 25 h 273"/>
                  <a:gd name="T44" fmla="*/ 14 w 230"/>
                  <a:gd name="T45" fmla="*/ 27 h 273"/>
                  <a:gd name="T46" fmla="*/ 23 w 230"/>
                  <a:gd name="T47" fmla="*/ 26 h 273"/>
                  <a:gd name="T48" fmla="*/ 27 w 230"/>
                  <a:gd name="T49" fmla="*/ 20 h 273"/>
                  <a:gd name="T50" fmla="*/ 43 w 230"/>
                  <a:gd name="T51" fmla="*/ 12 h 273"/>
                  <a:gd name="T52" fmla="*/ 52 w 230"/>
                  <a:gd name="T53" fmla="*/ 4 h 273"/>
                  <a:gd name="T54" fmla="*/ 76 w 230"/>
                  <a:gd name="T55" fmla="*/ 0 h 273"/>
                  <a:gd name="T56" fmla="*/ 74 w 230"/>
                  <a:gd name="T57" fmla="*/ 16 h 273"/>
                  <a:gd name="T58" fmla="*/ 77 w 230"/>
                  <a:gd name="T59" fmla="*/ 24 h 273"/>
                  <a:gd name="T60" fmla="*/ 76 w 230"/>
                  <a:gd name="T61" fmla="*/ 38 h 273"/>
                  <a:gd name="T62" fmla="*/ 97 w 230"/>
                  <a:gd name="T63" fmla="*/ 56 h 273"/>
                  <a:gd name="T64" fmla="*/ 118 w 230"/>
                  <a:gd name="T65" fmla="*/ 60 h 273"/>
                  <a:gd name="T66" fmla="*/ 126 w 230"/>
                  <a:gd name="T67" fmla="*/ 68 h 273"/>
                  <a:gd name="T68" fmla="*/ 138 w 230"/>
                  <a:gd name="T69" fmla="*/ 72 h 273"/>
                  <a:gd name="T70" fmla="*/ 146 w 230"/>
                  <a:gd name="T71" fmla="*/ 78 h 273"/>
                  <a:gd name="T72" fmla="*/ 158 w 230"/>
                  <a:gd name="T73" fmla="*/ 77 h 273"/>
                  <a:gd name="T74" fmla="*/ 169 w 230"/>
                  <a:gd name="T75" fmla="*/ 84 h 273"/>
                  <a:gd name="T76" fmla="*/ 170 w 230"/>
                  <a:gd name="T77" fmla="*/ 96 h 273"/>
                  <a:gd name="T78" fmla="*/ 174 w 230"/>
                  <a:gd name="T79" fmla="*/ 102 h 273"/>
                  <a:gd name="T80" fmla="*/ 175 w 230"/>
                  <a:gd name="T81" fmla="*/ 111 h 273"/>
                  <a:gd name="T82" fmla="*/ 170 w 230"/>
                  <a:gd name="T83" fmla="*/ 111 h 273"/>
                  <a:gd name="T84" fmla="*/ 179 w 230"/>
                  <a:gd name="T85" fmla="*/ 135 h 273"/>
                  <a:gd name="T86" fmla="*/ 213 w 230"/>
                  <a:gd name="T87" fmla="*/ 136 h 273"/>
                  <a:gd name="T88" fmla="*/ 212 w 230"/>
                  <a:gd name="T89" fmla="*/ 148 h 273"/>
                  <a:gd name="T90" fmla="*/ 214 w 230"/>
                  <a:gd name="T91" fmla="*/ 156 h 273"/>
                  <a:gd name="T92" fmla="*/ 225 w 230"/>
                  <a:gd name="T93" fmla="*/ 162 h 273"/>
                  <a:gd name="T94" fmla="*/ 230 w 230"/>
                  <a:gd name="T95" fmla="*/ 175 h 273"/>
                  <a:gd name="T96" fmla="*/ 228 w 230"/>
                  <a:gd name="T97" fmla="*/ 191 h 273"/>
                  <a:gd name="T98" fmla="*/ 224 w 230"/>
                  <a:gd name="T99" fmla="*/ 201 h 273"/>
                  <a:gd name="T100" fmla="*/ 227 w 230"/>
                  <a:gd name="T101" fmla="*/ 212 h 273"/>
                  <a:gd name="T102" fmla="*/ 222 w 230"/>
                  <a:gd name="T103" fmla="*/ 217 h 273"/>
                  <a:gd name="T104" fmla="*/ 221 w 230"/>
                  <a:gd name="T105" fmla="*/ 210 h 273"/>
                  <a:gd name="T106" fmla="*/ 203 w 230"/>
                  <a:gd name="T107" fmla="*/ 200 h 273"/>
                  <a:gd name="T108" fmla="*/ 186 w 230"/>
                  <a:gd name="T109" fmla="*/ 199 h 273"/>
                  <a:gd name="T110" fmla="*/ 155 w 230"/>
                  <a:gd name="T111" fmla="*/ 205 h 273"/>
                  <a:gd name="T112" fmla="*/ 148 w 230"/>
                  <a:gd name="T113" fmla="*/ 224 h 273"/>
                  <a:gd name="T114" fmla="*/ 149 w 230"/>
                  <a:gd name="T115" fmla="*/ 235 h 273"/>
                  <a:gd name="T116" fmla="*/ 145 w 230"/>
                  <a:gd name="T117" fmla="*/ 260 h 273"/>
                  <a:gd name="T118" fmla="*/ 141 w 230"/>
                  <a:gd name="T119" fmla="*/ 255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0" h="273">
                    <a:moveTo>
                      <a:pt x="141" y="255"/>
                    </a:moveTo>
                    <a:lnTo>
                      <a:pt x="121" y="254"/>
                    </a:lnTo>
                    <a:lnTo>
                      <a:pt x="116" y="271"/>
                    </a:lnTo>
                    <a:lnTo>
                      <a:pt x="104" y="256"/>
                    </a:lnTo>
                    <a:lnTo>
                      <a:pt x="79" y="251"/>
                    </a:lnTo>
                    <a:lnTo>
                      <a:pt x="67" y="270"/>
                    </a:lnTo>
                    <a:lnTo>
                      <a:pt x="54" y="273"/>
                    </a:lnTo>
                    <a:lnTo>
                      <a:pt x="43" y="244"/>
                    </a:lnTo>
                    <a:lnTo>
                      <a:pt x="31" y="221"/>
                    </a:lnTo>
                    <a:lnTo>
                      <a:pt x="34" y="201"/>
                    </a:lnTo>
                    <a:lnTo>
                      <a:pt x="24" y="192"/>
                    </a:lnTo>
                    <a:lnTo>
                      <a:pt x="20" y="177"/>
                    </a:lnTo>
                    <a:lnTo>
                      <a:pt x="10" y="163"/>
                    </a:lnTo>
                    <a:lnTo>
                      <a:pt x="19" y="140"/>
                    </a:lnTo>
                    <a:lnTo>
                      <a:pt x="10" y="123"/>
                    </a:lnTo>
                    <a:lnTo>
                      <a:pt x="13" y="116"/>
                    </a:lnTo>
                    <a:lnTo>
                      <a:pt x="10" y="108"/>
                    </a:lnTo>
                    <a:lnTo>
                      <a:pt x="16" y="98"/>
                    </a:lnTo>
                    <a:lnTo>
                      <a:pt x="15" y="80"/>
                    </a:lnTo>
                    <a:lnTo>
                      <a:pt x="15" y="65"/>
                    </a:lnTo>
                    <a:lnTo>
                      <a:pt x="18" y="58"/>
                    </a:lnTo>
                    <a:lnTo>
                      <a:pt x="0" y="25"/>
                    </a:lnTo>
                    <a:lnTo>
                      <a:pt x="14" y="27"/>
                    </a:lnTo>
                    <a:lnTo>
                      <a:pt x="23" y="26"/>
                    </a:lnTo>
                    <a:lnTo>
                      <a:pt x="27" y="20"/>
                    </a:lnTo>
                    <a:lnTo>
                      <a:pt x="43" y="12"/>
                    </a:lnTo>
                    <a:lnTo>
                      <a:pt x="52" y="4"/>
                    </a:lnTo>
                    <a:lnTo>
                      <a:pt x="76" y="0"/>
                    </a:lnTo>
                    <a:lnTo>
                      <a:pt x="74" y="16"/>
                    </a:lnTo>
                    <a:lnTo>
                      <a:pt x="77" y="24"/>
                    </a:lnTo>
                    <a:lnTo>
                      <a:pt x="76" y="38"/>
                    </a:lnTo>
                    <a:lnTo>
                      <a:pt x="97" y="56"/>
                    </a:lnTo>
                    <a:lnTo>
                      <a:pt x="118" y="60"/>
                    </a:lnTo>
                    <a:lnTo>
                      <a:pt x="126" y="68"/>
                    </a:lnTo>
                    <a:lnTo>
                      <a:pt x="138" y="72"/>
                    </a:lnTo>
                    <a:lnTo>
                      <a:pt x="146" y="78"/>
                    </a:lnTo>
                    <a:lnTo>
                      <a:pt x="158" y="77"/>
                    </a:lnTo>
                    <a:lnTo>
                      <a:pt x="169" y="84"/>
                    </a:lnTo>
                    <a:lnTo>
                      <a:pt x="170" y="96"/>
                    </a:lnTo>
                    <a:lnTo>
                      <a:pt x="174" y="102"/>
                    </a:lnTo>
                    <a:lnTo>
                      <a:pt x="175" y="111"/>
                    </a:lnTo>
                    <a:lnTo>
                      <a:pt x="170" y="111"/>
                    </a:lnTo>
                    <a:lnTo>
                      <a:pt x="179" y="135"/>
                    </a:lnTo>
                    <a:lnTo>
                      <a:pt x="213" y="136"/>
                    </a:lnTo>
                    <a:lnTo>
                      <a:pt x="212" y="148"/>
                    </a:lnTo>
                    <a:lnTo>
                      <a:pt x="214" y="156"/>
                    </a:lnTo>
                    <a:lnTo>
                      <a:pt x="225" y="162"/>
                    </a:lnTo>
                    <a:lnTo>
                      <a:pt x="230" y="175"/>
                    </a:lnTo>
                    <a:lnTo>
                      <a:pt x="228" y="191"/>
                    </a:lnTo>
                    <a:lnTo>
                      <a:pt x="224" y="201"/>
                    </a:lnTo>
                    <a:lnTo>
                      <a:pt x="227" y="212"/>
                    </a:lnTo>
                    <a:lnTo>
                      <a:pt x="222" y="217"/>
                    </a:lnTo>
                    <a:lnTo>
                      <a:pt x="221" y="210"/>
                    </a:lnTo>
                    <a:lnTo>
                      <a:pt x="203" y="200"/>
                    </a:lnTo>
                    <a:lnTo>
                      <a:pt x="186" y="199"/>
                    </a:lnTo>
                    <a:lnTo>
                      <a:pt x="155" y="205"/>
                    </a:lnTo>
                    <a:lnTo>
                      <a:pt x="148" y="224"/>
                    </a:lnTo>
                    <a:lnTo>
                      <a:pt x="149" y="235"/>
                    </a:lnTo>
                    <a:lnTo>
                      <a:pt x="145" y="260"/>
                    </a:lnTo>
                    <a:lnTo>
                      <a:pt x="141" y="255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0" name="Freeform 30"/>
              <p:cNvSpPr>
                <a:spLocks/>
              </p:cNvSpPr>
              <p:nvPr/>
            </p:nvSpPr>
            <p:spPr bwMode="auto">
              <a:xfrm>
                <a:off x="2028825" y="3735388"/>
                <a:ext cx="1143000" cy="1287463"/>
              </a:xfrm>
              <a:custGeom>
                <a:avLst/>
                <a:gdLst>
                  <a:gd name="T0" fmla="*/ 390 w 720"/>
                  <a:gd name="T1" fmla="*/ 680 h 811"/>
                  <a:gd name="T2" fmla="*/ 383 w 720"/>
                  <a:gd name="T3" fmla="*/ 644 h 811"/>
                  <a:gd name="T4" fmla="*/ 378 w 720"/>
                  <a:gd name="T5" fmla="*/ 605 h 811"/>
                  <a:gd name="T6" fmla="*/ 358 w 720"/>
                  <a:gd name="T7" fmla="*/ 580 h 811"/>
                  <a:gd name="T8" fmla="*/ 315 w 720"/>
                  <a:gd name="T9" fmla="*/ 568 h 811"/>
                  <a:gd name="T10" fmla="*/ 309 w 720"/>
                  <a:gd name="T11" fmla="*/ 513 h 811"/>
                  <a:gd name="T12" fmla="*/ 299 w 720"/>
                  <a:gd name="T13" fmla="*/ 468 h 811"/>
                  <a:gd name="T14" fmla="*/ 255 w 720"/>
                  <a:gd name="T15" fmla="*/ 423 h 811"/>
                  <a:gd name="T16" fmla="*/ 254 w 720"/>
                  <a:gd name="T17" fmla="*/ 396 h 811"/>
                  <a:gd name="T18" fmla="*/ 211 w 720"/>
                  <a:gd name="T19" fmla="*/ 380 h 811"/>
                  <a:gd name="T20" fmla="*/ 162 w 720"/>
                  <a:gd name="T21" fmla="*/ 336 h 811"/>
                  <a:gd name="T22" fmla="*/ 128 w 720"/>
                  <a:gd name="T23" fmla="*/ 324 h 811"/>
                  <a:gd name="T24" fmla="*/ 85 w 720"/>
                  <a:gd name="T25" fmla="*/ 337 h 811"/>
                  <a:gd name="T26" fmla="*/ 52 w 720"/>
                  <a:gd name="T27" fmla="*/ 319 h 811"/>
                  <a:gd name="T28" fmla="*/ 19 w 720"/>
                  <a:gd name="T29" fmla="*/ 297 h 811"/>
                  <a:gd name="T30" fmla="*/ 4 w 720"/>
                  <a:gd name="T31" fmla="*/ 253 h 811"/>
                  <a:gd name="T32" fmla="*/ 19 w 720"/>
                  <a:gd name="T33" fmla="*/ 219 h 811"/>
                  <a:gd name="T34" fmla="*/ 73 w 720"/>
                  <a:gd name="T35" fmla="*/ 199 h 811"/>
                  <a:gd name="T36" fmla="*/ 70 w 720"/>
                  <a:gd name="T37" fmla="*/ 113 h 811"/>
                  <a:gd name="T38" fmla="*/ 85 w 720"/>
                  <a:gd name="T39" fmla="*/ 89 h 811"/>
                  <a:gd name="T40" fmla="*/ 116 w 720"/>
                  <a:gd name="T41" fmla="*/ 67 h 811"/>
                  <a:gd name="T42" fmla="*/ 138 w 720"/>
                  <a:gd name="T43" fmla="*/ 94 h 811"/>
                  <a:gd name="T44" fmla="*/ 177 w 720"/>
                  <a:gd name="T45" fmla="*/ 78 h 811"/>
                  <a:gd name="T46" fmla="*/ 176 w 720"/>
                  <a:gd name="T47" fmla="*/ 58 h 811"/>
                  <a:gd name="T48" fmla="*/ 170 w 720"/>
                  <a:gd name="T49" fmla="*/ 23 h 811"/>
                  <a:gd name="T50" fmla="*/ 216 w 720"/>
                  <a:gd name="T51" fmla="*/ 23 h 811"/>
                  <a:gd name="T52" fmla="*/ 251 w 720"/>
                  <a:gd name="T53" fmla="*/ 0 h 811"/>
                  <a:gd name="T54" fmla="*/ 263 w 720"/>
                  <a:gd name="T55" fmla="*/ 27 h 811"/>
                  <a:gd name="T56" fmla="*/ 261 w 720"/>
                  <a:gd name="T57" fmla="*/ 72 h 811"/>
                  <a:gd name="T58" fmla="*/ 289 w 720"/>
                  <a:gd name="T59" fmla="*/ 78 h 811"/>
                  <a:gd name="T60" fmla="*/ 318 w 720"/>
                  <a:gd name="T61" fmla="*/ 70 h 811"/>
                  <a:gd name="T62" fmla="*/ 328 w 720"/>
                  <a:gd name="T63" fmla="*/ 57 h 811"/>
                  <a:gd name="T64" fmla="*/ 363 w 720"/>
                  <a:gd name="T65" fmla="*/ 66 h 811"/>
                  <a:gd name="T66" fmla="*/ 384 w 720"/>
                  <a:gd name="T67" fmla="*/ 65 h 811"/>
                  <a:gd name="T68" fmla="*/ 414 w 720"/>
                  <a:gd name="T69" fmla="*/ 22 h 811"/>
                  <a:gd name="T70" fmla="*/ 439 w 720"/>
                  <a:gd name="T71" fmla="*/ 88 h 811"/>
                  <a:gd name="T72" fmla="*/ 464 w 720"/>
                  <a:gd name="T73" fmla="*/ 135 h 811"/>
                  <a:gd name="T74" fmla="*/ 540 w 720"/>
                  <a:gd name="T75" fmla="*/ 154 h 811"/>
                  <a:gd name="T76" fmla="*/ 622 w 720"/>
                  <a:gd name="T77" fmla="*/ 169 h 811"/>
                  <a:gd name="T78" fmla="*/ 703 w 720"/>
                  <a:gd name="T79" fmla="*/ 216 h 811"/>
                  <a:gd name="T80" fmla="*/ 713 w 720"/>
                  <a:gd name="T81" fmla="*/ 296 h 811"/>
                  <a:gd name="T82" fmla="*/ 656 w 720"/>
                  <a:gd name="T83" fmla="*/ 380 h 811"/>
                  <a:gd name="T84" fmla="*/ 646 w 720"/>
                  <a:gd name="T85" fmla="*/ 467 h 811"/>
                  <a:gd name="T86" fmla="*/ 622 w 720"/>
                  <a:gd name="T87" fmla="*/ 544 h 811"/>
                  <a:gd name="T88" fmla="*/ 584 w 720"/>
                  <a:gd name="T89" fmla="*/ 587 h 811"/>
                  <a:gd name="T90" fmla="*/ 505 w 720"/>
                  <a:gd name="T91" fmla="*/ 626 h 811"/>
                  <a:gd name="T92" fmla="*/ 495 w 720"/>
                  <a:gd name="T93" fmla="*/ 695 h 811"/>
                  <a:gd name="T94" fmla="*/ 453 w 720"/>
                  <a:gd name="T95" fmla="*/ 770 h 811"/>
                  <a:gd name="T96" fmla="*/ 422 w 720"/>
                  <a:gd name="T97" fmla="*/ 799 h 811"/>
                  <a:gd name="T98" fmla="*/ 380 w 720"/>
                  <a:gd name="T99" fmla="*/ 750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20" h="811">
                    <a:moveTo>
                      <a:pt x="342" y="737"/>
                    </a:moveTo>
                    <a:lnTo>
                      <a:pt x="362" y="709"/>
                    </a:lnTo>
                    <a:lnTo>
                      <a:pt x="379" y="689"/>
                    </a:lnTo>
                    <a:lnTo>
                      <a:pt x="390" y="680"/>
                    </a:lnTo>
                    <a:lnTo>
                      <a:pt x="403" y="669"/>
                    </a:lnTo>
                    <a:lnTo>
                      <a:pt x="401" y="652"/>
                    </a:lnTo>
                    <a:lnTo>
                      <a:pt x="391" y="640"/>
                    </a:lnTo>
                    <a:lnTo>
                      <a:pt x="383" y="644"/>
                    </a:lnTo>
                    <a:lnTo>
                      <a:pt x="385" y="632"/>
                    </a:lnTo>
                    <a:lnTo>
                      <a:pt x="386" y="620"/>
                    </a:lnTo>
                    <a:lnTo>
                      <a:pt x="385" y="608"/>
                    </a:lnTo>
                    <a:lnTo>
                      <a:pt x="378" y="605"/>
                    </a:lnTo>
                    <a:lnTo>
                      <a:pt x="371" y="608"/>
                    </a:lnTo>
                    <a:lnTo>
                      <a:pt x="365" y="607"/>
                    </a:lnTo>
                    <a:lnTo>
                      <a:pt x="362" y="599"/>
                    </a:lnTo>
                    <a:lnTo>
                      <a:pt x="358" y="580"/>
                    </a:lnTo>
                    <a:lnTo>
                      <a:pt x="354" y="574"/>
                    </a:lnTo>
                    <a:lnTo>
                      <a:pt x="341" y="568"/>
                    </a:lnTo>
                    <a:lnTo>
                      <a:pt x="334" y="572"/>
                    </a:lnTo>
                    <a:lnTo>
                      <a:pt x="315" y="568"/>
                    </a:lnTo>
                    <a:lnTo>
                      <a:pt x="313" y="540"/>
                    </a:lnTo>
                    <a:lnTo>
                      <a:pt x="307" y="529"/>
                    </a:lnTo>
                    <a:lnTo>
                      <a:pt x="312" y="524"/>
                    </a:lnTo>
                    <a:lnTo>
                      <a:pt x="309" y="513"/>
                    </a:lnTo>
                    <a:lnTo>
                      <a:pt x="313" y="503"/>
                    </a:lnTo>
                    <a:lnTo>
                      <a:pt x="315" y="487"/>
                    </a:lnTo>
                    <a:lnTo>
                      <a:pt x="310" y="474"/>
                    </a:lnTo>
                    <a:lnTo>
                      <a:pt x="299" y="468"/>
                    </a:lnTo>
                    <a:lnTo>
                      <a:pt x="297" y="460"/>
                    </a:lnTo>
                    <a:lnTo>
                      <a:pt x="298" y="448"/>
                    </a:lnTo>
                    <a:lnTo>
                      <a:pt x="264" y="447"/>
                    </a:lnTo>
                    <a:lnTo>
                      <a:pt x="255" y="423"/>
                    </a:lnTo>
                    <a:lnTo>
                      <a:pt x="260" y="423"/>
                    </a:lnTo>
                    <a:lnTo>
                      <a:pt x="259" y="414"/>
                    </a:lnTo>
                    <a:lnTo>
                      <a:pt x="255" y="408"/>
                    </a:lnTo>
                    <a:lnTo>
                      <a:pt x="254" y="396"/>
                    </a:lnTo>
                    <a:lnTo>
                      <a:pt x="243" y="389"/>
                    </a:lnTo>
                    <a:lnTo>
                      <a:pt x="231" y="390"/>
                    </a:lnTo>
                    <a:lnTo>
                      <a:pt x="223" y="384"/>
                    </a:lnTo>
                    <a:lnTo>
                      <a:pt x="211" y="380"/>
                    </a:lnTo>
                    <a:lnTo>
                      <a:pt x="203" y="372"/>
                    </a:lnTo>
                    <a:lnTo>
                      <a:pt x="182" y="368"/>
                    </a:lnTo>
                    <a:lnTo>
                      <a:pt x="161" y="350"/>
                    </a:lnTo>
                    <a:lnTo>
                      <a:pt x="162" y="336"/>
                    </a:lnTo>
                    <a:lnTo>
                      <a:pt x="159" y="328"/>
                    </a:lnTo>
                    <a:lnTo>
                      <a:pt x="161" y="312"/>
                    </a:lnTo>
                    <a:lnTo>
                      <a:pt x="137" y="316"/>
                    </a:lnTo>
                    <a:lnTo>
                      <a:pt x="128" y="324"/>
                    </a:lnTo>
                    <a:lnTo>
                      <a:pt x="112" y="332"/>
                    </a:lnTo>
                    <a:lnTo>
                      <a:pt x="108" y="338"/>
                    </a:lnTo>
                    <a:lnTo>
                      <a:pt x="99" y="339"/>
                    </a:lnTo>
                    <a:lnTo>
                      <a:pt x="85" y="337"/>
                    </a:lnTo>
                    <a:lnTo>
                      <a:pt x="75" y="341"/>
                    </a:lnTo>
                    <a:lnTo>
                      <a:pt x="67" y="338"/>
                    </a:lnTo>
                    <a:lnTo>
                      <a:pt x="66" y="307"/>
                    </a:lnTo>
                    <a:lnTo>
                      <a:pt x="52" y="319"/>
                    </a:lnTo>
                    <a:lnTo>
                      <a:pt x="36" y="318"/>
                    </a:lnTo>
                    <a:lnTo>
                      <a:pt x="28" y="307"/>
                    </a:lnTo>
                    <a:lnTo>
                      <a:pt x="16" y="306"/>
                    </a:lnTo>
                    <a:lnTo>
                      <a:pt x="19" y="297"/>
                    </a:lnTo>
                    <a:lnTo>
                      <a:pt x="9" y="284"/>
                    </a:lnTo>
                    <a:lnTo>
                      <a:pt x="0" y="266"/>
                    </a:lnTo>
                    <a:lnTo>
                      <a:pt x="5" y="262"/>
                    </a:lnTo>
                    <a:lnTo>
                      <a:pt x="4" y="253"/>
                    </a:lnTo>
                    <a:lnTo>
                      <a:pt x="15" y="247"/>
                    </a:lnTo>
                    <a:lnTo>
                      <a:pt x="13" y="236"/>
                    </a:lnTo>
                    <a:lnTo>
                      <a:pt x="18" y="229"/>
                    </a:lnTo>
                    <a:lnTo>
                      <a:pt x="19" y="219"/>
                    </a:lnTo>
                    <a:lnTo>
                      <a:pt x="39" y="205"/>
                    </a:lnTo>
                    <a:lnTo>
                      <a:pt x="54" y="201"/>
                    </a:lnTo>
                    <a:lnTo>
                      <a:pt x="56" y="198"/>
                    </a:lnTo>
                    <a:lnTo>
                      <a:pt x="73" y="199"/>
                    </a:lnTo>
                    <a:lnTo>
                      <a:pt x="80" y="142"/>
                    </a:lnTo>
                    <a:lnTo>
                      <a:pt x="81" y="133"/>
                    </a:lnTo>
                    <a:lnTo>
                      <a:pt x="78" y="121"/>
                    </a:lnTo>
                    <a:lnTo>
                      <a:pt x="70" y="113"/>
                    </a:lnTo>
                    <a:lnTo>
                      <a:pt x="70" y="98"/>
                    </a:lnTo>
                    <a:lnTo>
                      <a:pt x="80" y="95"/>
                    </a:lnTo>
                    <a:lnTo>
                      <a:pt x="84" y="97"/>
                    </a:lnTo>
                    <a:lnTo>
                      <a:pt x="85" y="89"/>
                    </a:lnTo>
                    <a:lnTo>
                      <a:pt x="74" y="87"/>
                    </a:lnTo>
                    <a:lnTo>
                      <a:pt x="74" y="74"/>
                    </a:lnTo>
                    <a:lnTo>
                      <a:pt x="109" y="74"/>
                    </a:lnTo>
                    <a:lnTo>
                      <a:pt x="116" y="67"/>
                    </a:lnTo>
                    <a:lnTo>
                      <a:pt x="121" y="74"/>
                    </a:lnTo>
                    <a:lnTo>
                      <a:pt x="124" y="86"/>
                    </a:lnTo>
                    <a:lnTo>
                      <a:pt x="128" y="83"/>
                    </a:lnTo>
                    <a:lnTo>
                      <a:pt x="138" y="94"/>
                    </a:lnTo>
                    <a:lnTo>
                      <a:pt x="152" y="93"/>
                    </a:lnTo>
                    <a:lnTo>
                      <a:pt x="156" y="87"/>
                    </a:lnTo>
                    <a:lnTo>
                      <a:pt x="169" y="82"/>
                    </a:lnTo>
                    <a:lnTo>
                      <a:pt x="177" y="78"/>
                    </a:lnTo>
                    <a:lnTo>
                      <a:pt x="179" y="70"/>
                    </a:lnTo>
                    <a:lnTo>
                      <a:pt x="192" y="64"/>
                    </a:lnTo>
                    <a:lnTo>
                      <a:pt x="191" y="59"/>
                    </a:lnTo>
                    <a:lnTo>
                      <a:pt x="176" y="58"/>
                    </a:lnTo>
                    <a:lnTo>
                      <a:pt x="173" y="44"/>
                    </a:lnTo>
                    <a:lnTo>
                      <a:pt x="174" y="30"/>
                    </a:lnTo>
                    <a:lnTo>
                      <a:pt x="166" y="25"/>
                    </a:lnTo>
                    <a:lnTo>
                      <a:pt x="170" y="23"/>
                    </a:lnTo>
                    <a:lnTo>
                      <a:pt x="183" y="26"/>
                    </a:lnTo>
                    <a:lnTo>
                      <a:pt x="198" y="31"/>
                    </a:lnTo>
                    <a:lnTo>
                      <a:pt x="203" y="26"/>
                    </a:lnTo>
                    <a:lnTo>
                      <a:pt x="216" y="23"/>
                    </a:lnTo>
                    <a:lnTo>
                      <a:pt x="237" y="15"/>
                    </a:lnTo>
                    <a:lnTo>
                      <a:pt x="244" y="7"/>
                    </a:lnTo>
                    <a:lnTo>
                      <a:pt x="242" y="1"/>
                    </a:lnTo>
                    <a:lnTo>
                      <a:pt x="251" y="0"/>
                    </a:lnTo>
                    <a:lnTo>
                      <a:pt x="255" y="5"/>
                    </a:lnTo>
                    <a:lnTo>
                      <a:pt x="253" y="14"/>
                    </a:lnTo>
                    <a:lnTo>
                      <a:pt x="259" y="18"/>
                    </a:lnTo>
                    <a:lnTo>
                      <a:pt x="263" y="27"/>
                    </a:lnTo>
                    <a:lnTo>
                      <a:pt x="258" y="34"/>
                    </a:lnTo>
                    <a:lnTo>
                      <a:pt x="255" y="52"/>
                    </a:lnTo>
                    <a:lnTo>
                      <a:pt x="259" y="63"/>
                    </a:lnTo>
                    <a:lnTo>
                      <a:pt x="261" y="72"/>
                    </a:lnTo>
                    <a:lnTo>
                      <a:pt x="272" y="82"/>
                    </a:lnTo>
                    <a:lnTo>
                      <a:pt x="281" y="83"/>
                    </a:lnTo>
                    <a:lnTo>
                      <a:pt x="283" y="79"/>
                    </a:lnTo>
                    <a:lnTo>
                      <a:pt x="289" y="78"/>
                    </a:lnTo>
                    <a:lnTo>
                      <a:pt x="297" y="74"/>
                    </a:lnTo>
                    <a:lnTo>
                      <a:pt x="303" y="69"/>
                    </a:lnTo>
                    <a:lnTo>
                      <a:pt x="313" y="71"/>
                    </a:lnTo>
                    <a:lnTo>
                      <a:pt x="318" y="70"/>
                    </a:lnTo>
                    <a:lnTo>
                      <a:pt x="328" y="72"/>
                    </a:lnTo>
                    <a:lnTo>
                      <a:pt x="329" y="67"/>
                    </a:lnTo>
                    <a:lnTo>
                      <a:pt x="326" y="63"/>
                    </a:lnTo>
                    <a:lnTo>
                      <a:pt x="328" y="57"/>
                    </a:lnTo>
                    <a:lnTo>
                      <a:pt x="336" y="59"/>
                    </a:lnTo>
                    <a:lnTo>
                      <a:pt x="344" y="57"/>
                    </a:lnTo>
                    <a:lnTo>
                      <a:pt x="355" y="61"/>
                    </a:lnTo>
                    <a:lnTo>
                      <a:pt x="363" y="66"/>
                    </a:lnTo>
                    <a:lnTo>
                      <a:pt x="368" y="60"/>
                    </a:lnTo>
                    <a:lnTo>
                      <a:pt x="373" y="61"/>
                    </a:lnTo>
                    <a:lnTo>
                      <a:pt x="375" y="67"/>
                    </a:lnTo>
                    <a:lnTo>
                      <a:pt x="384" y="65"/>
                    </a:lnTo>
                    <a:lnTo>
                      <a:pt x="391" y="57"/>
                    </a:lnTo>
                    <a:lnTo>
                      <a:pt x="397" y="42"/>
                    </a:lnTo>
                    <a:lnTo>
                      <a:pt x="408" y="23"/>
                    </a:lnTo>
                    <a:lnTo>
                      <a:pt x="414" y="22"/>
                    </a:lnTo>
                    <a:lnTo>
                      <a:pt x="419" y="34"/>
                    </a:lnTo>
                    <a:lnTo>
                      <a:pt x="429" y="70"/>
                    </a:lnTo>
                    <a:lnTo>
                      <a:pt x="438" y="73"/>
                    </a:lnTo>
                    <a:lnTo>
                      <a:pt x="439" y="88"/>
                    </a:lnTo>
                    <a:lnTo>
                      <a:pt x="425" y="105"/>
                    </a:lnTo>
                    <a:lnTo>
                      <a:pt x="430" y="111"/>
                    </a:lnTo>
                    <a:lnTo>
                      <a:pt x="463" y="114"/>
                    </a:lnTo>
                    <a:lnTo>
                      <a:pt x="464" y="135"/>
                    </a:lnTo>
                    <a:lnTo>
                      <a:pt x="478" y="121"/>
                    </a:lnTo>
                    <a:lnTo>
                      <a:pt x="501" y="129"/>
                    </a:lnTo>
                    <a:lnTo>
                      <a:pt x="531" y="142"/>
                    </a:lnTo>
                    <a:lnTo>
                      <a:pt x="540" y="154"/>
                    </a:lnTo>
                    <a:lnTo>
                      <a:pt x="537" y="165"/>
                    </a:lnTo>
                    <a:lnTo>
                      <a:pt x="559" y="159"/>
                    </a:lnTo>
                    <a:lnTo>
                      <a:pt x="595" y="170"/>
                    </a:lnTo>
                    <a:lnTo>
                      <a:pt x="622" y="169"/>
                    </a:lnTo>
                    <a:lnTo>
                      <a:pt x="649" y="186"/>
                    </a:lnTo>
                    <a:lnTo>
                      <a:pt x="673" y="210"/>
                    </a:lnTo>
                    <a:lnTo>
                      <a:pt x="687" y="216"/>
                    </a:lnTo>
                    <a:lnTo>
                      <a:pt x="703" y="216"/>
                    </a:lnTo>
                    <a:lnTo>
                      <a:pt x="710" y="223"/>
                    </a:lnTo>
                    <a:lnTo>
                      <a:pt x="716" y="249"/>
                    </a:lnTo>
                    <a:lnTo>
                      <a:pt x="720" y="262"/>
                    </a:lnTo>
                    <a:lnTo>
                      <a:pt x="713" y="296"/>
                    </a:lnTo>
                    <a:lnTo>
                      <a:pt x="704" y="310"/>
                    </a:lnTo>
                    <a:lnTo>
                      <a:pt x="679" y="339"/>
                    </a:lnTo>
                    <a:lnTo>
                      <a:pt x="668" y="362"/>
                    </a:lnTo>
                    <a:lnTo>
                      <a:pt x="656" y="380"/>
                    </a:lnTo>
                    <a:lnTo>
                      <a:pt x="651" y="381"/>
                    </a:lnTo>
                    <a:lnTo>
                      <a:pt x="647" y="396"/>
                    </a:lnTo>
                    <a:lnTo>
                      <a:pt x="649" y="435"/>
                    </a:lnTo>
                    <a:lnTo>
                      <a:pt x="646" y="467"/>
                    </a:lnTo>
                    <a:lnTo>
                      <a:pt x="645" y="481"/>
                    </a:lnTo>
                    <a:lnTo>
                      <a:pt x="640" y="489"/>
                    </a:lnTo>
                    <a:lnTo>
                      <a:pt x="638" y="516"/>
                    </a:lnTo>
                    <a:lnTo>
                      <a:pt x="622" y="544"/>
                    </a:lnTo>
                    <a:lnTo>
                      <a:pt x="620" y="565"/>
                    </a:lnTo>
                    <a:lnTo>
                      <a:pt x="606" y="574"/>
                    </a:lnTo>
                    <a:lnTo>
                      <a:pt x="603" y="587"/>
                    </a:lnTo>
                    <a:lnTo>
                      <a:pt x="584" y="587"/>
                    </a:lnTo>
                    <a:lnTo>
                      <a:pt x="556" y="595"/>
                    </a:lnTo>
                    <a:lnTo>
                      <a:pt x="544" y="604"/>
                    </a:lnTo>
                    <a:lnTo>
                      <a:pt x="525" y="610"/>
                    </a:lnTo>
                    <a:lnTo>
                      <a:pt x="505" y="626"/>
                    </a:lnTo>
                    <a:lnTo>
                      <a:pt x="492" y="647"/>
                    </a:lnTo>
                    <a:lnTo>
                      <a:pt x="491" y="662"/>
                    </a:lnTo>
                    <a:lnTo>
                      <a:pt x="496" y="674"/>
                    </a:lnTo>
                    <a:lnTo>
                      <a:pt x="495" y="695"/>
                    </a:lnTo>
                    <a:lnTo>
                      <a:pt x="492" y="705"/>
                    </a:lnTo>
                    <a:lnTo>
                      <a:pt x="481" y="717"/>
                    </a:lnTo>
                    <a:lnTo>
                      <a:pt x="466" y="753"/>
                    </a:lnTo>
                    <a:lnTo>
                      <a:pt x="453" y="770"/>
                    </a:lnTo>
                    <a:lnTo>
                      <a:pt x="443" y="779"/>
                    </a:lnTo>
                    <a:lnTo>
                      <a:pt x="438" y="799"/>
                    </a:lnTo>
                    <a:lnTo>
                      <a:pt x="429" y="811"/>
                    </a:lnTo>
                    <a:lnTo>
                      <a:pt x="422" y="799"/>
                    </a:lnTo>
                    <a:lnTo>
                      <a:pt x="428" y="789"/>
                    </a:lnTo>
                    <a:lnTo>
                      <a:pt x="416" y="775"/>
                    </a:lnTo>
                    <a:lnTo>
                      <a:pt x="400" y="764"/>
                    </a:lnTo>
                    <a:lnTo>
                      <a:pt x="380" y="750"/>
                    </a:lnTo>
                    <a:lnTo>
                      <a:pt x="374" y="751"/>
                    </a:lnTo>
                    <a:lnTo>
                      <a:pt x="353" y="735"/>
                    </a:lnTo>
                    <a:lnTo>
                      <a:pt x="342" y="737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1" name="Freeform 31"/>
              <p:cNvSpPr>
                <a:spLocks/>
              </p:cNvSpPr>
              <p:nvPr/>
            </p:nvSpPr>
            <p:spPr bwMode="auto">
              <a:xfrm>
                <a:off x="7510462" y="3729038"/>
                <a:ext cx="34925" cy="47625"/>
              </a:xfrm>
              <a:custGeom>
                <a:avLst/>
                <a:gdLst>
                  <a:gd name="T0" fmla="*/ 0 w 22"/>
                  <a:gd name="T1" fmla="*/ 19 h 30"/>
                  <a:gd name="T2" fmla="*/ 7 w 22"/>
                  <a:gd name="T3" fmla="*/ 12 h 30"/>
                  <a:gd name="T4" fmla="*/ 22 w 22"/>
                  <a:gd name="T5" fmla="*/ 0 h 30"/>
                  <a:gd name="T6" fmla="*/ 22 w 22"/>
                  <a:gd name="T7" fmla="*/ 11 h 30"/>
                  <a:gd name="T8" fmla="*/ 21 w 22"/>
                  <a:gd name="T9" fmla="*/ 24 h 30"/>
                  <a:gd name="T10" fmla="*/ 12 w 22"/>
                  <a:gd name="T11" fmla="*/ 23 h 30"/>
                  <a:gd name="T12" fmla="*/ 9 w 22"/>
                  <a:gd name="T13" fmla="*/ 30 h 30"/>
                  <a:gd name="T14" fmla="*/ 0 w 22"/>
                  <a:gd name="T15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30">
                    <a:moveTo>
                      <a:pt x="0" y="19"/>
                    </a:moveTo>
                    <a:lnTo>
                      <a:pt x="7" y="12"/>
                    </a:lnTo>
                    <a:lnTo>
                      <a:pt x="22" y="0"/>
                    </a:lnTo>
                    <a:lnTo>
                      <a:pt x="22" y="11"/>
                    </a:lnTo>
                    <a:lnTo>
                      <a:pt x="21" y="24"/>
                    </a:lnTo>
                    <a:lnTo>
                      <a:pt x="12" y="23"/>
                    </a:lnTo>
                    <a:lnTo>
                      <a:pt x="9" y="30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2" name="Freeform 32"/>
              <p:cNvSpPr>
                <a:spLocks/>
              </p:cNvSpPr>
              <p:nvPr/>
            </p:nvSpPr>
            <p:spPr bwMode="auto">
              <a:xfrm>
                <a:off x="6684962" y="2976562"/>
                <a:ext cx="93663" cy="50800"/>
              </a:xfrm>
              <a:custGeom>
                <a:avLst/>
                <a:gdLst>
                  <a:gd name="T0" fmla="*/ 49 w 59"/>
                  <a:gd name="T1" fmla="*/ 11 h 32"/>
                  <a:gd name="T2" fmla="*/ 57 w 59"/>
                  <a:gd name="T3" fmla="*/ 17 h 32"/>
                  <a:gd name="T4" fmla="*/ 59 w 59"/>
                  <a:gd name="T5" fmla="*/ 30 h 32"/>
                  <a:gd name="T6" fmla="*/ 45 w 59"/>
                  <a:gd name="T7" fmla="*/ 31 h 32"/>
                  <a:gd name="T8" fmla="*/ 29 w 59"/>
                  <a:gd name="T9" fmla="*/ 29 h 32"/>
                  <a:gd name="T10" fmla="*/ 19 w 59"/>
                  <a:gd name="T11" fmla="*/ 32 h 32"/>
                  <a:gd name="T12" fmla="*/ 1 w 59"/>
                  <a:gd name="T13" fmla="*/ 24 h 32"/>
                  <a:gd name="T14" fmla="*/ 0 w 59"/>
                  <a:gd name="T15" fmla="*/ 20 h 32"/>
                  <a:gd name="T16" fmla="*/ 8 w 59"/>
                  <a:gd name="T17" fmla="*/ 5 h 32"/>
                  <a:gd name="T18" fmla="*/ 17 w 59"/>
                  <a:gd name="T19" fmla="*/ 0 h 32"/>
                  <a:gd name="T20" fmla="*/ 30 w 59"/>
                  <a:gd name="T21" fmla="*/ 4 h 32"/>
                  <a:gd name="T22" fmla="*/ 40 w 59"/>
                  <a:gd name="T23" fmla="*/ 5 h 32"/>
                  <a:gd name="T24" fmla="*/ 49 w 59"/>
                  <a:gd name="T25" fmla="*/ 1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9" h="32">
                    <a:moveTo>
                      <a:pt x="49" y="11"/>
                    </a:moveTo>
                    <a:lnTo>
                      <a:pt x="57" y="17"/>
                    </a:lnTo>
                    <a:lnTo>
                      <a:pt x="59" y="30"/>
                    </a:lnTo>
                    <a:lnTo>
                      <a:pt x="45" y="31"/>
                    </a:lnTo>
                    <a:lnTo>
                      <a:pt x="29" y="29"/>
                    </a:lnTo>
                    <a:lnTo>
                      <a:pt x="19" y="32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8" y="5"/>
                    </a:lnTo>
                    <a:lnTo>
                      <a:pt x="17" y="0"/>
                    </a:lnTo>
                    <a:lnTo>
                      <a:pt x="30" y="4"/>
                    </a:lnTo>
                    <a:lnTo>
                      <a:pt x="40" y="5"/>
                    </a:lnTo>
                    <a:lnTo>
                      <a:pt x="49" y="11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3" name="Freeform 33"/>
              <p:cNvSpPr>
                <a:spLocks/>
              </p:cNvSpPr>
              <p:nvPr/>
            </p:nvSpPr>
            <p:spPr bwMode="auto">
              <a:xfrm>
                <a:off x="4746625" y="4491038"/>
                <a:ext cx="274638" cy="303213"/>
              </a:xfrm>
              <a:custGeom>
                <a:avLst/>
                <a:gdLst>
                  <a:gd name="T0" fmla="*/ 108 w 173"/>
                  <a:gd name="T1" fmla="*/ 19 h 191"/>
                  <a:gd name="T2" fmla="*/ 112 w 173"/>
                  <a:gd name="T3" fmla="*/ 22 h 191"/>
                  <a:gd name="T4" fmla="*/ 117 w 173"/>
                  <a:gd name="T5" fmla="*/ 34 h 191"/>
                  <a:gd name="T6" fmla="*/ 137 w 173"/>
                  <a:gd name="T7" fmla="*/ 57 h 191"/>
                  <a:gd name="T8" fmla="*/ 144 w 173"/>
                  <a:gd name="T9" fmla="*/ 59 h 191"/>
                  <a:gd name="T10" fmla="*/ 144 w 173"/>
                  <a:gd name="T11" fmla="*/ 67 h 191"/>
                  <a:gd name="T12" fmla="*/ 149 w 173"/>
                  <a:gd name="T13" fmla="*/ 80 h 191"/>
                  <a:gd name="T14" fmla="*/ 162 w 173"/>
                  <a:gd name="T15" fmla="*/ 83 h 191"/>
                  <a:gd name="T16" fmla="*/ 173 w 173"/>
                  <a:gd name="T17" fmla="*/ 92 h 191"/>
                  <a:gd name="T18" fmla="*/ 147 w 173"/>
                  <a:gd name="T19" fmla="*/ 108 h 191"/>
                  <a:gd name="T20" fmla="*/ 130 w 173"/>
                  <a:gd name="T21" fmla="*/ 123 h 191"/>
                  <a:gd name="T22" fmla="*/ 124 w 173"/>
                  <a:gd name="T23" fmla="*/ 137 h 191"/>
                  <a:gd name="T24" fmla="*/ 118 w 173"/>
                  <a:gd name="T25" fmla="*/ 145 h 191"/>
                  <a:gd name="T26" fmla="*/ 108 w 173"/>
                  <a:gd name="T27" fmla="*/ 146 h 191"/>
                  <a:gd name="T28" fmla="*/ 104 w 173"/>
                  <a:gd name="T29" fmla="*/ 156 h 191"/>
                  <a:gd name="T30" fmla="*/ 102 w 173"/>
                  <a:gd name="T31" fmla="*/ 163 h 191"/>
                  <a:gd name="T32" fmla="*/ 90 w 173"/>
                  <a:gd name="T33" fmla="*/ 168 h 191"/>
                  <a:gd name="T34" fmla="*/ 76 w 173"/>
                  <a:gd name="T35" fmla="*/ 167 h 191"/>
                  <a:gd name="T36" fmla="*/ 68 w 173"/>
                  <a:gd name="T37" fmla="*/ 161 h 191"/>
                  <a:gd name="T38" fmla="*/ 60 w 173"/>
                  <a:gd name="T39" fmla="*/ 158 h 191"/>
                  <a:gd name="T40" fmla="*/ 51 w 173"/>
                  <a:gd name="T41" fmla="*/ 163 h 191"/>
                  <a:gd name="T42" fmla="*/ 47 w 173"/>
                  <a:gd name="T43" fmla="*/ 173 h 191"/>
                  <a:gd name="T44" fmla="*/ 38 w 173"/>
                  <a:gd name="T45" fmla="*/ 179 h 191"/>
                  <a:gd name="T46" fmla="*/ 28 w 173"/>
                  <a:gd name="T47" fmla="*/ 189 h 191"/>
                  <a:gd name="T48" fmla="*/ 16 w 173"/>
                  <a:gd name="T49" fmla="*/ 191 h 191"/>
                  <a:gd name="T50" fmla="*/ 12 w 173"/>
                  <a:gd name="T51" fmla="*/ 183 h 191"/>
                  <a:gd name="T52" fmla="*/ 14 w 173"/>
                  <a:gd name="T53" fmla="*/ 171 h 191"/>
                  <a:gd name="T54" fmla="*/ 4 w 173"/>
                  <a:gd name="T55" fmla="*/ 151 h 191"/>
                  <a:gd name="T56" fmla="*/ 0 w 173"/>
                  <a:gd name="T57" fmla="*/ 148 h 191"/>
                  <a:gd name="T58" fmla="*/ 2 w 173"/>
                  <a:gd name="T59" fmla="*/ 87 h 191"/>
                  <a:gd name="T60" fmla="*/ 20 w 173"/>
                  <a:gd name="T61" fmla="*/ 87 h 191"/>
                  <a:gd name="T62" fmla="*/ 23 w 173"/>
                  <a:gd name="T63" fmla="*/ 13 h 191"/>
                  <a:gd name="T64" fmla="*/ 36 w 173"/>
                  <a:gd name="T65" fmla="*/ 12 h 191"/>
                  <a:gd name="T66" fmla="*/ 65 w 173"/>
                  <a:gd name="T67" fmla="*/ 5 h 191"/>
                  <a:gd name="T68" fmla="*/ 71 w 173"/>
                  <a:gd name="T69" fmla="*/ 13 h 191"/>
                  <a:gd name="T70" fmla="*/ 83 w 173"/>
                  <a:gd name="T71" fmla="*/ 5 h 191"/>
                  <a:gd name="T72" fmla="*/ 89 w 173"/>
                  <a:gd name="T73" fmla="*/ 5 h 191"/>
                  <a:gd name="T74" fmla="*/ 99 w 173"/>
                  <a:gd name="T75" fmla="*/ 0 h 191"/>
                  <a:gd name="T76" fmla="*/ 102 w 173"/>
                  <a:gd name="T77" fmla="*/ 2 h 191"/>
                  <a:gd name="T78" fmla="*/ 108 w 173"/>
                  <a:gd name="T79" fmla="*/ 19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3" h="191">
                    <a:moveTo>
                      <a:pt x="108" y="19"/>
                    </a:moveTo>
                    <a:lnTo>
                      <a:pt x="112" y="22"/>
                    </a:lnTo>
                    <a:lnTo>
                      <a:pt x="117" y="34"/>
                    </a:lnTo>
                    <a:lnTo>
                      <a:pt x="137" y="57"/>
                    </a:lnTo>
                    <a:lnTo>
                      <a:pt x="144" y="59"/>
                    </a:lnTo>
                    <a:lnTo>
                      <a:pt x="144" y="67"/>
                    </a:lnTo>
                    <a:lnTo>
                      <a:pt x="149" y="80"/>
                    </a:lnTo>
                    <a:lnTo>
                      <a:pt x="162" y="83"/>
                    </a:lnTo>
                    <a:lnTo>
                      <a:pt x="173" y="92"/>
                    </a:lnTo>
                    <a:lnTo>
                      <a:pt x="147" y="108"/>
                    </a:lnTo>
                    <a:lnTo>
                      <a:pt x="130" y="123"/>
                    </a:lnTo>
                    <a:lnTo>
                      <a:pt x="124" y="137"/>
                    </a:lnTo>
                    <a:lnTo>
                      <a:pt x="118" y="145"/>
                    </a:lnTo>
                    <a:lnTo>
                      <a:pt x="108" y="146"/>
                    </a:lnTo>
                    <a:lnTo>
                      <a:pt x="104" y="156"/>
                    </a:lnTo>
                    <a:lnTo>
                      <a:pt x="102" y="163"/>
                    </a:lnTo>
                    <a:lnTo>
                      <a:pt x="90" y="168"/>
                    </a:lnTo>
                    <a:lnTo>
                      <a:pt x="76" y="167"/>
                    </a:lnTo>
                    <a:lnTo>
                      <a:pt x="68" y="161"/>
                    </a:lnTo>
                    <a:lnTo>
                      <a:pt x="60" y="158"/>
                    </a:lnTo>
                    <a:lnTo>
                      <a:pt x="51" y="163"/>
                    </a:lnTo>
                    <a:lnTo>
                      <a:pt x="47" y="173"/>
                    </a:lnTo>
                    <a:lnTo>
                      <a:pt x="38" y="179"/>
                    </a:lnTo>
                    <a:lnTo>
                      <a:pt x="28" y="189"/>
                    </a:lnTo>
                    <a:lnTo>
                      <a:pt x="16" y="191"/>
                    </a:lnTo>
                    <a:lnTo>
                      <a:pt x="12" y="183"/>
                    </a:lnTo>
                    <a:lnTo>
                      <a:pt x="14" y="171"/>
                    </a:lnTo>
                    <a:lnTo>
                      <a:pt x="4" y="151"/>
                    </a:lnTo>
                    <a:lnTo>
                      <a:pt x="0" y="148"/>
                    </a:lnTo>
                    <a:lnTo>
                      <a:pt x="2" y="87"/>
                    </a:lnTo>
                    <a:lnTo>
                      <a:pt x="20" y="87"/>
                    </a:lnTo>
                    <a:lnTo>
                      <a:pt x="23" y="13"/>
                    </a:lnTo>
                    <a:lnTo>
                      <a:pt x="36" y="12"/>
                    </a:lnTo>
                    <a:lnTo>
                      <a:pt x="65" y="5"/>
                    </a:lnTo>
                    <a:lnTo>
                      <a:pt x="71" y="13"/>
                    </a:lnTo>
                    <a:lnTo>
                      <a:pt x="83" y="5"/>
                    </a:lnTo>
                    <a:lnTo>
                      <a:pt x="89" y="5"/>
                    </a:lnTo>
                    <a:lnTo>
                      <a:pt x="99" y="0"/>
                    </a:lnTo>
                    <a:lnTo>
                      <a:pt x="102" y="2"/>
                    </a:lnTo>
                    <a:lnTo>
                      <a:pt x="108" y="19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4" name="Freeform 34"/>
              <p:cNvSpPr>
                <a:spLocks/>
              </p:cNvSpPr>
              <p:nvPr/>
            </p:nvSpPr>
            <p:spPr bwMode="auto">
              <a:xfrm>
                <a:off x="4603750" y="3541713"/>
                <a:ext cx="376238" cy="292100"/>
              </a:xfrm>
              <a:custGeom>
                <a:avLst/>
                <a:gdLst>
                  <a:gd name="T0" fmla="*/ 14 w 237"/>
                  <a:gd name="T1" fmla="*/ 77 h 184"/>
                  <a:gd name="T2" fmla="*/ 29 w 237"/>
                  <a:gd name="T3" fmla="*/ 76 h 184"/>
                  <a:gd name="T4" fmla="*/ 33 w 237"/>
                  <a:gd name="T5" fmla="*/ 70 h 184"/>
                  <a:gd name="T6" fmla="*/ 36 w 237"/>
                  <a:gd name="T7" fmla="*/ 71 h 184"/>
                  <a:gd name="T8" fmla="*/ 40 w 237"/>
                  <a:gd name="T9" fmla="*/ 75 h 184"/>
                  <a:gd name="T10" fmla="*/ 64 w 237"/>
                  <a:gd name="T11" fmla="*/ 68 h 184"/>
                  <a:gd name="T12" fmla="*/ 71 w 237"/>
                  <a:gd name="T13" fmla="*/ 59 h 184"/>
                  <a:gd name="T14" fmla="*/ 81 w 237"/>
                  <a:gd name="T15" fmla="*/ 52 h 184"/>
                  <a:gd name="T16" fmla="*/ 79 w 237"/>
                  <a:gd name="T17" fmla="*/ 45 h 184"/>
                  <a:gd name="T18" fmla="*/ 84 w 237"/>
                  <a:gd name="T19" fmla="*/ 43 h 184"/>
                  <a:gd name="T20" fmla="*/ 102 w 237"/>
                  <a:gd name="T21" fmla="*/ 44 h 184"/>
                  <a:gd name="T22" fmla="*/ 119 w 237"/>
                  <a:gd name="T23" fmla="*/ 35 h 184"/>
                  <a:gd name="T24" fmla="*/ 132 w 237"/>
                  <a:gd name="T25" fmla="*/ 12 h 184"/>
                  <a:gd name="T26" fmla="*/ 141 w 237"/>
                  <a:gd name="T27" fmla="*/ 3 h 184"/>
                  <a:gd name="T28" fmla="*/ 152 w 237"/>
                  <a:gd name="T29" fmla="*/ 0 h 184"/>
                  <a:gd name="T30" fmla="*/ 155 w 237"/>
                  <a:gd name="T31" fmla="*/ 9 h 184"/>
                  <a:gd name="T32" fmla="*/ 165 w 237"/>
                  <a:gd name="T33" fmla="*/ 22 h 184"/>
                  <a:gd name="T34" fmla="*/ 165 w 237"/>
                  <a:gd name="T35" fmla="*/ 30 h 184"/>
                  <a:gd name="T36" fmla="*/ 163 w 237"/>
                  <a:gd name="T37" fmla="*/ 39 h 184"/>
                  <a:gd name="T38" fmla="*/ 164 w 237"/>
                  <a:gd name="T39" fmla="*/ 45 h 184"/>
                  <a:gd name="T40" fmla="*/ 170 w 237"/>
                  <a:gd name="T41" fmla="*/ 51 h 184"/>
                  <a:gd name="T42" fmla="*/ 185 w 237"/>
                  <a:gd name="T43" fmla="*/ 61 h 184"/>
                  <a:gd name="T44" fmla="*/ 195 w 237"/>
                  <a:gd name="T45" fmla="*/ 69 h 184"/>
                  <a:gd name="T46" fmla="*/ 195 w 237"/>
                  <a:gd name="T47" fmla="*/ 76 h 184"/>
                  <a:gd name="T48" fmla="*/ 207 w 237"/>
                  <a:gd name="T49" fmla="*/ 86 h 184"/>
                  <a:gd name="T50" fmla="*/ 215 w 237"/>
                  <a:gd name="T51" fmla="*/ 95 h 184"/>
                  <a:gd name="T52" fmla="*/ 220 w 237"/>
                  <a:gd name="T53" fmla="*/ 108 h 184"/>
                  <a:gd name="T54" fmla="*/ 234 w 237"/>
                  <a:gd name="T55" fmla="*/ 116 h 184"/>
                  <a:gd name="T56" fmla="*/ 237 w 237"/>
                  <a:gd name="T57" fmla="*/ 123 h 184"/>
                  <a:gd name="T58" fmla="*/ 231 w 237"/>
                  <a:gd name="T59" fmla="*/ 125 h 184"/>
                  <a:gd name="T60" fmla="*/ 219 w 237"/>
                  <a:gd name="T61" fmla="*/ 124 h 184"/>
                  <a:gd name="T62" fmla="*/ 205 w 237"/>
                  <a:gd name="T63" fmla="*/ 122 h 184"/>
                  <a:gd name="T64" fmla="*/ 198 w 237"/>
                  <a:gd name="T65" fmla="*/ 124 h 184"/>
                  <a:gd name="T66" fmla="*/ 196 w 237"/>
                  <a:gd name="T67" fmla="*/ 129 h 184"/>
                  <a:gd name="T68" fmla="*/ 190 w 237"/>
                  <a:gd name="T69" fmla="*/ 130 h 184"/>
                  <a:gd name="T70" fmla="*/ 182 w 237"/>
                  <a:gd name="T71" fmla="*/ 125 h 184"/>
                  <a:gd name="T72" fmla="*/ 162 w 237"/>
                  <a:gd name="T73" fmla="*/ 136 h 184"/>
                  <a:gd name="T74" fmla="*/ 154 w 237"/>
                  <a:gd name="T75" fmla="*/ 133 h 184"/>
                  <a:gd name="T76" fmla="*/ 151 w 237"/>
                  <a:gd name="T77" fmla="*/ 135 h 184"/>
                  <a:gd name="T78" fmla="*/ 146 w 237"/>
                  <a:gd name="T79" fmla="*/ 148 h 184"/>
                  <a:gd name="T80" fmla="*/ 132 w 237"/>
                  <a:gd name="T81" fmla="*/ 144 h 184"/>
                  <a:gd name="T82" fmla="*/ 119 w 237"/>
                  <a:gd name="T83" fmla="*/ 142 h 184"/>
                  <a:gd name="T84" fmla="*/ 107 w 237"/>
                  <a:gd name="T85" fmla="*/ 134 h 184"/>
                  <a:gd name="T86" fmla="*/ 92 w 237"/>
                  <a:gd name="T87" fmla="*/ 127 h 184"/>
                  <a:gd name="T88" fmla="*/ 82 w 237"/>
                  <a:gd name="T89" fmla="*/ 133 h 184"/>
                  <a:gd name="T90" fmla="*/ 75 w 237"/>
                  <a:gd name="T91" fmla="*/ 144 h 184"/>
                  <a:gd name="T92" fmla="*/ 73 w 237"/>
                  <a:gd name="T93" fmla="*/ 159 h 184"/>
                  <a:gd name="T94" fmla="*/ 61 w 237"/>
                  <a:gd name="T95" fmla="*/ 157 h 184"/>
                  <a:gd name="T96" fmla="*/ 49 w 237"/>
                  <a:gd name="T97" fmla="*/ 154 h 184"/>
                  <a:gd name="T98" fmla="*/ 38 w 237"/>
                  <a:gd name="T99" fmla="*/ 165 h 184"/>
                  <a:gd name="T100" fmla="*/ 29 w 237"/>
                  <a:gd name="T101" fmla="*/ 184 h 184"/>
                  <a:gd name="T102" fmla="*/ 27 w 237"/>
                  <a:gd name="T103" fmla="*/ 178 h 184"/>
                  <a:gd name="T104" fmla="*/ 26 w 237"/>
                  <a:gd name="T105" fmla="*/ 169 h 184"/>
                  <a:gd name="T106" fmla="*/ 17 w 237"/>
                  <a:gd name="T107" fmla="*/ 162 h 184"/>
                  <a:gd name="T108" fmla="*/ 10 w 237"/>
                  <a:gd name="T109" fmla="*/ 152 h 184"/>
                  <a:gd name="T110" fmla="*/ 9 w 237"/>
                  <a:gd name="T111" fmla="*/ 144 h 184"/>
                  <a:gd name="T112" fmla="*/ 0 w 237"/>
                  <a:gd name="T113" fmla="*/ 133 h 184"/>
                  <a:gd name="T114" fmla="*/ 2 w 237"/>
                  <a:gd name="T115" fmla="*/ 127 h 184"/>
                  <a:gd name="T116" fmla="*/ 0 w 237"/>
                  <a:gd name="T117" fmla="*/ 118 h 184"/>
                  <a:gd name="T118" fmla="*/ 1 w 237"/>
                  <a:gd name="T119" fmla="*/ 102 h 184"/>
                  <a:gd name="T120" fmla="*/ 5 w 237"/>
                  <a:gd name="T121" fmla="*/ 98 h 184"/>
                  <a:gd name="T122" fmla="*/ 14 w 237"/>
                  <a:gd name="T123" fmla="*/ 77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7" h="184">
                    <a:moveTo>
                      <a:pt x="14" y="77"/>
                    </a:moveTo>
                    <a:lnTo>
                      <a:pt x="29" y="76"/>
                    </a:lnTo>
                    <a:lnTo>
                      <a:pt x="33" y="70"/>
                    </a:lnTo>
                    <a:lnTo>
                      <a:pt x="36" y="71"/>
                    </a:lnTo>
                    <a:lnTo>
                      <a:pt x="40" y="75"/>
                    </a:lnTo>
                    <a:lnTo>
                      <a:pt x="64" y="68"/>
                    </a:lnTo>
                    <a:lnTo>
                      <a:pt x="71" y="59"/>
                    </a:lnTo>
                    <a:lnTo>
                      <a:pt x="81" y="52"/>
                    </a:lnTo>
                    <a:lnTo>
                      <a:pt x="79" y="45"/>
                    </a:lnTo>
                    <a:lnTo>
                      <a:pt x="84" y="43"/>
                    </a:lnTo>
                    <a:lnTo>
                      <a:pt x="102" y="44"/>
                    </a:lnTo>
                    <a:lnTo>
                      <a:pt x="119" y="35"/>
                    </a:lnTo>
                    <a:lnTo>
                      <a:pt x="132" y="12"/>
                    </a:lnTo>
                    <a:lnTo>
                      <a:pt x="141" y="3"/>
                    </a:lnTo>
                    <a:lnTo>
                      <a:pt x="152" y="0"/>
                    </a:lnTo>
                    <a:lnTo>
                      <a:pt x="155" y="9"/>
                    </a:lnTo>
                    <a:lnTo>
                      <a:pt x="165" y="22"/>
                    </a:lnTo>
                    <a:lnTo>
                      <a:pt x="165" y="30"/>
                    </a:lnTo>
                    <a:lnTo>
                      <a:pt x="163" y="39"/>
                    </a:lnTo>
                    <a:lnTo>
                      <a:pt x="164" y="45"/>
                    </a:lnTo>
                    <a:lnTo>
                      <a:pt x="170" y="51"/>
                    </a:lnTo>
                    <a:lnTo>
                      <a:pt x="185" y="61"/>
                    </a:lnTo>
                    <a:lnTo>
                      <a:pt x="195" y="69"/>
                    </a:lnTo>
                    <a:lnTo>
                      <a:pt x="195" y="76"/>
                    </a:lnTo>
                    <a:lnTo>
                      <a:pt x="207" y="86"/>
                    </a:lnTo>
                    <a:lnTo>
                      <a:pt x="215" y="95"/>
                    </a:lnTo>
                    <a:lnTo>
                      <a:pt x="220" y="108"/>
                    </a:lnTo>
                    <a:lnTo>
                      <a:pt x="234" y="116"/>
                    </a:lnTo>
                    <a:lnTo>
                      <a:pt x="237" y="123"/>
                    </a:lnTo>
                    <a:lnTo>
                      <a:pt x="231" y="125"/>
                    </a:lnTo>
                    <a:lnTo>
                      <a:pt x="219" y="124"/>
                    </a:lnTo>
                    <a:lnTo>
                      <a:pt x="205" y="122"/>
                    </a:lnTo>
                    <a:lnTo>
                      <a:pt x="198" y="124"/>
                    </a:lnTo>
                    <a:lnTo>
                      <a:pt x="196" y="129"/>
                    </a:lnTo>
                    <a:lnTo>
                      <a:pt x="190" y="130"/>
                    </a:lnTo>
                    <a:lnTo>
                      <a:pt x="182" y="125"/>
                    </a:lnTo>
                    <a:lnTo>
                      <a:pt x="162" y="136"/>
                    </a:lnTo>
                    <a:lnTo>
                      <a:pt x="154" y="133"/>
                    </a:lnTo>
                    <a:lnTo>
                      <a:pt x="151" y="135"/>
                    </a:lnTo>
                    <a:lnTo>
                      <a:pt x="146" y="148"/>
                    </a:lnTo>
                    <a:lnTo>
                      <a:pt x="132" y="144"/>
                    </a:lnTo>
                    <a:lnTo>
                      <a:pt x="119" y="142"/>
                    </a:lnTo>
                    <a:lnTo>
                      <a:pt x="107" y="134"/>
                    </a:lnTo>
                    <a:lnTo>
                      <a:pt x="92" y="127"/>
                    </a:lnTo>
                    <a:lnTo>
                      <a:pt x="82" y="133"/>
                    </a:lnTo>
                    <a:lnTo>
                      <a:pt x="75" y="144"/>
                    </a:lnTo>
                    <a:lnTo>
                      <a:pt x="73" y="159"/>
                    </a:lnTo>
                    <a:lnTo>
                      <a:pt x="61" y="157"/>
                    </a:lnTo>
                    <a:lnTo>
                      <a:pt x="49" y="154"/>
                    </a:lnTo>
                    <a:lnTo>
                      <a:pt x="38" y="165"/>
                    </a:lnTo>
                    <a:lnTo>
                      <a:pt x="29" y="184"/>
                    </a:lnTo>
                    <a:lnTo>
                      <a:pt x="27" y="178"/>
                    </a:lnTo>
                    <a:lnTo>
                      <a:pt x="26" y="169"/>
                    </a:lnTo>
                    <a:lnTo>
                      <a:pt x="17" y="162"/>
                    </a:lnTo>
                    <a:lnTo>
                      <a:pt x="10" y="152"/>
                    </a:lnTo>
                    <a:lnTo>
                      <a:pt x="9" y="144"/>
                    </a:lnTo>
                    <a:lnTo>
                      <a:pt x="0" y="133"/>
                    </a:lnTo>
                    <a:lnTo>
                      <a:pt x="2" y="127"/>
                    </a:lnTo>
                    <a:lnTo>
                      <a:pt x="0" y="118"/>
                    </a:lnTo>
                    <a:lnTo>
                      <a:pt x="1" y="102"/>
                    </a:lnTo>
                    <a:lnTo>
                      <a:pt x="5" y="98"/>
                    </a:lnTo>
                    <a:lnTo>
                      <a:pt x="14" y="7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5" name="Freeform 35"/>
              <p:cNvSpPr>
                <a:spLocks/>
              </p:cNvSpPr>
              <p:nvPr/>
            </p:nvSpPr>
            <p:spPr bwMode="auto">
              <a:xfrm>
                <a:off x="2514600" y="2362200"/>
                <a:ext cx="58738" cy="34925"/>
              </a:xfrm>
              <a:custGeom>
                <a:avLst/>
                <a:gdLst>
                  <a:gd name="T0" fmla="*/ 11 w 37"/>
                  <a:gd name="T1" fmla="*/ 10 h 22"/>
                  <a:gd name="T2" fmla="*/ 22 w 37"/>
                  <a:gd name="T3" fmla="*/ 13 h 22"/>
                  <a:gd name="T4" fmla="*/ 37 w 37"/>
                  <a:gd name="T5" fmla="*/ 12 h 22"/>
                  <a:gd name="T6" fmla="*/ 26 w 37"/>
                  <a:gd name="T7" fmla="*/ 21 h 22"/>
                  <a:gd name="T8" fmla="*/ 20 w 37"/>
                  <a:gd name="T9" fmla="*/ 22 h 22"/>
                  <a:gd name="T10" fmla="*/ 2 w 37"/>
                  <a:gd name="T11" fmla="*/ 13 h 22"/>
                  <a:gd name="T12" fmla="*/ 0 w 37"/>
                  <a:gd name="T13" fmla="*/ 6 h 22"/>
                  <a:gd name="T14" fmla="*/ 8 w 37"/>
                  <a:gd name="T15" fmla="*/ 0 h 22"/>
                  <a:gd name="T16" fmla="*/ 11 w 37"/>
                  <a:gd name="T17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22">
                    <a:moveTo>
                      <a:pt x="11" y="10"/>
                    </a:moveTo>
                    <a:lnTo>
                      <a:pt x="22" y="13"/>
                    </a:lnTo>
                    <a:lnTo>
                      <a:pt x="37" y="12"/>
                    </a:lnTo>
                    <a:lnTo>
                      <a:pt x="26" y="21"/>
                    </a:lnTo>
                    <a:lnTo>
                      <a:pt x="20" y="22"/>
                    </a:lnTo>
                    <a:lnTo>
                      <a:pt x="2" y="13"/>
                    </a:lnTo>
                    <a:lnTo>
                      <a:pt x="0" y="6"/>
                    </a:lnTo>
                    <a:lnTo>
                      <a:pt x="8" y="0"/>
                    </a:lnTo>
                    <a:lnTo>
                      <a:pt x="11" y="1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6" name="Freeform 36"/>
              <p:cNvSpPr>
                <a:spLocks noEditPoints="1"/>
              </p:cNvSpPr>
              <p:nvPr/>
            </p:nvSpPr>
            <p:spPr bwMode="auto">
              <a:xfrm>
                <a:off x="893762" y="1347787"/>
                <a:ext cx="2208213" cy="1189038"/>
              </a:xfrm>
              <a:custGeom>
                <a:avLst/>
                <a:gdLst>
                  <a:gd name="T0" fmla="*/ 5030 w 5699"/>
                  <a:gd name="T1" fmla="*/ 189 h 3068"/>
                  <a:gd name="T2" fmla="*/ 4486 w 5699"/>
                  <a:gd name="T3" fmla="*/ 395 h 3068"/>
                  <a:gd name="T4" fmla="*/ 4419 w 5699"/>
                  <a:gd name="T5" fmla="*/ 225 h 3068"/>
                  <a:gd name="T6" fmla="*/ 4392 w 5699"/>
                  <a:gd name="T7" fmla="*/ 58 h 3068"/>
                  <a:gd name="T8" fmla="*/ 5423 w 5699"/>
                  <a:gd name="T9" fmla="*/ 7 h 3068"/>
                  <a:gd name="T10" fmla="*/ 4022 w 5699"/>
                  <a:gd name="T11" fmla="*/ 136 h 3068"/>
                  <a:gd name="T12" fmla="*/ 3430 w 5699"/>
                  <a:gd name="T13" fmla="*/ 261 h 3068"/>
                  <a:gd name="T14" fmla="*/ 3861 w 5699"/>
                  <a:gd name="T15" fmla="*/ 239 h 3068"/>
                  <a:gd name="T16" fmla="*/ 3040 w 5699"/>
                  <a:gd name="T17" fmla="*/ 281 h 3068"/>
                  <a:gd name="T18" fmla="*/ 2702 w 5699"/>
                  <a:gd name="T19" fmla="*/ 373 h 3068"/>
                  <a:gd name="T20" fmla="*/ 3998 w 5699"/>
                  <a:gd name="T21" fmla="*/ 378 h 3068"/>
                  <a:gd name="T22" fmla="*/ 4259 w 5699"/>
                  <a:gd name="T23" fmla="*/ 497 h 3068"/>
                  <a:gd name="T24" fmla="*/ 3108 w 5699"/>
                  <a:gd name="T25" fmla="*/ 415 h 3068"/>
                  <a:gd name="T26" fmla="*/ 2781 w 5699"/>
                  <a:gd name="T27" fmla="*/ 376 h 3068"/>
                  <a:gd name="T28" fmla="*/ 3397 w 5699"/>
                  <a:gd name="T29" fmla="*/ 466 h 3068"/>
                  <a:gd name="T30" fmla="*/ 3741 w 5699"/>
                  <a:gd name="T31" fmla="*/ 428 h 3068"/>
                  <a:gd name="T32" fmla="*/ 2485 w 5699"/>
                  <a:gd name="T33" fmla="*/ 522 h 3068"/>
                  <a:gd name="T34" fmla="*/ 3658 w 5699"/>
                  <a:gd name="T35" fmla="*/ 525 h 3068"/>
                  <a:gd name="T36" fmla="*/ 3220 w 5699"/>
                  <a:gd name="T37" fmla="*/ 713 h 3068"/>
                  <a:gd name="T38" fmla="*/ 4363 w 5699"/>
                  <a:gd name="T39" fmla="*/ 644 h 3068"/>
                  <a:gd name="T40" fmla="*/ 4935 w 5699"/>
                  <a:gd name="T41" fmla="*/ 1030 h 3068"/>
                  <a:gd name="T42" fmla="*/ 4609 w 5699"/>
                  <a:gd name="T43" fmla="*/ 1331 h 3068"/>
                  <a:gd name="T44" fmla="*/ 3970 w 5699"/>
                  <a:gd name="T45" fmla="*/ 1206 h 3068"/>
                  <a:gd name="T46" fmla="*/ 4260 w 5699"/>
                  <a:gd name="T47" fmla="*/ 820 h 3068"/>
                  <a:gd name="T48" fmla="*/ 4081 w 5699"/>
                  <a:gd name="T49" fmla="*/ 547 h 3068"/>
                  <a:gd name="T50" fmla="*/ 3095 w 5699"/>
                  <a:gd name="T51" fmla="*/ 573 h 3068"/>
                  <a:gd name="T52" fmla="*/ 2829 w 5699"/>
                  <a:gd name="T53" fmla="*/ 664 h 3068"/>
                  <a:gd name="T54" fmla="*/ 2787 w 5699"/>
                  <a:gd name="T55" fmla="*/ 885 h 3068"/>
                  <a:gd name="T56" fmla="*/ 2450 w 5699"/>
                  <a:gd name="T57" fmla="*/ 782 h 3068"/>
                  <a:gd name="T58" fmla="*/ 3509 w 5699"/>
                  <a:gd name="T59" fmla="*/ 917 h 3068"/>
                  <a:gd name="T60" fmla="*/ 3972 w 5699"/>
                  <a:gd name="T61" fmla="*/ 981 h 3068"/>
                  <a:gd name="T62" fmla="*/ 2985 w 5699"/>
                  <a:gd name="T63" fmla="*/ 1402 h 3068"/>
                  <a:gd name="T64" fmla="*/ 3247 w 5699"/>
                  <a:gd name="T65" fmla="*/ 1941 h 3068"/>
                  <a:gd name="T66" fmla="*/ 3750 w 5699"/>
                  <a:gd name="T67" fmla="*/ 1783 h 3068"/>
                  <a:gd name="T68" fmla="*/ 4337 w 5699"/>
                  <a:gd name="T69" fmla="*/ 1477 h 3068"/>
                  <a:gd name="T70" fmla="*/ 4740 w 5699"/>
                  <a:gd name="T71" fmla="*/ 1945 h 3068"/>
                  <a:gd name="T72" fmla="*/ 4219 w 5699"/>
                  <a:gd name="T73" fmla="*/ 2347 h 3068"/>
                  <a:gd name="T74" fmla="*/ 4164 w 5699"/>
                  <a:gd name="T75" fmla="*/ 2685 h 3068"/>
                  <a:gd name="T76" fmla="*/ 4034 w 5699"/>
                  <a:gd name="T77" fmla="*/ 2767 h 3068"/>
                  <a:gd name="T78" fmla="*/ 3533 w 5699"/>
                  <a:gd name="T79" fmla="*/ 2788 h 3068"/>
                  <a:gd name="T80" fmla="*/ 2912 w 5699"/>
                  <a:gd name="T81" fmla="*/ 3023 h 3068"/>
                  <a:gd name="T82" fmla="*/ 2877 w 5699"/>
                  <a:gd name="T83" fmla="*/ 2695 h 3068"/>
                  <a:gd name="T84" fmla="*/ 2569 w 5699"/>
                  <a:gd name="T85" fmla="*/ 2536 h 3068"/>
                  <a:gd name="T86" fmla="*/ 1634 w 5699"/>
                  <a:gd name="T87" fmla="*/ 2455 h 3068"/>
                  <a:gd name="T88" fmla="*/ 264 w 5699"/>
                  <a:gd name="T89" fmla="*/ 2180 h 3068"/>
                  <a:gd name="T90" fmla="*/ 224 w 5699"/>
                  <a:gd name="T91" fmla="*/ 1603 h 3068"/>
                  <a:gd name="T92" fmla="*/ 1272 w 5699"/>
                  <a:gd name="T93" fmla="*/ 843 h 3068"/>
                  <a:gd name="T94" fmla="*/ 1966 w 5699"/>
                  <a:gd name="T95" fmla="*/ 852 h 3068"/>
                  <a:gd name="T96" fmla="*/ 2624 w 5699"/>
                  <a:gd name="T97" fmla="*/ 901 h 3068"/>
                  <a:gd name="T98" fmla="*/ 3256 w 5699"/>
                  <a:gd name="T99" fmla="*/ 947 h 3068"/>
                  <a:gd name="T100" fmla="*/ 3159 w 5699"/>
                  <a:gd name="T101" fmla="*/ 875 h 3068"/>
                  <a:gd name="T102" fmla="*/ 4305 w 5699"/>
                  <a:gd name="T103" fmla="*/ 930 h 3068"/>
                  <a:gd name="T104" fmla="*/ 3839 w 5699"/>
                  <a:gd name="T105" fmla="*/ 1271 h 3068"/>
                  <a:gd name="T106" fmla="*/ 3588 w 5699"/>
                  <a:gd name="T107" fmla="*/ 1392 h 3068"/>
                  <a:gd name="T108" fmla="*/ 3812 w 5699"/>
                  <a:gd name="T109" fmla="*/ 1392 h 3068"/>
                  <a:gd name="T110" fmla="*/ 4766 w 5699"/>
                  <a:gd name="T111" fmla="*/ 2387 h 3068"/>
                  <a:gd name="T112" fmla="*/ 4866 w 5699"/>
                  <a:gd name="T113" fmla="*/ 2637 h 3068"/>
                  <a:gd name="T114" fmla="*/ 4753 w 5699"/>
                  <a:gd name="T115" fmla="*/ 2312 h 3068"/>
                  <a:gd name="T116" fmla="*/ 117 w 5699"/>
                  <a:gd name="T117" fmla="*/ 2327 h 3068"/>
                  <a:gd name="T118" fmla="*/ 4287 w 5699"/>
                  <a:gd name="T119" fmla="*/ 2375 h 30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699" h="3068">
                    <a:moveTo>
                      <a:pt x="5423" y="7"/>
                    </a:moveTo>
                    <a:lnTo>
                      <a:pt x="5539" y="10"/>
                    </a:lnTo>
                    <a:lnTo>
                      <a:pt x="5629" y="17"/>
                    </a:lnTo>
                    <a:lnTo>
                      <a:pt x="5699" y="30"/>
                    </a:lnTo>
                    <a:lnTo>
                      <a:pt x="5686" y="44"/>
                    </a:lnTo>
                    <a:lnTo>
                      <a:pt x="5555" y="66"/>
                    </a:lnTo>
                    <a:lnTo>
                      <a:pt x="5436" y="76"/>
                    </a:lnTo>
                    <a:lnTo>
                      <a:pt x="5383" y="88"/>
                    </a:lnTo>
                    <a:lnTo>
                      <a:pt x="5484" y="87"/>
                    </a:lnTo>
                    <a:lnTo>
                      <a:pt x="5346" y="120"/>
                    </a:lnTo>
                    <a:lnTo>
                      <a:pt x="5257" y="135"/>
                    </a:lnTo>
                    <a:lnTo>
                      <a:pt x="5136" y="180"/>
                    </a:lnTo>
                    <a:lnTo>
                      <a:pt x="5030" y="189"/>
                    </a:lnTo>
                    <a:lnTo>
                      <a:pt x="4989" y="201"/>
                    </a:lnTo>
                    <a:lnTo>
                      <a:pt x="4840" y="207"/>
                    </a:lnTo>
                    <a:lnTo>
                      <a:pt x="4898" y="214"/>
                    </a:lnTo>
                    <a:lnTo>
                      <a:pt x="4856" y="224"/>
                    </a:lnTo>
                    <a:lnTo>
                      <a:pt x="4869" y="253"/>
                    </a:lnTo>
                    <a:lnTo>
                      <a:pt x="4804" y="273"/>
                    </a:lnTo>
                    <a:lnTo>
                      <a:pt x="4714" y="290"/>
                    </a:lnTo>
                    <a:lnTo>
                      <a:pt x="4669" y="313"/>
                    </a:lnTo>
                    <a:lnTo>
                      <a:pt x="4584" y="331"/>
                    </a:lnTo>
                    <a:lnTo>
                      <a:pt x="4578" y="345"/>
                    </a:lnTo>
                    <a:lnTo>
                      <a:pt x="4664" y="343"/>
                    </a:lnTo>
                    <a:lnTo>
                      <a:pt x="4652" y="357"/>
                    </a:lnTo>
                    <a:lnTo>
                      <a:pt x="4486" y="395"/>
                    </a:lnTo>
                    <a:lnTo>
                      <a:pt x="4373" y="377"/>
                    </a:lnTo>
                    <a:lnTo>
                      <a:pt x="4218" y="387"/>
                    </a:lnTo>
                    <a:lnTo>
                      <a:pt x="4152" y="380"/>
                    </a:lnTo>
                    <a:lnTo>
                      <a:pt x="4062" y="376"/>
                    </a:lnTo>
                    <a:lnTo>
                      <a:pt x="4086" y="347"/>
                    </a:lnTo>
                    <a:lnTo>
                      <a:pt x="4191" y="333"/>
                    </a:lnTo>
                    <a:lnTo>
                      <a:pt x="4212" y="290"/>
                    </a:lnTo>
                    <a:lnTo>
                      <a:pt x="4246" y="285"/>
                    </a:lnTo>
                    <a:lnTo>
                      <a:pt x="4349" y="311"/>
                    </a:lnTo>
                    <a:lnTo>
                      <a:pt x="4322" y="273"/>
                    </a:lnTo>
                    <a:lnTo>
                      <a:pt x="4256" y="262"/>
                    </a:lnTo>
                    <a:lnTo>
                      <a:pt x="4319" y="239"/>
                    </a:lnTo>
                    <a:lnTo>
                      <a:pt x="4419" y="225"/>
                    </a:lnTo>
                    <a:lnTo>
                      <a:pt x="4453" y="206"/>
                    </a:lnTo>
                    <a:lnTo>
                      <a:pt x="4411" y="184"/>
                    </a:lnTo>
                    <a:lnTo>
                      <a:pt x="4423" y="155"/>
                    </a:lnTo>
                    <a:lnTo>
                      <a:pt x="4548" y="157"/>
                    </a:lnTo>
                    <a:lnTo>
                      <a:pt x="4578" y="163"/>
                    </a:lnTo>
                    <a:lnTo>
                      <a:pt x="4673" y="143"/>
                    </a:lnTo>
                    <a:lnTo>
                      <a:pt x="4575" y="137"/>
                    </a:lnTo>
                    <a:lnTo>
                      <a:pt x="4408" y="140"/>
                    </a:lnTo>
                    <a:lnTo>
                      <a:pt x="4347" y="122"/>
                    </a:lnTo>
                    <a:lnTo>
                      <a:pt x="4335" y="100"/>
                    </a:lnTo>
                    <a:lnTo>
                      <a:pt x="4300" y="85"/>
                    </a:lnTo>
                    <a:lnTo>
                      <a:pt x="4312" y="67"/>
                    </a:lnTo>
                    <a:lnTo>
                      <a:pt x="4392" y="58"/>
                    </a:lnTo>
                    <a:lnTo>
                      <a:pt x="4447" y="56"/>
                    </a:lnTo>
                    <a:lnTo>
                      <a:pt x="4547" y="48"/>
                    </a:lnTo>
                    <a:lnTo>
                      <a:pt x="4636" y="29"/>
                    </a:lnTo>
                    <a:lnTo>
                      <a:pt x="4688" y="32"/>
                    </a:lnTo>
                    <a:lnTo>
                      <a:pt x="4721" y="46"/>
                    </a:lnTo>
                    <a:lnTo>
                      <a:pt x="4787" y="19"/>
                    </a:lnTo>
                    <a:lnTo>
                      <a:pt x="4855" y="11"/>
                    </a:lnTo>
                    <a:lnTo>
                      <a:pt x="4941" y="5"/>
                    </a:lnTo>
                    <a:lnTo>
                      <a:pt x="5080" y="3"/>
                    </a:lnTo>
                    <a:lnTo>
                      <a:pt x="5098" y="9"/>
                    </a:lnTo>
                    <a:lnTo>
                      <a:pt x="5236" y="0"/>
                    </a:lnTo>
                    <a:lnTo>
                      <a:pt x="5329" y="3"/>
                    </a:lnTo>
                    <a:lnTo>
                      <a:pt x="5423" y="7"/>
                    </a:lnTo>
                    <a:moveTo>
                      <a:pt x="4382" y="188"/>
                    </a:moveTo>
                    <a:lnTo>
                      <a:pt x="4419" y="206"/>
                    </a:lnTo>
                    <a:lnTo>
                      <a:pt x="4335" y="223"/>
                    </a:lnTo>
                    <a:lnTo>
                      <a:pt x="4199" y="267"/>
                    </a:lnTo>
                    <a:lnTo>
                      <a:pt x="4110" y="271"/>
                    </a:lnTo>
                    <a:lnTo>
                      <a:pt x="4018" y="263"/>
                    </a:lnTo>
                    <a:lnTo>
                      <a:pt x="3994" y="240"/>
                    </a:lnTo>
                    <a:lnTo>
                      <a:pt x="4019" y="219"/>
                    </a:lnTo>
                    <a:lnTo>
                      <a:pt x="4074" y="204"/>
                    </a:lnTo>
                    <a:lnTo>
                      <a:pt x="3987" y="204"/>
                    </a:lnTo>
                    <a:lnTo>
                      <a:pt x="3958" y="185"/>
                    </a:lnTo>
                    <a:lnTo>
                      <a:pt x="3959" y="160"/>
                    </a:lnTo>
                    <a:lnTo>
                      <a:pt x="4022" y="136"/>
                    </a:lnTo>
                    <a:lnTo>
                      <a:pt x="4075" y="119"/>
                    </a:lnTo>
                    <a:lnTo>
                      <a:pt x="4127" y="116"/>
                    </a:lnTo>
                    <a:lnTo>
                      <a:pt x="4123" y="103"/>
                    </a:lnTo>
                    <a:lnTo>
                      <a:pt x="4233" y="101"/>
                    </a:lnTo>
                    <a:lnTo>
                      <a:pt x="4257" y="129"/>
                    </a:lnTo>
                    <a:lnTo>
                      <a:pt x="4321" y="141"/>
                    </a:lnTo>
                    <a:lnTo>
                      <a:pt x="4386" y="151"/>
                    </a:lnTo>
                    <a:lnTo>
                      <a:pt x="4382" y="188"/>
                    </a:lnTo>
                    <a:moveTo>
                      <a:pt x="3671" y="265"/>
                    </a:moveTo>
                    <a:lnTo>
                      <a:pt x="3660" y="289"/>
                    </a:lnTo>
                    <a:lnTo>
                      <a:pt x="3589" y="283"/>
                    </a:lnTo>
                    <a:lnTo>
                      <a:pt x="3534" y="263"/>
                    </a:lnTo>
                    <a:lnTo>
                      <a:pt x="3430" y="261"/>
                    </a:lnTo>
                    <a:lnTo>
                      <a:pt x="3498" y="244"/>
                    </a:lnTo>
                    <a:lnTo>
                      <a:pt x="3458" y="230"/>
                    </a:lnTo>
                    <a:lnTo>
                      <a:pt x="3484" y="208"/>
                    </a:lnTo>
                    <a:lnTo>
                      <a:pt x="3567" y="216"/>
                    </a:lnTo>
                    <a:lnTo>
                      <a:pt x="3669" y="237"/>
                    </a:lnTo>
                    <a:lnTo>
                      <a:pt x="3671" y="265"/>
                    </a:lnTo>
                    <a:moveTo>
                      <a:pt x="3857" y="280"/>
                    </a:moveTo>
                    <a:lnTo>
                      <a:pt x="3771" y="293"/>
                    </a:lnTo>
                    <a:lnTo>
                      <a:pt x="3748" y="279"/>
                    </a:lnTo>
                    <a:lnTo>
                      <a:pt x="3753" y="257"/>
                    </a:lnTo>
                    <a:lnTo>
                      <a:pt x="3779" y="233"/>
                    </a:lnTo>
                    <a:lnTo>
                      <a:pt x="3838" y="235"/>
                    </a:lnTo>
                    <a:lnTo>
                      <a:pt x="3861" y="239"/>
                    </a:lnTo>
                    <a:lnTo>
                      <a:pt x="3894" y="259"/>
                    </a:lnTo>
                    <a:lnTo>
                      <a:pt x="3857" y="280"/>
                    </a:lnTo>
                    <a:moveTo>
                      <a:pt x="3231" y="248"/>
                    </a:moveTo>
                    <a:lnTo>
                      <a:pt x="3157" y="260"/>
                    </a:lnTo>
                    <a:lnTo>
                      <a:pt x="3078" y="260"/>
                    </a:lnTo>
                    <a:lnTo>
                      <a:pt x="3090" y="251"/>
                    </a:lnTo>
                    <a:lnTo>
                      <a:pt x="3163" y="234"/>
                    </a:lnTo>
                    <a:lnTo>
                      <a:pt x="3185" y="237"/>
                    </a:lnTo>
                    <a:lnTo>
                      <a:pt x="3231" y="248"/>
                    </a:lnTo>
                    <a:moveTo>
                      <a:pt x="3135" y="302"/>
                    </a:moveTo>
                    <a:lnTo>
                      <a:pt x="3021" y="319"/>
                    </a:lnTo>
                    <a:lnTo>
                      <a:pt x="2975" y="300"/>
                    </a:lnTo>
                    <a:lnTo>
                      <a:pt x="3040" y="281"/>
                    </a:lnTo>
                    <a:lnTo>
                      <a:pt x="3119" y="275"/>
                    </a:lnTo>
                    <a:lnTo>
                      <a:pt x="3175" y="284"/>
                    </a:lnTo>
                    <a:lnTo>
                      <a:pt x="3135" y="302"/>
                    </a:lnTo>
                    <a:moveTo>
                      <a:pt x="3917" y="312"/>
                    </a:moveTo>
                    <a:lnTo>
                      <a:pt x="3893" y="314"/>
                    </a:lnTo>
                    <a:lnTo>
                      <a:pt x="3806" y="310"/>
                    </a:lnTo>
                    <a:lnTo>
                      <a:pt x="3812" y="294"/>
                    </a:lnTo>
                    <a:lnTo>
                      <a:pt x="3909" y="294"/>
                    </a:lnTo>
                    <a:lnTo>
                      <a:pt x="3930" y="305"/>
                    </a:lnTo>
                    <a:lnTo>
                      <a:pt x="3917" y="312"/>
                    </a:lnTo>
                    <a:moveTo>
                      <a:pt x="2839" y="305"/>
                    </a:moveTo>
                    <a:lnTo>
                      <a:pt x="2768" y="351"/>
                    </a:lnTo>
                    <a:lnTo>
                      <a:pt x="2702" y="373"/>
                    </a:lnTo>
                    <a:lnTo>
                      <a:pt x="2651" y="376"/>
                    </a:lnTo>
                    <a:lnTo>
                      <a:pt x="2523" y="402"/>
                    </a:lnTo>
                    <a:lnTo>
                      <a:pt x="2430" y="412"/>
                    </a:lnTo>
                    <a:lnTo>
                      <a:pt x="2382" y="398"/>
                    </a:lnTo>
                    <a:lnTo>
                      <a:pt x="2382" y="398"/>
                    </a:lnTo>
                    <a:lnTo>
                      <a:pt x="2530" y="352"/>
                    </a:lnTo>
                    <a:lnTo>
                      <a:pt x="2686" y="313"/>
                    </a:lnTo>
                    <a:lnTo>
                      <a:pt x="2760" y="314"/>
                    </a:lnTo>
                    <a:lnTo>
                      <a:pt x="2839" y="305"/>
                    </a:lnTo>
                    <a:moveTo>
                      <a:pt x="3847" y="338"/>
                    </a:moveTo>
                    <a:lnTo>
                      <a:pt x="3880" y="358"/>
                    </a:lnTo>
                    <a:lnTo>
                      <a:pt x="3977" y="357"/>
                    </a:lnTo>
                    <a:lnTo>
                      <a:pt x="3998" y="378"/>
                    </a:lnTo>
                    <a:lnTo>
                      <a:pt x="3963" y="401"/>
                    </a:lnTo>
                    <a:lnTo>
                      <a:pt x="4005" y="415"/>
                    </a:lnTo>
                    <a:lnTo>
                      <a:pt x="4022" y="430"/>
                    </a:lnTo>
                    <a:lnTo>
                      <a:pt x="4087" y="433"/>
                    </a:lnTo>
                    <a:lnTo>
                      <a:pt x="4155" y="438"/>
                    </a:lnTo>
                    <a:lnTo>
                      <a:pt x="4247" y="425"/>
                    </a:lnTo>
                    <a:lnTo>
                      <a:pt x="4354" y="419"/>
                    </a:lnTo>
                    <a:lnTo>
                      <a:pt x="4431" y="424"/>
                    </a:lnTo>
                    <a:lnTo>
                      <a:pt x="4463" y="448"/>
                    </a:lnTo>
                    <a:lnTo>
                      <a:pt x="4451" y="474"/>
                    </a:lnTo>
                    <a:lnTo>
                      <a:pt x="4405" y="491"/>
                    </a:lnTo>
                    <a:lnTo>
                      <a:pt x="4317" y="505"/>
                    </a:lnTo>
                    <a:lnTo>
                      <a:pt x="4259" y="497"/>
                    </a:lnTo>
                    <a:lnTo>
                      <a:pt x="4104" y="507"/>
                    </a:lnTo>
                    <a:lnTo>
                      <a:pt x="3998" y="509"/>
                    </a:lnTo>
                    <a:lnTo>
                      <a:pt x="3924" y="501"/>
                    </a:lnTo>
                    <a:lnTo>
                      <a:pt x="3810" y="480"/>
                    </a:lnTo>
                    <a:lnTo>
                      <a:pt x="3828" y="444"/>
                    </a:lnTo>
                    <a:lnTo>
                      <a:pt x="3855" y="413"/>
                    </a:lnTo>
                    <a:lnTo>
                      <a:pt x="3834" y="386"/>
                    </a:lnTo>
                    <a:lnTo>
                      <a:pt x="3740" y="378"/>
                    </a:lnTo>
                    <a:lnTo>
                      <a:pt x="3704" y="359"/>
                    </a:lnTo>
                    <a:lnTo>
                      <a:pt x="3751" y="334"/>
                    </a:lnTo>
                    <a:lnTo>
                      <a:pt x="3847" y="338"/>
                    </a:lnTo>
                    <a:moveTo>
                      <a:pt x="3116" y="393"/>
                    </a:moveTo>
                    <a:lnTo>
                      <a:pt x="3108" y="415"/>
                    </a:lnTo>
                    <a:lnTo>
                      <a:pt x="3165" y="405"/>
                    </a:lnTo>
                    <a:lnTo>
                      <a:pt x="3214" y="408"/>
                    </a:lnTo>
                    <a:lnTo>
                      <a:pt x="3186" y="439"/>
                    </a:lnTo>
                    <a:lnTo>
                      <a:pt x="3120" y="469"/>
                    </a:lnTo>
                    <a:lnTo>
                      <a:pt x="2937" y="479"/>
                    </a:lnTo>
                    <a:lnTo>
                      <a:pt x="2775" y="507"/>
                    </a:lnTo>
                    <a:lnTo>
                      <a:pt x="2696" y="508"/>
                    </a:lnTo>
                    <a:lnTo>
                      <a:pt x="2716" y="487"/>
                    </a:lnTo>
                    <a:lnTo>
                      <a:pt x="2856" y="459"/>
                    </a:lnTo>
                    <a:lnTo>
                      <a:pt x="2618" y="466"/>
                    </a:lnTo>
                    <a:lnTo>
                      <a:pt x="2563" y="455"/>
                    </a:lnTo>
                    <a:lnTo>
                      <a:pt x="2712" y="393"/>
                    </a:lnTo>
                    <a:lnTo>
                      <a:pt x="2781" y="376"/>
                    </a:lnTo>
                    <a:lnTo>
                      <a:pt x="2894" y="397"/>
                    </a:lnTo>
                    <a:lnTo>
                      <a:pt x="2935" y="434"/>
                    </a:lnTo>
                    <a:lnTo>
                      <a:pt x="3017" y="439"/>
                    </a:lnTo>
                    <a:lnTo>
                      <a:pt x="3020" y="379"/>
                    </a:lnTo>
                    <a:lnTo>
                      <a:pt x="3094" y="356"/>
                    </a:lnTo>
                    <a:lnTo>
                      <a:pt x="3136" y="364"/>
                    </a:lnTo>
                    <a:lnTo>
                      <a:pt x="3116" y="393"/>
                    </a:lnTo>
                    <a:moveTo>
                      <a:pt x="3634" y="361"/>
                    </a:moveTo>
                    <a:lnTo>
                      <a:pt x="3639" y="390"/>
                    </a:lnTo>
                    <a:lnTo>
                      <a:pt x="3605" y="422"/>
                    </a:lnTo>
                    <a:lnTo>
                      <a:pt x="3531" y="469"/>
                    </a:lnTo>
                    <a:lnTo>
                      <a:pt x="3440" y="476"/>
                    </a:lnTo>
                    <a:lnTo>
                      <a:pt x="3397" y="466"/>
                    </a:lnTo>
                    <a:lnTo>
                      <a:pt x="3440" y="428"/>
                    </a:lnTo>
                    <a:lnTo>
                      <a:pt x="3353" y="433"/>
                    </a:lnTo>
                    <a:lnTo>
                      <a:pt x="3406" y="385"/>
                    </a:lnTo>
                    <a:lnTo>
                      <a:pt x="3457" y="387"/>
                    </a:lnTo>
                    <a:lnTo>
                      <a:pt x="3555" y="366"/>
                    </a:lnTo>
                    <a:lnTo>
                      <a:pt x="3621" y="369"/>
                    </a:lnTo>
                    <a:lnTo>
                      <a:pt x="3634" y="361"/>
                    </a:lnTo>
                    <a:moveTo>
                      <a:pt x="3759" y="471"/>
                    </a:moveTo>
                    <a:lnTo>
                      <a:pt x="3706" y="496"/>
                    </a:lnTo>
                    <a:lnTo>
                      <a:pt x="3637" y="491"/>
                    </a:lnTo>
                    <a:lnTo>
                      <a:pt x="3593" y="474"/>
                    </a:lnTo>
                    <a:lnTo>
                      <a:pt x="3651" y="445"/>
                    </a:lnTo>
                    <a:lnTo>
                      <a:pt x="3741" y="428"/>
                    </a:lnTo>
                    <a:lnTo>
                      <a:pt x="3762" y="450"/>
                    </a:lnTo>
                    <a:lnTo>
                      <a:pt x="3759" y="471"/>
                    </a:lnTo>
                    <a:moveTo>
                      <a:pt x="2102" y="711"/>
                    </a:moveTo>
                    <a:lnTo>
                      <a:pt x="1922" y="744"/>
                    </a:lnTo>
                    <a:lnTo>
                      <a:pt x="1931" y="714"/>
                    </a:lnTo>
                    <a:lnTo>
                      <a:pt x="1854" y="677"/>
                    </a:lnTo>
                    <a:lnTo>
                      <a:pt x="1914" y="648"/>
                    </a:lnTo>
                    <a:lnTo>
                      <a:pt x="2013" y="599"/>
                    </a:lnTo>
                    <a:lnTo>
                      <a:pt x="2115" y="555"/>
                    </a:lnTo>
                    <a:lnTo>
                      <a:pt x="2118" y="515"/>
                    </a:lnTo>
                    <a:lnTo>
                      <a:pt x="2304" y="505"/>
                    </a:lnTo>
                    <a:lnTo>
                      <a:pt x="2359" y="518"/>
                    </a:lnTo>
                    <a:lnTo>
                      <a:pt x="2485" y="522"/>
                    </a:lnTo>
                    <a:lnTo>
                      <a:pt x="2511" y="541"/>
                    </a:lnTo>
                    <a:lnTo>
                      <a:pt x="2532" y="569"/>
                    </a:lnTo>
                    <a:lnTo>
                      <a:pt x="2446" y="586"/>
                    </a:lnTo>
                    <a:lnTo>
                      <a:pt x="2261" y="633"/>
                    </a:lnTo>
                    <a:lnTo>
                      <a:pt x="2138" y="681"/>
                    </a:lnTo>
                    <a:lnTo>
                      <a:pt x="2102" y="711"/>
                    </a:lnTo>
                    <a:moveTo>
                      <a:pt x="3636" y="616"/>
                    </a:moveTo>
                    <a:lnTo>
                      <a:pt x="3531" y="667"/>
                    </a:lnTo>
                    <a:lnTo>
                      <a:pt x="3474" y="664"/>
                    </a:lnTo>
                    <a:lnTo>
                      <a:pt x="3499" y="605"/>
                    </a:lnTo>
                    <a:lnTo>
                      <a:pt x="3534" y="571"/>
                    </a:lnTo>
                    <a:lnTo>
                      <a:pt x="3589" y="543"/>
                    </a:lnTo>
                    <a:lnTo>
                      <a:pt x="3658" y="525"/>
                    </a:lnTo>
                    <a:lnTo>
                      <a:pt x="3762" y="528"/>
                    </a:lnTo>
                    <a:lnTo>
                      <a:pt x="3844" y="544"/>
                    </a:lnTo>
                    <a:lnTo>
                      <a:pt x="3710" y="603"/>
                    </a:lnTo>
                    <a:lnTo>
                      <a:pt x="3636" y="616"/>
                    </a:lnTo>
                    <a:moveTo>
                      <a:pt x="3338" y="545"/>
                    </a:moveTo>
                    <a:lnTo>
                      <a:pt x="3385" y="558"/>
                    </a:lnTo>
                    <a:lnTo>
                      <a:pt x="3485" y="550"/>
                    </a:lnTo>
                    <a:lnTo>
                      <a:pt x="3479" y="569"/>
                    </a:lnTo>
                    <a:lnTo>
                      <a:pt x="3398" y="601"/>
                    </a:lnTo>
                    <a:lnTo>
                      <a:pt x="3448" y="630"/>
                    </a:lnTo>
                    <a:lnTo>
                      <a:pt x="3378" y="692"/>
                    </a:lnTo>
                    <a:lnTo>
                      <a:pt x="3265" y="718"/>
                    </a:lnTo>
                    <a:lnTo>
                      <a:pt x="3220" y="713"/>
                    </a:lnTo>
                    <a:lnTo>
                      <a:pt x="3210" y="686"/>
                    </a:lnTo>
                    <a:lnTo>
                      <a:pt x="3133" y="634"/>
                    </a:lnTo>
                    <a:lnTo>
                      <a:pt x="3157" y="612"/>
                    </a:lnTo>
                    <a:lnTo>
                      <a:pt x="3254" y="620"/>
                    </a:lnTo>
                    <a:lnTo>
                      <a:pt x="3243" y="577"/>
                    </a:lnTo>
                    <a:lnTo>
                      <a:pt x="3338" y="545"/>
                    </a:lnTo>
                    <a:moveTo>
                      <a:pt x="4004" y="590"/>
                    </a:moveTo>
                    <a:lnTo>
                      <a:pt x="4008" y="632"/>
                    </a:lnTo>
                    <a:lnTo>
                      <a:pt x="4104" y="578"/>
                    </a:lnTo>
                    <a:lnTo>
                      <a:pt x="4258" y="551"/>
                    </a:lnTo>
                    <a:lnTo>
                      <a:pt x="4288" y="620"/>
                    </a:lnTo>
                    <a:lnTo>
                      <a:pt x="4244" y="664"/>
                    </a:lnTo>
                    <a:lnTo>
                      <a:pt x="4363" y="644"/>
                    </a:lnTo>
                    <a:lnTo>
                      <a:pt x="4434" y="618"/>
                    </a:lnTo>
                    <a:lnTo>
                      <a:pt x="4523" y="652"/>
                    </a:lnTo>
                    <a:lnTo>
                      <a:pt x="4571" y="684"/>
                    </a:lnTo>
                    <a:lnTo>
                      <a:pt x="4556" y="714"/>
                    </a:lnTo>
                    <a:lnTo>
                      <a:pt x="4665" y="699"/>
                    </a:lnTo>
                    <a:lnTo>
                      <a:pt x="4689" y="743"/>
                    </a:lnTo>
                    <a:lnTo>
                      <a:pt x="4799" y="771"/>
                    </a:lnTo>
                    <a:lnTo>
                      <a:pt x="4828" y="799"/>
                    </a:lnTo>
                    <a:lnTo>
                      <a:pt x="4836" y="866"/>
                    </a:lnTo>
                    <a:lnTo>
                      <a:pt x="4715" y="899"/>
                    </a:lnTo>
                    <a:lnTo>
                      <a:pt x="4815" y="946"/>
                    </a:lnTo>
                    <a:lnTo>
                      <a:pt x="4893" y="962"/>
                    </a:lnTo>
                    <a:lnTo>
                      <a:pt x="4935" y="1030"/>
                    </a:lnTo>
                    <a:lnTo>
                      <a:pt x="5020" y="1035"/>
                    </a:lnTo>
                    <a:lnTo>
                      <a:pt x="4975" y="1087"/>
                    </a:lnTo>
                    <a:lnTo>
                      <a:pt x="4828" y="1174"/>
                    </a:lnTo>
                    <a:lnTo>
                      <a:pt x="4776" y="1142"/>
                    </a:lnTo>
                    <a:lnTo>
                      <a:pt x="4727" y="1070"/>
                    </a:lnTo>
                    <a:lnTo>
                      <a:pt x="4649" y="1079"/>
                    </a:lnTo>
                    <a:lnTo>
                      <a:pt x="4617" y="1122"/>
                    </a:lnTo>
                    <a:lnTo>
                      <a:pt x="4652" y="1166"/>
                    </a:lnTo>
                    <a:lnTo>
                      <a:pt x="4710" y="1201"/>
                    </a:lnTo>
                    <a:lnTo>
                      <a:pt x="4723" y="1221"/>
                    </a:lnTo>
                    <a:lnTo>
                      <a:pt x="4721" y="1296"/>
                    </a:lnTo>
                    <a:lnTo>
                      <a:pt x="4672" y="1352"/>
                    </a:lnTo>
                    <a:lnTo>
                      <a:pt x="4609" y="1331"/>
                    </a:lnTo>
                    <a:lnTo>
                      <a:pt x="4496" y="1269"/>
                    </a:lnTo>
                    <a:lnTo>
                      <a:pt x="4542" y="1335"/>
                    </a:lnTo>
                    <a:lnTo>
                      <a:pt x="4579" y="1382"/>
                    </a:lnTo>
                    <a:lnTo>
                      <a:pt x="4575" y="1409"/>
                    </a:lnTo>
                    <a:lnTo>
                      <a:pt x="4431" y="1378"/>
                    </a:lnTo>
                    <a:lnTo>
                      <a:pt x="4330" y="1333"/>
                    </a:lnTo>
                    <a:lnTo>
                      <a:pt x="4281" y="1296"/>
                    </a:lnTo>
                    <a:lnTo>
                      <a:pt x="4313" y="1274"/>
                    </a:lnTo>
                    <a:lnTo>
                      <a:pt x="4250" y="1235"/>
                    </a:lnTo>
                    <a:lnTo>
                      <a:pt x="4189" y="1198"/>
                    </a:lnTo>
                    <a:lnTo>
                      <a:pt x="4176" y="1220"/>
                    </a:lnTo>
                    <a:lnTo>
                      <a:pt x="4002" y="1232"/>
                    </a:lnTo>
                    <a:lnTo>
                      <a:pt x="3970" y="1206"/>
                    </a:lnTo>
                    <a:lnTo>
                      <a:pt x="4044" y="1151"/>
                    </a:lnTo>
                    <a:lnTo>
                      <a:pt x="4152" y="1149"/>
                    </a:lnTo>
                    <a:lnTo>
                      <a:pt x="4275" y="1140"/>
                    </a:lnTo>
                    <a:lnTo>
                      <a:pt x="4273" y="1113"/>
                    </a:lnTo>
                    <a:lnTo>
                      <a:pt x="4317" y="1076"/>
                    </a:lnTo>
                    <a:lnTo>
                      <a:pt x="4435" y="1004"/>
                    </a:lnTo>
                    <a:lnTo>
                      <a:pt x="4441" y="971"/>
                    </a:lnTo>
                    <a:lnTo>
                      <a:pt x="4436" y="946"/>
                    </a:lnTo>
                    <a:lnTo>
                      <a:pt x="4376" y="911"/>
                    </a:lnTo>
                    <a:lnTo>
                      <a:pt x="4282" y="887"/>
                    </a:lnTo>
                    <a:lnTo>
                      <a:pt x="4330" y="868"/>
                    </a:lnTo>
                    <a:lnTo>
                      <a:pt x="4305" y="824"/>
                    </a:lnTo>
                    <a:lnTo>
                      <a:pt x="4260" y="820"/>
                    </a:lnTo>
                    <a:lnTo>
                      <a:pt x="4235" y="796"/>
                    </a:lnTo>
                    <a:lnTo>
                      <a:pt x="4191" y="817"/>
                    </a:lnTo>
                    <a:lnTo>
                      <a:pt x="4086" y="826"/>
                    </a:lnTo>
                    <a:lnTo>
                      <a:pt x="3902" y="810"/>
                    </a:lnTo>
                    <a:lnTo>
                      <a:pt x="3805" y="789"/>
                    </a:lnTo>
                    <a:lnTo>
                      <a:pt x="3727" y="779"/>
                    </a:lnTo>
                    <a:lnTo>
                      <a:pt x="3704" y="754"/>
                    </a:lnTo>
                    <a:lnTo>
                      <a:pt x="3787" y="722"/>
                    </a:lnTo>
                    <a:lnTo>
                      <a:pt x="3712" y="722"/>
                    </a:lnTo>
                    <a:lnTo>
                      <a:pt x="3758" y="652"/>
                    </a:lnTo>
                    <a:lnTo>
                      <a:pt x="3854" y="592"/>
                    </a:lnTo>
                    <a:lnTo>
                      <a:pt x="3932" y="565"/>
                    </a:lnTo>
                    <a:lnTo>
                      <a:pt x="4081" y="547"/>
                    </a:lnTo>
                    <a:lnTo>
                      <a:pt x="4004" y="590"/>
                    </a:lnTo>
                    <a:moveTo>
                      <a:pt x="4530" y="594"/>
                    </a:moveTo>
                    <a:lnTo>
                      <a:pt x="4520" y="612"/>
                    </a:lnTo>
                    <a:lnTo>
                      <a:pt x="4467" y="610"/>
                    </a:lnTo>
                    <a:lnTo>
                      <a:pt x="4412" y="609"/>
                    </a:lnTo>
                    <a:lnTo>
                      <a:pt x="4347" y="618"/>
                    </a:lnTo>
                    <a:lnTo>
                      <a:pt x="4336" y="614"/>
                    </a:lnTo>
                    <a:lnTo>
                      <a:pt x="4308" y="578"/>
                    </a:lnTo>
                    <a:lnTo>
                      <a:pt x="4331" y="554"/>
                    </a:lnTo>
                    <a:lnTo>
                      <a:pt x="4359" y="550"/>
                    </a:lnTo>
                    <a:lnTo>
                      <a:pt x="4471" y="557"/>
                    </a:lnTo>
                    <a:lnTo>
                      <a:pt x="4530" y="594"/>
                    </a:lnTo>
                    <a:moveTo>
                      <a:pt x="3095" y="573"/>
                    </a:moveTo>
                    <a:lnTo>
                      <a:pt x="3001" y="617"/>
                    </a:lnTo>
                    <a:lnTo>
                      <a:pt x="2972" y="570"/>
                    </a:lnTo>
                    <a:lnTo>
                      <a:pt x="3000" y="561"/>
                    </a:lnTo>
                    <a:lnTo>
                      <a:pt x="3072" y="558"/>
                    </a:lnTo>
                    <a:lnTo>
                      <a:pt x="3095" y="573"/>
                    </a:lnTo>
                    <a:moveTo>
                      <a:pt x="2573" y="593"/>
                    </a:moveTo>
                    <a:lnTo>
                      <a:pt x="2509" y="624"/>
                    </a:lnTo>
                    <a:lnTo>
                      <a:pt x="2649" y="604"/>
                    </a:lnTo>
                    <a:lnTo>
                      <a:pt x="2682" y="638"/>
                    </a:lnTo>
                    <a:lnTo>
                      <a:pt x="2780" y="603"/>
                    </a:lnTo>
                    <a:lnTo>
                      <a:pt x="2803" y="625"/>
                    </a:lnTo>
                    <a:lnTo>
                      <a:pt x="2772" y="692"/>
                    </a:lnTo>
                    <a:lnTo>
                      <a:pt x="2829" y="664"/>
                    </a:lnTo>
                    <a:lnTo>
                      <a:pt x="2869" y="595"/>
                    </a:lnTo>
                    <a:lnTo>
                      <a:pt x="2926" y="585"/>
                    </a:lnTo>
                    <a:lnTo>
                      <a:pt x="2965" y="596"/>
                    </a:lnTo>
                    <a:lnTo>
                      <a:pt x="2994" y="623"/>
                    </a:lnTo>
                    <a:lnTo>
                      <a:pt x="2956" y="689"/>
                    </a:lnTo>
                    <a:lnTo>
                      <a:pt x="2922" y="738"/>
                    </a:lnTo>
                    <a:lnTo>
                      <a:pt x="2976" y="773"/>
                    </a:lnTo>
                    <a:lnTo>
                      <a:pt x="3041" y="806"/>
                    </a:lnTo>
                    <a:lnTo>
                      <a:pt x="3005" y="837"/>
                    </a:lnTo>
                    <a:lnTo>
                      <a:pt x="2910" y="843"/>
                    </a:lnTo>
                    <a:lnTo>
                      <a:pt x="2919" y="870"/>
                    </a:lnTo>
                    <a:lnTo>
                      <a:pt x="2875" y="897"/>
                    </a:lnTo>
                    <a:lnTo>
                      <a:pt x="2787" y="885"/>
                    </a:lnTo>
                    <a:lnTo>
                      <a:pt x="2712" y="866"/>
                    </a:lnTo>
                    <a:lnTo>
                      <a:pt x="2644" y="870"/>
                    </a:lnTo>
                    <a:lnTo>
                      <a:pt x="2517" y="895"/>
                    </a:lnTo>
                    <a:lnTo>
                      <a:pt x="2367" y="906"/>
                    </a:lnTo>
                    <a:lnTo>
                      <a:pt x="2263" y="912"/>
                    </a:lnTo>
                    <a:lnTo>
                      <a:pt x="2269" y="878"/>
                    </a:lnTo>
                    <a:lnTo>
                      <a:pt x="2215" y="859"/>
                    </a:lnTo>
                    <a:lnTo>
                      <a:pt x="2158" y="867"/>
                    </a:lnTo>
                    <a:lnTo>
                      <a:pt x="2154" y="810"/>
                    </a:lnTo>
                    <a:lnTo>
                      <a:pt x="2198" y="803"/>
                    </a:lnTo>
                    <a:lnTo>
                      <a:pt x="2294" y="791"/>
                    </a:lnTo>
                    <a:lnTo>
                      <a:pt x="2367" y="794"/>
                    </a:lnTo>
                    <a:lnTo>
                      <a:pt x="2450" y="782"/>
                    </a:lnTo>
                    <a:lnTo>
                      <a:pt x="2365" y="765"/>
                    </a:lnTo>
                    <a:lnTo>
                      <a:pt x="2244" y="771"/>
                    </a:lnTo>
                    <a:lnTo>
                      <a:pt x="2170" y="770"/>
                    </a:lnTo>
                    <a:lnTo>
                      <a:pt x="2171" y="744"/>
                    </a:lnTo>
                    <a:lnTo>
                      <a:pt x="2326" y="716"/>
                    </a:lnTo>
                    <a:lnTo>
                      <a:pt x="2244" y="717"/>
                    </a:lnTo>
                    <a:lnTo>
                      <a:pt x="2172" y="699"/>
                    </a:lnTo>
                    <a:lnTo>
                      <a:pt x="2278" y="647"/>
                    </a:lnTo>
                    <a:lnTo>
                      <a:pt x="2347" y="620"/>
                    </a:lnTo>
                    <a:lnTo>
                      <a:pt x="2535" y="580"/>
                    </a:lnTo>
                    <a:lnTo>
                      <a:pt x="2573" y="593"/>
                    </a:lnTo>
                    <a:moveTo>
                      <a:pt x="3571" y="843"/>
                    </a:moveTo>
                    <a:lnTo>
                      <a:pt x="3509" y="917"/>
                    </a:lnTo>
                    <a:lnTo>
                      <a:pt x="3629" y="860"/>
                    </a:lnTo>
                    <a:lnTo>
                      <a:pt x="3656" y="907"/>
                    </a:lnTo>
                    <a:lnTo>
                      <a:pt x="3596" y="961"/>
                    </a:lnTo>
                    <a:lnTo>
                      <a:pt x="3611" y="1010"/>
                    </a:lnTo>
                    <a:lnTo>
                      <a:pt x="3711" y="957"/>
                    </a:lnTo>
                    <a:lnTo>
                      <a:pt x="3800" y="894"/>
                    </a:lnTo>
                    <a:lnTo>
                      <a:pt x="3866" y="816"/>
                    </a:lnTo>
                    <a:lnTo>
                      <a:pt x="3938" y="821"/>
                    </a:lnTo>
                    <a:lnTo>
                      <a:pt x="4010" y="832"/>
                    </a:lnTo>
                    <a:lnTo>
                      <a:pt x="4055" y="867"/>
                    </a:lnTo>
                    <a:lnTo>
                      <a:pt x="4032" y="903"/>
                    </a:lnTo>
                    <a:lnTo>
                      <a:pt x="3962" y="942"/>
                    </a:lnTo>
                    <a:lnTo>
                      <a:pt x="3972" y="981"/>
                    </a:lnTo>
                    <a:lnTo>
                      <a:pt x="3939" y="1016"/>
                    </a:lnTo>
                    <a:lnTo>
                      <a:pt x="3792" y="1068"/>
                    </a:lnTo>
                    <a:lnTo>
                      <a:pt x="3706" y="1080"/>
                    </a:lnTo>
                    <a:lnTo>
                      <a:pt x="3664" y="1057"/>
                    </a:lnTo>
                    <a:lnTo>
                      <a:pt x="3619" y="1095"/>
                    </a:lnTo>
                    <a:lnTo>
                      <a:pt x="3518" y="1158"/>
                    </a:lnTo>
                    <a:lnTo>
                      <a:pt x="3477" y="1191"/>
                    </a:lnTo>
                    <a:lnTo>
                      <a:pt x="3373" y="1242"/>
                    </a:lnTo>
                    <a:lnTo>
                      <a:pt x="3287" y="1247"/>
                    </a:lnTo>
                    <a:lnTo>
                      <a:pt x="3218" y="1280"/>
                    </a:lnTo>
                    <a:lnTo>
                      <a:pt x="3178" y="1330"/>
                    </a:lnTo>
                    <a:lnTo>
                      <a:pt x="3103" y="1339"/>
                    </a:lnTo>
                    <a:lnTo>
                      <a:pt x="2985" y="1402"/>
                    </a:lnTo>
                    <a:lnTo>
                      <a:pt x="2858" y="1490"/>
                    </a:lnTo>
                    <a:lnTo>
                      <a:pt x="2792" y="1552"/>
                    </a:lnTo>
                    <a:lnTo>
                      <a:pt x="2726" y="1644"/>
                    </a:lnTo>
                    <a:lnTo>
                      <a:pt x="2806" y="1657"/>
                    </a:lnTo>
                    <a:lnTo>
                      <a:pt x="2785" y="1732"/>
                    </a:lnTo>
                    <a:lnTo>
                      <a:pt x="2776" y="1793"/>
                    </a:lnTo>
                    <a:lnTo>
                      <a:pt x="2872" y="1777"/>
                    </a:lnTo>
                    <a:lnTo>
                      <a:pt x="2966" y="1812"/>
                    </a:lnTo>
                    <a:lnTo>
                      <a:pt x="3010" y="1842"/>
                    </a:lnTo>
                    <a:lnTo>
                      <a:pt x="3032" y="1880"/>
                    </a:lnTo>
                    <a:lnTo>
                      <a:pt x="3098" y="1903"/>
                    </a:lnTo>
                    <a:lnTo>
                      <a:pt x="3146" y="1937"/>
                    </a:lnTo>
                    <a:lnTo>
                      <a:pt x="3247" y="1941"/>
                    </a:lnTo>
                    <a:lnTo>
                      <a:pt x="3311" y="1949"/>
                    </a:lnTo>
                    <a:lnTo>
                      <a:pt x="3264" y="2020"/>
                    </a:lnTo>
                    <a:lnTo>
                      <a:pt x="3242" y="2102"/>
                    </a:lnTo>
                    <a:lnTo>
                      <a:pt x="3244" y="2194"/>
                    </a:lnTo>
                    <a:lnTo>
                      <a:pt x="3304" y="2272"/>
                    </a:lnTo>
                    <a:lnTo>
                      <a:pt x="3366" y="2245"/>
                    </a:lnTo>
                    <a:lnTo>
                      <a:pt x="3439" y="2160"/>
                    </a:lnTo>
                    <a:lnTo>
                      <a:pt x="3468" y="2031"/>
                    </a:lnTo>
                    <a:lnTo>
                      <a:pt x="3445" y="1988"/>
                    </a:lnTo>
                    <a:lnTo>
                      <a:pt x="3565" y="1950"/>
                    </a:lnTo>
                    <a:lnTo>
                      <a:pt x="3664" y="1893"/>
                    </a:lnTo>
                    <a:lnTo>
                      <a:pt x="3727" y="1837"/>
                    </a:lnTo>
                    <a:lnTo>
                      <a:pt x="3750" y="1783"/>
                    </a:lnTo>
                    <a:lnTo>
                      <a:pt x="3744" y="1715"/>
                    </a:lnTo>
                    <a:lnTo>
                      <a:pt x="3702" y="1655"/>
                    </a:lnTo>
                    <a:lnTo>
                      <a:pt x="3820" y="1572"/>
                    </a:lnTo>
                    <a:lnTo>
                      <a:pt x="3835" y="1501"/>
                    </a:lnTo>
                    <a:lnTo>
                      <a:pt x="3888" y="1379"/>
                    </a:lnTo>
                    <a:lnTo>
                      <a:pt x="3939" y="1361"/>
                    </a:lnTo>
                    <a:lnTo>
                      <a:pt x="4028" y="1382"/>
                    </a:lnTo>
                    <a:lnTo>
                      <a:pt x="4084" y="1390"/>
                    </a:lnTo>
                    <a:lnTo>
                      <a:pt x="4144" y="1370"/>
                    </a:lnTo>
                    <a:lnTo>
                      <a:pt x="4184" y="1396"/>
                    </a:lnTo>
                    <a:lnTo>
                      <a:pt x="4232" y="1441"/>
                    </a:lnTo>
                    <a:lnTo>
                      <a:pt x="4233" y="1471"/>
                    </a:lnTo>
                    <a:lnTo>
                      <a:pt x="4337" y="1477"/>
                    </a:lnTo>
                    <a:lnTo>
                      <a:pt x="4301" y="1543"/>
                    </a:lnTo>
                    <a:lnTo>
                      <a:pt x="4270" y="1643"/>
                    </a:lnTo>
                    <a:lnTo>
                      <a:pt x="4320" y="1656"/>
                    </a:lnTo>
                    <a:lnTo>
                      <a:pt x="4342" y="1702"/>
                    </a:lnTo>
                    <a:lnTo>
                      <a:pt x="4451" y="1658"/>
                    </a:lnTo>
                    <a:lnTo>
                      <a:pt x="4550" y="1571"/>
                    </a:lnTo>
                    <a:lnTo>
                      <a:pt x="4608" y="1534"/>
                    </a:lnTo>
                    <a:lnTo>
                      <a:pt x="4621" y="1605"/>
                    </a:lnTo>
                    <a:lnTo>
                      <a:pt x="4655" y="1706"/>
                    </a:lnTo>
                    <a:lnTo>
                      <a:pt x="4683" y="1802"/>
                    </a:lnTo>
                    <a:lnTo>
                      <a:pt x="4637" y="1853"/>
                    </a:lnTo>
                    <a:lnTo>
                      <a:pt x="4702" y="1898"/>
                    </a:lnTo>
                    <a:lnTo>
                      <a:pt x="4740" y="1945"/>
                    </a:lnTo>
                    <a:lnTo>
                      <a:pt x="4833" y="1966"/>
                    </a:lnTo>
                    <a:lnTo>
                      <a:pt x="4864" y="1992"/>
                    </a:lnTo>
                    <a:lnTo>
                      <a:pt x="4864" y="2061"/>
                    </a:lnTo>
                    <a:lnTo>
                      <a:pt x="4910" y="2072"/>
                    </a:lnTo>
                    <a:lnTo>
                      <a:pt x="4925" y="2102"/>
                    </a:lnTo>
                    <a:lnTo>
                      <a:pt x="4899" y="2195"/>
                    </a:lnTo>
                    <a:lnTo>
                      <a:pt x="4842" y="2226"/>
                    </a:lnTo>
                    <a:lnTo>
                      <a:pt x="4786" y="2254"/>
                    </a:lnTo>
                    <a:lnTo>
                      <a:pt x="4670" y="2284"/>
                    </a:lnTo>
                    <a:lnTo>
                      <a:pt x="4565" y="2352"/>
                    </a:lnTo>
                    <a:lnTo>
                      <a:pt x="4450" y="2365"/>
                    </a:lnTo>
                    <a:lnTo>
                      <a:pt x="4317" y="2348"/>
                    </a:lnTo>
                    <a:lnTo>
                      <a:pt x="4219" y="2347"/>
                    </a:lnTo>
                    <a:lnTo>
                      <a:pt x="4149" y="2353"/>
                    </a:lnTo>
                    <a:lnTo>
                      <a:pt x="4073" y="2412"/>
                    </a:lnTo>
                    <a:lnTo>
                      <a:pt x="3976" y="2449"/>
                    </a:lnTo>
                    <a:lnTo>
                      <a:pt x="3840" y="2559"/>
                    </a:lnTo>
                    <a:lnTo>
                      <a:pt x="3736" y="2636"/>
                    </a:lnTo>
                    <a:lnTo>
                      <a:pt x="3798" y="2622"/>
                    </a:lnTo>
                    <a:lnTo>
                      <a:pt x="3943" y="2513"/>
                    </a:lnTo>
                    <a:lnTo>
                      <a:pt x="4107" y="2444"/>
                    </a:lnTo>
                    <a:lnTo>
                      <a:pt x="4208" y="2435"/>
                    </a:lnTo>
                    <a:lnTo>
                      <a:pt x="4252" y="2476"/>
                    </a:lnTo>
                    <a:lnTo>
                      <a:pt x="4171" y="2532"/>
                    </a:lnTo>
                    <a:lnTo>
                      <a:pt x="4162" y="2622"/>
                    </a:lnTo>
                    <a:lnTo>
                      <a:pt x="4164" y="2685"/>
                    </a:lnTo>
                    <a:lnTo>
                      <a:pt x="4238" y="2727"/>
                    </a:lnTo>
                    <a:lnTo>
                      <a:pt x="4353" y="2715"/>
                    </a:lnTo>
                    <a:lnTo>
                      <a:pt x="4448" y="2621"/>
                    </a:lnTo>
                    <a:lnTo>
                      <a:pt x="4434" y="2681"/>
                    </a:lnTo>
                    <a:lnTo>
                      <a:pt x="4469" y="2712"/>
                    </a:lnTo>
                    <a:lnTo>
                      <a:pt x="4370" y="2766"/>
                    </a:lnTo>
                    <a:lnTo>
                      <a:pt x="4206" y="2816"/>
                    </a:lnTo>
                    <a:lnTo>
                      <a:pt x="4129" y="2850"/>
                    </a:lnTo>
                    <a:lnTo>
                      <a:pt x="4035" y="2911"/>
                    </a:lnTo>
                    <a:lnTo>
                      <a:pt x="3985" y="2905"/>
                    </a:lnTo>
                    <a:lnTo>
                      <a:pt x="4004" y="2834"/>
                    </a:lnTo>
                    <a:lnTo>
                      <a:pt x="4142" y="2764"/>
                    </a:lnTo>
                    <a:lnTo>
                      <a:pt x="4034" y="2767"/>
                    </a:lnTo>
                    <a:lnTo>
                      <a:pt x="3955" y="2777"/>
                    </a:lnTo>
                    <a:lnTo>
                      <a:pt x="3927" y="2730"/>
                    </a:lnTo>
                    <a:lnTo>
                      <a:pt x="3965" y="2616"/>
                    </a:lnTo>
                    <a:lnTo>
                      <a:pt x="3943" y="2592"/>
                    </a:lnTo>
                    <a:lnTo>
                      <a:pt x="3894" y="2606"/>
                    </a:lnTo>
                    <a:lnTo>
                      <a:pt x="3879" y="2584"/>
                    </a:lnTo>
                    <a:lnTo>
                      <a:pt x="3806" y="2647"/>
                    </a:lnTo>
                    <a:lnTo>
                      <a:pt x="3764" y="2712"/>
                    </a:lnTo>
                    <a:lnTo>
                      <a:pt x="3727" y="2750"/>
                    </a:lnTo>
                    <a:lnTo>
                      <a:pt x="3694" y="2763"/>
                    </a:lnTo>
                    <a:lnTo>
                      <a:pt x="3671" y="2767"/>
                    </a:lnTo>
                    <a:lnTo>
                      <a:pt x="3657" y="2788"/>
                    </a:lnTo>
                    <a:lnTo>
                      <a:pt x="3533" y="2788"/>
                    </a:lnTo>
                    <a:lnTo>
                      <a:pt x="3430" y="2789"/>
                    </a:lnTo>
                    <a:lnTo>
                      <a:pt x="3394" y="2804"/>
                    </a:lnTo>
                    <a:lnTo>
                      <a:pt x="3301" y="2864"/>
                    </a:lnTo>
                    <a:lnTo>
                      <a:pt x="3291" y="2871"/>
                    </a:lnTo>
                    <a:lnTo>
                      <a:pt x="3258" y="2904"/>
                    </a:lnTo>
                    <a:lnTo>
                      <a:pt x="3195" y="2904"/>
                    </a:lnTo>
                    <a:lnTo>
                      <a:pt x="3128" y="2904"/>
                    </a:lnTo>
                    <a:lnTo>
                      <a:pt x="3093" y="2917"/>
                    </a:lnTo>
                    <a:lnTo>
                      <a:pt x="3098" y="2934"/>
                    </a:lnTo>
                    <a:lnTo>
                      <a:pt x="3095" y="2960"/>
                    </a:lnTo>
                    <a:lnTo>
                      <a:pt x="3091" y="2968"/>
                    </a:lnTo>
                    <a:lnTo>
                      <a:pt x="2987" y="3010"/>
                    </a:lnTo>
                    <a:lnTo>
                      <a:pt x="2912" y="3023"/>
                    </a:lnTo>
                    <a:lnTo>
                      <a:pt x="2816" y="3068"/>
                    </a:lnTo>
                    <a:lnTo>
                      <a:pt x="2799" y="3068"/>
                    </a:lnTo>
                    <a:lnTo>
                      <a:pt x="2780" y="3055"/>
                    </a:lnTo>
                    <a:lnTo>
                      <a:pt x="2777" y="3043"/>
                    </a:lnTo>
                    <a:lnTo>
                      <a:pt x="2782" y="3034"/>
                    </a:lnTo>
                    <a:lnTo>
                      <a:pt x="2807" y="3005"/>
                    </a:lnTo>
                    <a:lnTo>
                      <a:pt x="2856" y="2958"/>
                    </a:lnTo>
                    <a:lnTo>
                      <a:pt x="2894" y="2909"/>
                    </a:lnTo>
                    <a:lnTo>
                      <a:pt x="2908" y="2836"/>
                    </a:lnTo>
                    <a:lnTo>
                      <a:pt x="2923" y="2760"/>
                    </a:lnTo>
                    <a:lnTo>
                      <a:pt x="2868" y="2720"/>
                    </a:lnTo>
                    <a:lnTo>
                      <a:pt x="2882" y="2705"/>
                    </a:lnTo>
                    <a:lnTo>
                      <a:pt x="2877" y="2695"/>
                    </a:lnTo>
                    <a:lnTo>
                      <a:pt x="2858" y="2695"/>
                    </a:lnTo>
                    <a:lnTo>
                      <a:pt x="2850" y="2682"/>
                    </a:lnTo>
                    <a:lnTo>
                      <a:pt x="2855" y="2662"/>
                    </a:lnTo>
                    <a:lnTo>
                      <a:pt x="2838" y="2671"/>
                    </a:lnTo>
                    <a:lnTo>
                      <a:pt x="2822" y="2668"/>
                    </a:lnTo>
                    <a:lnTo>
                      <a:pt x="2829" y="2660"/>
                    </a:lnTo>
                    <a:lnTo>
                      <a:pt x="2817" y="2652"/>
                    </a:lnTo>
                    <a:lnTo>
                      <a:pt x="2820" y="2630"/>
                    </a:lnTo>
                    <a:lnTo>
                      <a:pt x="2779" y="2603"/>
                    </a:lnTo>
                    <a:lnTo>
                      <a:pt x="2738" y="2575"/>
                    </a:lnTo>
                    <a:lnTo>
                      <a:pt x="2687" y="2543"/>
                    </a:lnTo>
                    <a:lnTo>
                      <a:pt x="2639" y="2513"/>
                    </a:lnTo>
                    <a:lnTo>
                      <a:pt x="2569" y="2536"/>
                    </a:lnTo>
                    <a:lnTo>
                      <a:pt x="2547" y="2537"/>
                    </a:lnTo>
                    <a:lnTo>
                      <a:pt x="2475" y="2515"/>
                    </a:lnTo>
                    <a:lnTo>
                      <a:pt x="2416" y="2526"/>
                    </a:lnTo>
                    <a:lnTo>
                      <a:pt x="2365" y="2500"/>
                    </a:lnTo>
                    <a:lnTo>
                      <a:pt x="2304" y="2487"/>
                    </a:lnTo>
                    <a:lnTo>
                      <a:pt x="2260" y="2482"/>
                    </a:lnTo>
                    <a:lnTo>
                      <a:pt x="2247" y="2468"/>
                    </a:lnTo>
                    <a:lnTo>
                      <a:pt x="2258" y="2422"/>
                    </a:lnTo>
                    <a:lnTo>
                      <a:pt x="2236" y="2423"/>
                    </a:lnTo>
                    <a:lnTo>
                      <a:pt x="2219" y="2455"/>
                    </a:lnTo>
                    <a:lnTo>
                      <a:pt x="2083" y="2455"/>
                    </a:lnTo>
                    <a:lnTo>
                      <a:pt x="1858" y="2455"/>
                    </a:lnTo>
                    <a:lnTo>
                      <a:pt x="1634" y="2455"/>
                    </a:lnTo>
                    <a:lnTo>
                      <a:pt x="1436" y="2455"/>
                    </a:lnTo>
                    <a:lnTo>
                      <a:pt x="1239" y="2455"/>
                    </a:lnTo>
                    <a:lnTo>
                      <a:pt x="1045" y="2455"/>
                    </a:lnTo>
                    <a:lnTo>
                      <a:pt x="844" y="2455"/>
                    </a:lnTo>
                    <a:lnTo>
                      <a:pt x="779" y="2455"/>
                    </a:lnTo>
                    <a:lnTo>
                      <a:pt x="584" y="2455"/>
                    </a:lnTo>
                    <a:lnTo>
                      <a:pt x="397" y="2455"/>
                    </a:lnTo>
                    <a:lnTo>
                      <a:pt x="388" y="2455"/>
                    </a:lnTo>
                    <a:lnTo>
                      <a:pt x="316" y="2373"/>
                    </a:lnTo>
                    <a:lnTo>
                      <a:pt x="294" y="2337"/>
                    </a:lnTo>
                    <a:lnTo>
                      <a:pt x="200" y="2303"/>
                    </a:lnTo>
                    <a:lnTo>
                      <a:pt x="217" y="2230"/>
                    </a:lnTo>
                    <a:lnTo>
                      <a:pt x="264" y="2180"/>
                    </a:lnTo>
                    <a:lnTo>
                      <a:pt x="209" y="2145"/>
                    </a:lnTo>
                    <a:lnTo>
                      <a:pt x="249" y="2079"/>
                    </a:lnTo>
                    <a:lnTo>
                      <a:pt x="220" y="2019"/>
                    </a:lnTo>
                    <a:lnTo>
                      <a:pt x="253" y="1977"/>
                    </a:lnTo>
                    <a:lnTo>
                      <a:pt x="320" y="1938"/>
                    </a:lnTo>
                    <a:lnTo>
                      <a:pt x="362" y="1887"/>
                    </a:lnTo>
                    <a:lnTo>
                      <a:pt x="300" y="1836"/>
                    </a:lnTo>
                    <a:lnTo>
                      <a:pt x="319" y="1744"/>
                    </a:lnTo>
                    <a:lnTo>
                      <a:pt x="333" y="1687"/>
                    </a:lnTo>
                    <a:lnTo>
                      <a:pt x="311" y="1651"/>
                    </a:lnTo>
                    <a:lnTo>
                      <a:pt x="302" y="1618"/>
                    </a:lnTo>
                    <a:lnTo>
                      <a:pt x="309" y="1577"/>
                    </a:lnTo>
                    <a:lnTo>
                      <a:pt x="224" y="1603"/>
                    </a:lnTo>
                    <a:lnTo>
                      <a:pt x="121" y="1647"/>
                    </a:lnTo>
                    <a:lnTo>
                      <a:pt x="119" y="1595"/>
                    </a:lnTo>
                    <a:lnTo>
                      <a:pt x="111" y="1561"/>
                    </a:lnTo>
                    <a:lnTo>
                      <a:pt x="75" y="1539"/>
                    </a:lnTo>
                    <a:lnTo>
                      <a:pt x="18" y="1536"/>
                    </a:lnTo>
                    <a:lnTo>
                      <a:pt x="510" y="1099"/>
                    </a:lnTo>
                    <a:lnTo>
                      <a:pt x="854" y="828"/>
                    </a:lnTo>
                    <a:lnTo>
                      <a:pt x="933" y="845"/>
                    </a:lnTo>
                    <a:lnTo>
                      <a:pt x="974" y="880"/>
                    </a:lnTo>
                    <a:lnTo>
                      <a:pt x="1022" y="886"/>
                    </a:lnTo>
                    <a:lnTo>
                      <a:pt x="1108" y="856"/>
                    </a:lnTo>
                    <a:lnTo>
                      <a:pt x="1202" y="834"/>
                    </a:lnTo>
                    <a:lnTo>
                      <a:pt x="1272" y="843"/>
                    </a:lnTo>
                    <a:lnTo>
                      <a:pt x="1392" y="812"/>
                    </a:lnTo>
                    <a:lnTo>
                      <a:pt x="1502" y="794"/>
                    </a:lnTo>
                    <a:lnTo>
                      <a:pt x="1503" y="823"/>
                    </a:lnTo>
                    <a:lnTo>
                      <a:pt x="1564" y="807"/>
                    </a:lnTo>
                    <a:lnTo>
                      <a:pt x="1617" y="774"/>
                    </a:lnTo>
                    <a:lnTo>
                      <a:pt x="1644" y="781"/>
                    </a:lnTo>
                    <a:lnTo>
                      <a:pt x="1659" y="845"/>
                    </a:lnTo>
                    <a:lnTo>
                      <a:pt x="1788" y="796"/>
                    </a:lnTo>
                    <a:lnTo>
                      <a:pt x="1732" y="850"/>
                    </a:lnTo>
                    <a:lnTo>
                      <a:pt x="1812" y="839"/>
                    </a:lnTo>
                    <a:lnTo>
                      <a:pt x="1857" y="818"/>
                    </a:lnTo>
                    <a:lnTo>
                      <a:pt x="1917" y="822"/>
                    </a:lnTo>
                    <a:lnTo>
                      <a:pt x="1966" y="852"/>
                    </a:lnTo>
                    <a:lnTo>
                      <a:pt x="2065" y="878"/>
                    </a:lnTo>
                    <a:lnTo>
                      <a:pt x="2127" y="890"/>
                    </a:lnTo>
                    <a:lnTo>
                      <a:pt x="2185" y="886"/>
                    </a:lnTo>
                    <a:lnTo>
                      <a:pt x="2220" y="922"/>
                    </a:lnTo>
                    <a:lnTo>
                      <a:pt x="2105" y="958"/>
                    </a:lnTo>
                    <a:lnTo>
                      <a:pt x="2189" y="974"/>
                    </a:lnTo>
                    <a:lnTo>
                      <a:pt x="2347" y="965"/>
                    </a:lnTo>
                    <a:lnTo>
                      <a:pt x="2407" y="953"/>
                    </a:lnTo>
                    <a:lnTo>
                      <a:pt x="2423" y="997"/>
                    </a:lnTo>
                    <a:lnTo>
                      <a:pt x="2520" y="960"/>
                    </a:lnTo>
                    <a:lnTo>
                      <a:pt x="2494" y="929"/>
                    </a:lnTo>
                    <a:lnTo>
                      <a:pt x="2554" y="904"/>
                    </a:lnTo>
                    <a:lnTo>
                      <a:pt x="2624" y="901"/>
                    </a:lnTo>
                    <a:lnTo>
                      <a:pt x="2675" y="893"/>
                    </a:lnTo>
                    <a:lnTo>
                      <a:pt x="2702" y="911"/>
                    </a:lnTo>
                    <a:lnTo>
                      <a:pt x="2720" y="950"/>
                    </a:lnTo>
                    <a:lnTo>
                      <a:pt x="2787" y="944"/>
                    </a:lnTo>
                    <a:lnTo>
                      <a:pt x="2854" y="977"/>
                    </a:lnTo>
                    <a:lnTo>
                      <a:pt x="2951" y="965"/>
                    </a:lnTo>
                    <a:lnTo>
                      <a:pt x="3030" y="967"/>
                    </a:lnTo>
                    <a:lnTo>
                      <a:pt x="3064" y="922"/>
                    </a:lnTo>
                    <a:lnTo>
                      <a:pt x="3124" y="909"/>
                    </a:lnTo>
                    <a:lnTo>
                      <a:pt x="3188" y="934"/>
                    </a:lnTo>
                    <a:lnTo>
                      <a:pt x="3128" y="1003"/>
                    </a:lnTo>
                    <a:lnTo>
                      <a:pt x="3213" y="945"/>
                    </a:lnTo>
                    <a:lnTo>
                      <a:pt x="3256" y="947"/>
                    </a:lnTo>
                    <a:lnTo>
                      <a:pt x="3344" y="874"/>
                    </a:lnTo>
                    <a:lnTo>
                      <a:pt x="3325" y="830"/>
                    </a:lnTo>
                    <a:lnTo>
                      <a:pt x="3288" y="801"/>
                    </a:lnTo>
                    <a:lnTo>
                      <a:pt x="3365" y="724"/>
                    </a:lnTo>
                    <a:lnTo>
                      <a:pt x="3475" y="674"/>
                    </a:lnTo>
                    <a:lnTo>
                      <a:pt x="3534" y="685"/>
                    </a:lnTo>
                    <a:lnTo>
                      <a:pt x="3559" y="715"/>
                    </a:lnTo>
                    <a:lnTo>
                      <a:pt x="3561" y="794"/>
                    </a:lnTo>
                    <a:lnTo>
                      <a:pt x="3483" y="829"/>
                    </a:lnTo>
                    <a:lnTo>
                      <a:pt x="3571" y="843"/>
                    </a:lnTo>
                    <a:moveTo>
                      <a:pt x="3269" y="871"/>
                    </a:moveTo>
                    <a:lnTo>
                      <a:pt x="3213" y="896"/>
                    </a:lnTo>
                    <a:lnTo>
                      <a:pt x="3159" y="875"/>
                    </a:lnTo>
                    <a:lnTo>
                      <a:pt x="3107" y="882"/>
                    </a:lnTo>
                    <a:lnTo>
                      <a:pt x="3062" y="850"/>
                    </a:lnTo>
                    <a:lnTo>
                      <a:pt x="3131" y="828"/>
                    </a:lnTo>
                    <a:lnTo>
                      <a:pt x="3197" y="797"/>
                    </a:lnTo>
                    <a:lnTo>
                      <a:pt x="3236" y="818"/>
                    </a:lnTo>
                    <a:lnTo>
                      <a:pt x="3257" y="830"/>
                    </a:lnTo>
                    <a:lnTo>
                      <a:pt x="3261" y="844"/>
                    </a:lnTo>
                    <a:lnTo>
                      <a:pt x="3269" y="871"/>
                    </a:lnTo>
                    <a:moveTo>
                      <a:pt x="4250" y="1014"/>
                    </a:moveTo>
                    <a:lnTo>
                      <a:pt x="4184" y="1017"/>
                    </a:lnTo>
                    <a:lnTo>
                      <a:pt x="4195" y="981"/>
                    </a:lnTo>
                    <a:lnTo>
                      <a:pt x="4247" y="940"/>
                    </a:lnTo>
                    <a:lnTo>
                      <a:pt x="4305" y="930"/>
                    </a:lnTo>
                    <a:lnTo>
                      <a:pt x="4334" y="951"/>
                    </a:lnTo>
                    <a:lnTo>
                      <a:pt x="4313" y="982"/>
                    </a:lnTo>
                    <a:lnTo>
                      <a:pt x="4300" y="992"/>
                    </a:lnTo>
                    <a:lnTo>
                      <a:pt x="4250" y="1014"/>
                    </a:lnTo>
                    <a:moveTo>
                      <a:pt x="3649" y="1125"/>
                    </a:moveTo>
                    <a:lnTo>
                      <a:pt x="3636" y="1158"/>
                    </a:lnTo>
                    <a:lnTo>
                      <a:pt x="3673" y="1146"/>
                    </a:lnTo>
                    <a:lnTo>
                      <a:pt x="3692" y="1166"/>
                    </a:lnTo>
                    <a:lnTo>
                      <a:pt x="3737" y="1192"/>
                    </a:lnTo>
                    <a:lnTo>
                      <a:pt x="3787" y="1215"/>
                    </a:lnTo>
                    <a:lnTo>
                      <a:pt x="3768" y="1251"/>
                    </a:lnTo>
                    <a:lnTo>
                      <a:pt x="3814" y="1246"/>
                    </a:lnTo>
                    <a:lnTo>
                      <a:pt x="3839" y="1271"/>
                    </a:lnTo>
                    <a:lnTo>
                      <a:pt x="3772" y="1295"/>
                    </a:lnTo>
                    <a:lnTo>
                      <a:pt x="3693" y="1277"/>
                    </a:lnTo>
                    <a:lnTo>
                      <a:pt x="3684" y="1242"/>
                    </a:lnTo>
                    <a:lnTo>
                      <a:pt x="3599" y="1283"/>
                    </a:lnTo>
                    <a:lnTo>
                      <a:pt x="3489" y="1323"/>
                    </a:lnTo>
                    <a:lnTo>
                      <a:pt x="3500" y="1278"/>
                    </a:lnTo>
                    <a:lnTo>
                      <a:pt x="3416" y="1285"/>
                    </a:lnTo>
                    <a:lnTo>
                      <a:pt x="3493" y="1247"/>
                    </a:lnTo>
                    <a:lnTo>
                      <a:pt x="3543" y="1187"/>
                    </a:lnTo>
                    <a:lnTo>
                      <a:pt x="3612" y="1118"/>
                    </a:lnTo>
                    <a:lnTo>
                      <a:pt x="3649" y="1125"/>
                    </a:lnTo>
                    <a:moveTo>
                      <a:pt x="3684" y="1349"/>
                    </a:moveTo>
                    <a:lnTo>
                      <a:pt x="3588" y="1392"/>
                    </a:lnTo>
                    <a:lnTo>
                      <a:pt x="3547" y="1390"/>
                    </a:lnTo>
                    <a:lnTo>
                      <a:pt x="3548" y="1369"/>
                    </a:lnTo>
                    <a:lnTo>
                      <a:pt x="3615" y="1333"/>
                    </a:lnTo>
                    <a:lnTo>
                      <a:pt x="3695" y="1334"/>
                    </a:lnTo>
                    <a:lnTo>
                      <a:pt x="3684" y="1349"/>
                    </a:lnTo>
                    <a:moveTo>
                      <a:pt x="3812" y="1392"/>
                    </a:moveTo>
                    <a:lnTo>
                      <a:pt x="3764" y="1432"/>
                    </a:lnTo>
                    <a:lnTo>
                      <a:pt x="3741" y="1426"/>
                    </a:lnTo>
                    <a:lnTo>
                      <a:pt x="3740" y="1403"/>
                    </a:lnTo>
                    <a:lnTo>
                      <a:pt x="3746" y="1397"/>
                    </a:lnTo>
                    <a:lnTo>
                      <a:pt x="3783" y="1374"/>
                    </a:lnTo>
                    <a:lnTo>
                      <a:pt x="3807" y="1376"/>
                    </a:lnTo>
                    <a:lnTo>
                      <a:pt x="3812" y="1392"/>
                    </a:lnTo>
                    <a:moveTo>
                      <a:pt x="43" y="2029"/>
                    </a:moveTo>
                    <a:lnTo>
                      <a:pt x="64" y="2040"/>
                    </a:lnTo>
                    <a:lnTo>
                      <a:pt x="130" y="2033"/>
                    </a:lnTo>
                    <a:lnTo>
                      <a:pt x="37" y="2126"/>
                    </a:lnTo>
                    <a:lnTo>
                      <a:pt x="41" y="2192"/>
                    </a:lnTo>
                    <a:lnTo>
                      <a:pt x="15" y="2192"/>
                    </a:lnTo>
                    <a:lnTo>
                      <a:pt x="6" y="2154"/>
                    </a:lnTo>
                    <a:lnTo>
                      <a:pt x="12" y="2116"/>
                    </a:lnTo>
                    <a:lnTo>
                      <a:pt x="0" y="2091"/>
                    </a:lnTo>
                    <a:lnTo>
                      <a:pt x="18" y="2055"/>
                    </a:lnTo>
                    <a:lnTo>
                      <a:pt x="43" y="2029"/>
                    </a:lnTo>
                    <a:moveTo>
                      <a:pt x="4831" y="2315"/>
                    </a:moveTo>
                    <a:lnTo>
                      <a:pt x="4766" y="2387"/>
                    </a:lnTo>
                    <a:lnTo>
                      <a:pt x="4817" y="2359"/>
                    </a:lnTo>
                    <a:lnTo>
                      <a:pt x="4855" y="2377"/>
                    </a:lnTo>
                    <a:lnTo>
                      <a:pt x="4824" y="2406"/>
                    </a:lnTo>
                    <a:lnTo>
                      <a:pt x="4875" y="2429"/>
                    </a:lnTo>
                    <a:lnTo>
                      <a:pt x="4911" y="2409"/>
                    </a:lnTo>
                    <a:lnTo>
                      <a:pt x="4969" y="2434"/>
                    </a:lnTo>
                    <a:lnTo>
                      <a:pt x="4932" y="2495"/>
                    </a:lnTo>
                    <a:lnTo>
                      <a:pt x="4982" y="2481"/>
                    </a:lnTo>
                    <a:lnTo>
                      <a:pt x="4978" y="2525"/>
                    </a:lnTo>
                    <a:lnTo>
                      <a:pt x="4985" y="2577"/>
                    </a:lnTo>
                    <a:lnTo>
                      <a:pt x="4937" y="2650"/>
                    </a:lnTo>
                    <a:lnTo>
                      <a:pt x="4906" y="2653"/>
                    </a:lnTo>
                    <a:lnTo>
                      <a:pt x="4866" y="2637"/>
                    </a:lnTo>
                    <a:lnTo>
                      <a:pt x="4899" y="2569"/>
                    </a:lnTo>
                    <a:lnTo>
                      <a:pt x="4884" y="2559"/>
                    </a:lnTo>
                    <a:lnTo>
                      <a:pt x="4786" y="2631"/>
                    </a:lnTo>
                    <a:lnTo>
                      <a:pt x="4747" y="2628"/>
                    </a:lnTo>
                    <a:lnTo>
                      <a:pt x="4805" y="2589"/>
                    </a:lnTo>
                    <a:lnTo>
                      <a:pt x="4747" y="2569"/>
                    </a:lnTo>
                    <a:lnTo>
                      <a:pt x="4675" y="2574"/>
                    </a:lnTo>
                    <a:lnTo>
                      <a:pt x="4546" y="2571"/>
                    </a:lnTo>
                    <a:lnTo>
                      <a:pt x="4544" y="2546"/>
                    </a:lnTo>
                    <a:lnTo>
                      <a:pt x="4594" y="2517"/>
                    </a:lnTo>
                    <a:lnTo>
                      <a:pt x="4572" y="2494"/>
                    </a:lnTo>
                    <a:lnTo>
                      <a:pt x="4643" y="2444"/>
                    </a:lnTo>
                    <a:lnTo>
                      <a:pt x="4753" y="2312"/>
                    </a:lnTo>
                    <a:lnTo>
                      <a:pt x="4808" y="2265"/>
                    </a:lnTo>
                    <a:lnTo>
                      <a:pt x="4873" y="2237"/>
                    </a:lnTo>
                    <a:lnTo>
                      <a:pt x="4902" y="2241"/>
                    </a:lnTo>
                    <a:lnTo>
                      <a:pt x="4883" y="2263"/>
                    </a:lnTo>
                    <a:lnTo>
                      <a:pt x="4831" y="2315"/>
                    </a:lnTo>
                    <a:moveTo>
                      <a:pt x="326" y="2496"/>
                    </a:moveTo>
                    <a:lnTo>
                      <a:pt x="285" y="2507"/>
                    </a:lnTo>
                    <a:lnTo>
                      <a:pt x="202" y="2469"/>
                    </a:lnTo>
                    <a:lnTo>
                      <a:pt x="202" y="2440"/>
                    </a:lnTo>
                    <a:lnTo>
                      <a:pt x="163" y="2411"/>
                    </a:lnTo>
                    <a:lnTo>
                      <a:pt x="167" y="2387"/>
                    </a:lnTo>
                    <a:lnTo>
                      <a:pt x="110" y="2372"/>
                    </a:lnTo>
                    <a:lnTo>
                      <a:pt x="117" y="2327"/>
                    </a:lnTo>
                    <a:lnTo>
                      <a:pt x="137" y="2308"/>
                    </a:lnTo>
                    <a:lnTo>
                      <a:pt x="192" y="2326"/>
                    </a:lnTo>
                    <a:lnTo>
                      <a:pt x="223" y="2339"/>
                    </a:lnTo>
                    <a:lnTo>
                      <a:pt x="278" y="2347"/>
                    </a:lnTo>
                    <a:lnTo>
                      <a:pt x="281" y="2376"/>
                    </a:lnTo>
                    <a:lnTo>
                      <a:pt x="286" y="2415"/>
                    </a:lnTo>
                    <a:lnTo>
                      <a:pt x="329" y="2450"/>
                    </a:lnTo>
                    <a:lnTo>
                      <a:pt x="326" y="2496"/>
                    </a:lnTo>
                    <a:moveTo>
                      <a:pt x="4418" y="2446"/>
                    </a:moveTo>
                    <a:lnTo>
                      <a:pt x="4385" y="2448"/>
                    </a:lnTo>
                    <a:lnTo>
                      <a:pt x="4309" y="2422"/>
                    </a:lnTo>
                    <a:lnTo>
                      <a:pt x="4262" y="2382"/>
                    </a:lnTo>
                    <a:lnTo>
                      <a:pt x="4287" y="2375"/>
                    </a:lnTo>
                    <a:lnTo>
                      <a:pt x="4366" y="2396"/>
                    </a:lnTo>
                    <a:lnTo>
                      <a:pt x="4421" y="2431"/>
                    </a:lnTo>
                    <a:lnTo>
                      <a:pt x="4418" y="2446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7" name="Freeform 37"/>
              <p:cNvSpPr>
                <a:spLocks/>
              </p:cNvSpPr>
              <p:nvPr/>
            </p:nvSpPr>
            <p:spPr bwMode="auto">
              <a:xfrm>
                <a:off x="4338637" y="2336800"/>
                <a:ext cx="112713" cy="66675"/>
              </a:xfrm>
              <a:custGeom>
                <a:avLst/>
                <a:gdLst>
                  <a:gd name="T0" fmla="*/ 57 w 71"/>
                  <a:gd name="T1" fmla="*/ 6 h 42"/>
                  <a:gd name="T2" fmla="*/ 58 w 71"/>
                  <a:gd name="T3" fmla="*/ 10 h 42"/>
                  <a:gd name="T4" fmla="*/ 56 w 71"/>
                  <a:gd name="T5" fmla="*/ 15 h 42"/>
                  <a:gd name="T6" fmla="*/ 63 w 71"/>
                  <a:gd name="T7" fmla="*/ 19 h 42"/>
                  <a:gd name="T8" fmla="*/ 71 w 71"/>
                  <a:gd name="T9" fmla="*/ 19 h 42"/>
                  <a:gd name="T10" fmla="*/ 71 w 71"/>
                  <a:gd name="T11" fmla="*/ 27 h 42"/>
                  <a:gd name="T12" fmla="*/ 64 w 71"/>
                  <a:gd name="T13" fmla="*/ 31 h 42"/>
                  <a:gd name="T14" fmla="*/ 51 w 71"/>
                  <a:gd name="T15" fmla="*/ 28 h 42"/>
                  <a:gd name="T16" fmla="*/ 48 w 71"/>
                  <a:gd name="T17" fmla="*/ 37 h 42"/>
                  <a:gd name="T18" fmla="*/ 40 w 71"/>
                  <a:gd name="T19" fmla="*/ 37 h 42"/>
                  <a:gd name="T20" fmla="*/ 38 w 71"/>
                  <a:gd name="T21" fmla="*/ 34 h 42"/>
                  <a:gd name="T22" fmla="*/ 29 w 71"/>
                  <a:gd name="T23" fmla="*/ 41 h 42"/>
                  <a:gd name="T24" fmla="*/ 21 w 71"/>
                  <a:gd name="T25" fmla="*/ 42 h 42"/>
                  <a:gd name="T26" fmla="*/ 13 w 71"/>
                  <a:gd name="T27" fmla="*/ 38 h 42"/>
                  <a:gd name="T28" fmla="*/ 8 w 71"/>
                  <a:gd name="T29" fmla="*/ 29 h 42"/>
                  <a:gd name="T30" fmla="*/ 0 w 71"/>
                  <a:gd name="T31" fmla="*/ 32 h 42"/>
                  <a:gd name="T32" fmla="*/ 0 w 71"/>
                  <a:gd name="T33" fmla="*/ 22 h 42"/>
                  <a:gd name="T34" fmla="*/ 11 w 71"/>
                  <a:gd name="T35" fmla="*/ 11 h 42"/>
                  <a:gd name="T36" fmla="*/ 11 w 71"/>
                  <a:gd name="T37" fmla="*/ 6 h 42"/>
                  <a:gd name="T38" fmla="*/ 18 w 71"/>
                  <a:gd name="T39" fmla="*/ 8 h 42"/>
                  <a:gd name="T40" fmla="*/ 22 w 71"/>
                  <a:gd name="T41" fmla="*/ 4 h 42"/>
                  <a:gd name="T42" fmla="*/ 36 w 71"/>
                  <a:gd name="T43" fmla="*/ 4 h 42"/>
                  <a:gd name="T44" fmla="*/ 40 w 71"/>
                  <a:gd name="T45" fmla="*/ 0 h 42"/>
                  <a:gd name="T46" fmla="*/ 57 w 71"/>
                  <a:gd name="T47" fmla="*/ 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42">
                    <a:moveTo>
                      <a:pt x="57" y="6"/>
                    </a:moveTo>
                    <a:lnTo>
                      <a:pt x="58" y="10"/>
                    </a:lnTo>
                    <a:lnTo>
                      <a:pt x="56" y="15"/>
                    </a:lnTo>
                    <a:lnTo>
                      <a:pt x="63" y="19"/>
                    </a:lnTo>
                    <a:lnTo>
                      <a:pt x="71" y="19"/>
                    </a:lnTo>
                    <a:lnTo>
                      <a:pt x="71" y="27"/>
                    </a:lnTo>
                    <a:lnTo>
                      <a:pt x="64" y="31"/>
                    </a:lnTo>
                    <a:lnTo>
                      <a:pt x="51" y="28"/>
                    </a:lnTo>
                    <a:lnTo>
                      <a:pt x="48" y="37"/>
                    </a:lnTo>
                    <a:lnTo>
                      <a:pt x="40" y="37"/>
                    </a:lnTo>
                    <a:lnTo>
                      <a:pt x="38" y="34"/>
                    </a:lnTo>
                    <a:lnTo>
                      <a:pt x="29" y="41"/>
                    </a:lnTo>
                    <a:lnTo>
                      <a:pt x="21" y="42"/>
                    </a:lnTo>
                    <a:lnTo>
                      <a:pt x="13" y="38"/>
                    </a:lnTo>
                    <a:lnTo>
                      <a:pt x="8" y="29"/>
                    </a:lnTo>
                    <a:lnTo>
                      <a:pt x="0" y="32"/>
                    </a:lnTo>
                    <a:lnTo>
                      <a:pt x="0" y="22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18" y="8"/>
                    </a:lnTo>
                    <a:lnTo>
                      <a:pt x="22" y="4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57" y="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8" name="Freeform 38"/>
              <p:cNvSpPr>
                <a:spLocks noEditPoints="1"/>
              </p:cNvSpPr>
              <p:nvPr/>
            </p:nvSpPr>
            <p:spPr bwMode="auto">
              <a:xfrm>
                <a:off x="2159000" y="4489450"/>
                <a:ext cx="387350" cy="1239838"/>
              </a:xfrm>
              <a:custGeom>
                <a:avLst/>
                <a:gdLst>
                  <a:gd name="T0" fmla="*/ 233 w 999"/>
                  <a:gd name="T1" fmla="*/ 450 h 3202"/>
                  <a:gd name="T2" fmla="*/ 296 w 999"/>
                  <a:gd name="T3" fmla="*/ 460 h 3202"/>
                  <a:gd name="T4" fmla="*/ 208 w 999"/>
                  <a:gd name="T5" fmla="*/ 590 h 3202"/>
                  <a:gd name="T6" fmla="*/ 221 w 999"/>
                  <a:gd name="T7" fmla="*/ 759 h 3202"/>
                  <a:gd name="T8" fmla="*/ 205 w 999"/>
                  <a:gd name="T9" fmla="*/ 846 h 3202"/>
                  <a:gd name="T10" fmla="*/ 159 w 999"/>
                  <a:gd name="T11" fmla="*/ 1003 h 3202"/>
                  <a:gd name="T12" fmla="*/ 154 w 999"/>
                  <a:gd name="T13" fmla="*/ 1173 h 3202"/>
                  <a:gd name="T14" fmla="*/ 239 w 999"/>
                  <a:gd name="T15" fmla="*/ 1335 h 3202"/>
                  <a:gd name="T16" fmla="*/ 234 w 999"/>
                  <a:gd name="T17" fmla="*/ 1496 h 3202"/>
                  <a:gd name="T18" fmla="*/ 212 w 999"/>
                  <a:gd name="T19" fmla="*/ 1622 h 3202"/>
                  <a:gd name="T20" fmla="*/ 275 w 999"/>
                  <a:gd name="T21" fmla="*/ 1782 h 3202"/>
                  <a:gd name="T22" fmla="*/ 244 w 999"/>
                  <a:gd name="T23" fmla="*/ 1888 h 3202"/>
                  <a:gd name="T24" fmla="*/ 295 w 999"/>
                  <a:gd name="T25" fmla="*/ 2078 h 3202"/>
                  <a:gd name="T26" fmla="*/ 319 w 999"/>
                  <a:gd name="T27" fmla="*/ 2192 h 3202"/>
                  <a:gd name="T28" fmla="*/ 349 w 999"/>
                  <a:gd name="T29" fmla="*/ 2259 h 3202"/>
                  <a:gd name="T30" fmla="*/ 404 w 999"/>
                  <a:gd name="T31" fmla="*/ 2307 h 3202"/>
                  <a:gd name="T32" fmla="*/ 404 w 999"/>
                  <a:gd name="T33" fmla="*/ 2372 h 3202"/>
                  <a:gd name="T34" fmla="*/ 409 w 999"/>
                  <a:gd name="T35" fmla="*/ 2554 h 3202"/>
                  <a:gd name="T36" fmla="*/ 431 w 999"/>
                  <a:gd name="T37" fmla="*/ 2649 h 3202"/>
                  <a:gd name="T38" fmla="*/ 436 w 999"/>
                  <a:gd name="T39" fmla="*/ 2774 h 3202"/>
                  <a:gd name="T40" fmla="*/ 513 w 999"/>
                  <a:gd name="T41" fmla="*/ 2798 h 3202"/>
                  <a:gd name="T42" fmla="*/ 583 w 999"/>
                  <a:gd name="T43" fmla="*/ 2908 h 3202"/>
                  <a:gd name="T44" fmla="*/ 808 w 999"/>
                  <a:gd name="T45" fmla="*/ 2932 h 3202"/>
                  <a:gd name="T46" fmla="*/ 728 w 999"/>
                  <a:gd name="T47" fmla="*/ 2952 h 3202"/>
                  <a:gd name="T48" fmla="*/ 706 w 999"/>
                  <a:gd name="T49" fmla="*/ 3058 h 3202"/>
                  <a:gd name="T50" fmla="*/ 596 w 999"/>
                  <a:gd name="T51" fmla="*/ 3033 h 3202"/>
                  <a:gd name="T52" fmla="*/ 498 w 999"/>
                  <a:gd name="T53" fmla="*/ 2976 h 3202"/>
                  <a:gd name="T54" fmla="*/ 354 w 999"/>
                  <a:gd name="T55" fmla="*/ 2877 h 3202"/>
                  <a:gd name="T56" fmla="*/ 296 w 999"/>
                  <a:gd name="T57" fmla="*/ 2774 h 3202"/>
                  <a:gd name="T58" fmla="*/ 226 w 999"/>
                  <a:gd name="T59" fmla="*/ 2552 h 3202"/>
                  <a:gd name="T60" fmla="*/ 162 w 999"/>
                  <a:gd name="T61" fmla="*/ 2463 h 3202"/>
                  <a:gd name="T62" fmla="*/ 173 w 999"/>
                  <a:gd name="T63" fmla="*/ 2250 h 3202"/>
                  <a:gd name="T64" fmla="*/ 237 w 999"/>
                  <a:gd name="T65" fmla="*/ 2105 h 3202"/>
                  <a:gd name="T66" fmla="*/ 196 w 999"/>
                  <a:gd name="T67" fmla="*/ 2188 h 3202"/>
                  <a:gd name="T68" fmla="*/ 132 w 999"/>
                  <a:gd name="T69" fmla="*/ 2056 h 3202"/>
                  <a:gd name="T70" fmla="*/ 124 w 999"/>
                  <a:gd name="T71" fmla="*/ 1842 h 3202"/>
                  <a:gd name="T72" fmla="*/ 50 w 999"/>
                  <a:gd name="T73" fmla="*/ 1664 h 3202"/>
                  <a:gd name="T74" fmla="*/ 88 w 999"/>
                  <a:gd name="T75" fmla="*/ 1524 h 3202"/>
                  <a:gd name="T76" fmla="*/ 107 w 999"/>
                  <a:gd name="T77" fmla="*/ 1262 h 3202"/>
                  <a:gd name="T78" fmla="*/ 72 w 999"/>
                  <a:gd name="T79" fmla="*/ 1065 h 3202"/>
                  <a:gd name="T80" fmla="*/ 68 w 999"/>
                  <a:gd name="T81" fmla="*/ 856 h 3202"/>
                  <a:gd name="T82" fmla="*/ 52 w 999"/>
                  <a:gd name="T83" fmla="*/ 515 h 3202"/>
                  <a:gd name="T84" fmla="*/ 28 w 999"/>
                  <a:gd name="T85" fmla="*/ 185 h 3202"/>
                  <a:gd name="T86" fmla="*/ 36 w 999"/>
                  <a:gd name="T87" fmla="*/ 43 h 3202"/>
                  <a:gd name="T88" fmla="*/ 93 w 999"/>
                  <a:gd name="T89" fmla="*/ 57 h 3202"/>
                  <a:gd name="T90" fmla="*/ 152 w 999"/>
                  <a:gd name="T91" fmla="*/ 155 h 3202"/>
                  <a:gd name="T92" fmla="*/ 189 w 999"/>
                  <a:gd name="T93" fmla="*/ 333 h 3202"/>
                  <a:gd name="T94" fmla="*/ 893 w 999"/>
                  <a:gd name="T95" fmla="*/ 3142 h 3202"/>
                  <a:gd name="T96" fmla="*/ 999 w 999"/>
                  <a:gd name="T97" fmla="*/ 3144 h 3202"/>
                  <a:gd name="T98" fmla="*/ 950 w 999"/>
                  <a:gd name="T99" fmla="*/ 3202 h 3202"/>
                  <a:gd name="T100" fmla="*/ 878 w 999"/>
                  <a:gd name="T101" fmla="*/ 3193 h 3202"/>
                  <a:gd name="T102" fmla="*/ 750 w 999"/>
                  <a:gd name="T103" fmla="*/ 3157 h 3202"/>
                  <a:gd name="T104" fmla="*/ 565 w 999"/>
                  <a:gd name="T105" fmla="*/ 3068 h 3202"/>
                  <a:gd name="T106" fmla="*/ 497 w 999"/>
                  <a:gd name="T107" fmla="*/ 2993 h 3202"/>
                  <a:gd name="T108" fmla="*/ 708 w 999"/>
                  <a:gd name="T109" fmla="*/ 3077 h 3202"/>
                  <a:gd name="T110" fmla="*/ 721 w 999"/>
                  <a:gd name="T111" fmla="*/ 2984 h 3202"/>
                  <a:gd name="T112" fmla="*/ 816 w 999"/>
                  <a:gd name="T113" fmla="*/ 2960 h 3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99" h="3202">
                    <a:moveTo>
                      <a:pt x="189" y="333"/>
                    </a:moveTo>
                    <a:lnTo>
                      <a:pt x="233" y="450"/>
                    </a:lnTo>
                    <a:lnTo>
                      <a:pt x="284" y="439"/>
                    </a:lnTo>
                    <a:lnTo>
                      <a:pt x="296" y="460"/>
                    </a:lnTo>
                    <a:lnTo>
                      <a:pt x="282" y="548"/>
                    </a:lnTo>
                    <a:lnTo>
                      <a:pt x="208" y="590"/>
                    </a:lnTo>
                    <a:lnTo>
                      <a:pt x="231" y="732"/>
                    </a:lnTo>
                    <a:lnTo>
                      <a:pt x="221" y="759"/>
                    </a:lnTo>
                    <a:lnTo>
                      <a:pt x="248" y="793"/>
                    </a:lnTo>
                    <a:lnTo>
                      <a:pt x="205" y="846"/>
                    </a:lnTo>
                    <a:lnTo>
                      <a:pt x="171" y="926"/>
                    </a:lnTo>
                    <a:lnTo>
                      <a:pt x="159" y="1003"/>
                    </a:lnTo>
                    <a:lnTo>
                      <a:pt x="181" y="1085"/>
                    </a:lnTo>
                    <a:lnTo>
                      <a:pt x="154" y="1173"/>
                    </a:lnTo>
                    <a:lnTo>
                      <a:pt x="217" y="1319"/>
                    </a:lnTo>
                    <a:lnTo>
                      <a:pt x="239" y="1335"/>
                    </a:lnTo>
                    <a:lnTo>
                      <a:pt x="256" y="1413"/>
                    </a:lnTo>
                    <a:lnTo>
                      <a:pt x="234" y="1496"/>
                    </a:lnTo>
                    <a:lnTo>
                      <a:pt x="252" y="1566"/>
                    </a:lnTo>
                    <a:lnTo>
                      <a:pt x="212" y="1622"/>
                    </a:lnTo>
                    <a:lnTo>
                      <a:pt x="232" y="1700"/>
                    </a:lnTo>
                    <a:lnTo>
                      <a:pt x="275" y="1782"/>
                    </a:lnTo>
                    <a:lnTo>
                      <a:pt x="242" y="1813"/>
                    </a:lnTo>
                    <a:lnTo>
                      <a:pt x="244" y="1888"/>
                    </a:lnTo>
                    <a:lnTo>
                      <a:pt x="253" y="1975"/>
                    </a:lnTo>
                    <a:lnTo>
                      <a:pt x="295" y="2078"/>
                    </a:lnTo>
                    <a:lnTo>
                      <a:pt x="273" y="2095"/>
                    </a:lnTo>
                    <a:lnTo>
                      <a:pt x="319" y="2192"/>
                    </a:lnTo>
                    <a:lnTo>
                      <a:pt x="360" y="2224"/>
                    </a:lnTo>
                    <a:lnTo>
                      <a:pt x="349" y="2259"/>
                    </a:lnTo>
                    <a:lnTo>
                      <a:pt x="386" y="2276"/>
                    </a:lnTo>
                    <a:lnTo>
                      <a:pt x="404" y="2307"/>
                    </a:lnTo>
                    <a:lnTo>
                      <a:pt x="380" y="2323"/>
                    </a:lnTo>
                    <a:lnTo>
                      <a:pt x="404" y="2372"/>
                    </a:lnTo>
                    <a:lnTo>
                      <a:pt x="418" y="2483"/>
                    </a:lnTo>
                    <a:lnTo>
                      <a:pt x="409" y="2554"/>
                    </a:lnTo>
                    <a:lnTo>
                      <a:pt x="432" y="2596"/>
                    </a:lnTo>
                    <a:lnTo>
                      <a:pt x="431" y="2649"/>
                    </a:lnTo>
                    <a:lnTo>
                      <a:pt x="395" y="2686"/>
                    </a:lnTo>
                    <a:lnTo>
                      <a:pt x="436" y="2774"/>
                    </a:lnTo>
                    <a:lnTo>
                      <a:pt x="471" y="2804"/>
                    </a:lnTo>
                    <a:lnTo>
                      <a:pt x="513" y="2798"/>
                    </a:lnTo>
                    <a:lnTo>
                      <a:pt x="537" y="2860"/>
                    </a:lnTo>
                    <a:lnTo>
                      <a:pt x="583" y="2908"/>
                    </a:lnTo>
                    <a:lnTo>
                      <a:pt x="744" y="2919"/>
                    </a:lnTo>
                    <a:lnTo>
                      <a:pt x="808" y="2932"/>
                    </a:lnTo>
                    <a:lnTo>
                      <a:pt x="751" y="2931"/>
                    </a:lnTo>
                    <a:lnTo>
                      <a:pt x="728" y="2952"/>
                    </a:lnTo>
                    <a:lnTo>
                      <a:pt x="683" y="2981"/>
                    </a:lnTo>
                    <a:lnTo>
                      <a:pt x="706" y="3058"/>
                    </a:lnTo>
                    <a:lnTo>
                      <a:pt x="680" y="3060"/>
                    </a:lnTo>
                    <a:lnTo>
                      <a:pt x="596" y="3033"/>
                    </a:lnTo>
                    <a:lnTo>
                      <a:pt x="498" y="2976"/>
                    </a:lnTo>
                    <a:lnTo>
                      <a:pt x="498" y="2976"/>
                    </a:lnTo>
                    <a:lnTo>
                      <a:pt x="397" y="2929"/>
                    </a:lnTo>
                    <a:lnTo>
                      <a:pt x="354" y="2877"/>
                    </a:lnTo>
                    <a:lnTo>
                      <a:pt x="352" y="2829"/>
                    </a:lnTo>
                    <a:lnTo>
                      <a:pt x="296" y="2774"/>
                    </a:lnTo>
                    <a:lnTo>
                      <a:pt x="230" y="2632"/>
                    </a:lnTo>
                    <a:lnTo>
                      <a:pt x="226" y="2552"/>
                    </a:lnTo>
                    <a:lnTo>
                      <a:pt x="272" y="2488"/>
                    </a:lnTo>
                    <a:lnTo>
                      <a:pt x="162" y="2463"/>
                    </a:lnTo>
                    <a:lnTo>
                      <a:pt x="199" y="2389"/>
                    </a:lnTo>
                    <a:lnTo>
                      <a:pt x="173" y="2250"/>
                    </a:lnTo>
                    <a:lnTo>
                      <a:pt x="258" y="2280"/>
                    </a:lnTo>
                    <a:lnTo>
                      <a:pt x="237" y="2105"/>
                    </a:lnTo>
                    <a:lnTo>
                      <a:pt x="184" y="2083"/>
                    </a:lnTo>
                    <a:lnTo>
                      <a:pt x="196" y="2188"/>
                    </a:lnTo>
                    <a:lnTo>
                      <a:pt x="150" y="2176"/>
                    </a:lnTo>
                    <a:lnTo>
                      <a:pt x="132" y="2056"/>
                    </a:lnTo>
                    <a:lnTo>
                      <a:pt x="109" y="1900"/>
                    </a:lnTo>
                    <a:lnTo>
                      <a:pt x="124" y="1842"/>
                    </a:lnTo>
                    <a:lnTo>
                      <a:pt x="81" y="1759"/>
                    </a:lnTo>
                    <a:lnTo>
                      <a:pt x="50" y="1664"/>
                    </a:lnTo>
                    <a:lnTo>
                      <a:pt x="79" y="1661"/>
                    </a:lnTo>
                    <a:lnTo>
                      <a:pt x="88" y="1524"/>
                    </a:lnTo>
                    <a:lnTo>
                      <a:pt x="105" y="1389"/>
                    </a:lnTo>
                    <a:lnTo>
                      <a:pt x="107" y="1262"/>
                    </a:lnTo>
                    <a:lnTo>
                      <a:pt x="65" y="1135"/>
                    </a:lnTo>
                    <a:lnTo>
                      <a:pt x="72" y="1065"/>
                    </a:lnTo>
                    <a:lnTo>
                      <a:pt x="44" y="960"/>
                    </a:lnTo>
                    <a:lnTo>
                      <a:pt x="68" y="856"/>
                    </a:lnTo>
                    <a:lnTo>
                      <a:pt x="55" y="691"/>
                    </a:lnTo>
                    <a:lnTo>
                      <a:pt x="52" y="515"/>
                    </a:lnTo>
                    <a:lnTo>
                      <a:pt x="50" y="324"/>
                    </a:lnTo>
                    <a:lnTo>
                      <a:pt x="28" y="185"/>
                    </a:lnTo>
                    <a:lnTo>
                      <a:pt x="0" y="65"/>
                    </a:lnTo>
                    <a:lnTo>
                      <a:pt x="36" y="43"/>
                    </a:lnTo>
                    <a:lnTo>
                      <a:pt x="51" y="0"/>
                    </a:lnTo>
                    <a:lnTo>
                      <a:pt x="93" y="57"/>
                    </a:lnTo>
                    <a:lnTo>
                      <a:pt x="110" y="119"/>
                    </a:lnTo>
                    <a:lnTo>
                      <a:pt x="152" y="155"/>
                    </a:lnTo>
                    <a:lnTo>
                      <a:pt x="138" y="237"/>
                    </a:lnTo>
                    <a:lnTo>
                      <a:pt x="189" y="333"/>
                    </a:lnTo>
                    <a:moveTo>
                      <a:pt x="816" y="2960"/>
                    </a:moveTo>
                    <a:lnTo>
                      <a:pt x="893" y="3142"/>
                    </a:lnTo>
                    <a:lnTo>
                      <a:pt x="960" y="3142"/>
                    </a:lnTo>
                    <a:lnTo>
                      <a:pt x="999" y="3144"/>
                    </a:lnTo>
                    <a:lnTo>
                      <a:pt x="992" y="3177"/>
                    </a:lnTo>
                    <a:lnTo>
                      <a:pt x="950" y="3202"/>
                    </a:lnTo>
                    <a:lnTo>
                      <a:pt x="918" y="3200"/>
                    </a:lnTo>
                    <a:lnTo>
                      <a:pt x="878" y="3193"/>
                    </a:lnTo>
                    <a:lnTo>
                      <a:pt x="821" y="3169"/>
                    </a:lnTo>
                    <a:lnTo>
                      <a:pt x="750" y="3157"/>
                    </a:lnTo>
                    <a:lnTo>
                      <a:pt x="650" y="3112"/>
                    </a:lnTo>
                    <a:lnTo>
                      <a:pt x="565" y="3068"/>
                    </a:lnTo>
                    <a:lnTo>
                      <a:pt x="436" y="2976"/>
                    </a:lnTo>
                    <a:lnTo>
                      <a:pt x="497" y="2993"/>
                    </a:lnTo>
                    <a:lnTo>
                      <a:pt x="611" y="3048"/>
                    </a:lnTo>
                    <a:lnTo>
                      <a:pt x="708" y="3077"/>
                    </a:lnTo>
                    <a:lnTo>
                      <a:pt x="724" y="3040"/>
                    </a:lnTo>
                    <a:lnTo>
                      <a:pt x="721" y="2984"/>
                    </a:lnTo>
                    <a:lnTo>
                      <a:pt x="766" y="2950"/>
                    </a:lnTo>
                    <a:lnTo>
                      <a:pt x="816" y="2960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49" name="Freeform 39"/>
              <p:cNvSpPr>
                <a:spLocks/>
              </p:cNvSpPr>
              <p:nvPr/>
            </p:nvSpPr>
            <p:spPr bwMode="auto">
              <a:xfrm>
                <a:off x="7299325" y="3246437"/>
                <a:ext cx="65088" cy="61913"/>
              </a:xfrm>
              <a:custGeom>
                <a:avLst/>
                <a:gdLst>
                  <a:gd name="T0" fmla="*/ 33 w 41"/>
                  <a:gd name="T1" fmla="*/ 29 h 39"/>
                  <a:gd name="T2" fmla="*/ 19 w 41"/>
                  <a:gd name="T3" fmla="*/ 39 h 39"/>
                  <a:gd name="T4" fmla="*/ 3 w 41"/>
                  <a:gd name="T5" fmla="*/ 33 h 39"/>
                  <a:gd name="T6" fmla="*/ 0 w 41"/>
                  <a:gd name="T7" fmla="*/ 15 h 39"/>
                  <a:gd name="T8" fmla="*/ 7 w 41"/>
                  <a:gd name="T9" fmla="*/ 6 h 39"/>
                  <a:gd name="T10" fmla="*/ 25 w 41"/>
                  <a:gd name="T11" fmla="*/ 0 h 39"/>
                  <a:gd name="T12" fmla="*/ 36 w 41"/>
                  <a:gd name="T13" fmla="*/ 0 h 39"/>
                  <a:gd name="T14" fmla="*/ 41 w 41"/>
                  <a:gd name="T15" fmla="*/ 8 h 39"/>
                  <a:gd name="T16" fmla="*/ 35 w 41"/>
                  <a:gd name="T17" fmla="*/ 17 h 39"/>
                  <a:gd name="T18" fmla="*/ 33 w 41"/>
                  <a:gd name="T19" fmla="*/ 2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39">
                    <a:moveTo>
                      <a:pt x="33" y="29"/>
                    </a:moveTo>
                    <a:lnTo>
                      <a:pt x="19" y="39"/>
                    </a:lnTo>
                    <a:lnTo>
                      <a:pt x="3" y="33"/>
                    </a:lnTo>
                    <a:lnTo>
                      <a:pt x="0" y="15"/>
                    </a:lnTo>
                    <a:lnTo>
                      <a:pt x="7" y="6"/>
                    </a:lnTo>
                    <a:lnTo>
                      <a:pt x="25" y="0"/>
                    </a:lnTo>
                    <a:lnTo>
                      <a:pt x="36" y="0"/>
                    </a:lnTo>
                    <a:lnTo>
                      <a:pt x="41" y="8"/>
                    </a:lnTo>
                    <a:lnTo>
                      <a:pt x="35" y="17"/>
                    </a:lnTo>
                    <a:lnTo>
                      <a:pt x="33" y="2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0" name="Freeform 40"/>
              <p:cNvSpPr>
                <a:spLocks/>
              </p:cNvSpPr>
              <p:nvPr/>
            </p:nvSpPr>
            <p:spPr bwMode="auto">
              <a:xfrm>
                <a:off x="6167437" y="2157412"/>
                <a:ext cx="1493838" cy="1082675"/>
              </a:xfrm>
              <a:custGeom>
                <a:avLst/>
                <a:gdLst>
                  <a:gd name="T0" fmla="*/ 872 w 941"/>
                  <a:gd name="T1" fmla="*/ 114 h 682"/>
                  <a:gd name="T2" fmla="*/ 932 w 941"/>
                  <a:gd name="T3" fmla="*/ 118 h 682"/>
                  <a:gd name="T4" fmla="*/ 919 w 941"/>
                  <a:gd name="T5" fmla="*/ 164 h 682"/>
                  <a:gd name="T6" fmla="*/ 928 w 941"/>
                  <a:gd name="T7" fmla="*/ 214 h 682"/>
                  <a:gd name="T8" fmla="*/ 895 w 941"/>
                  <a:gd name="T9" fmla="*/ 232 h 682"/>
                  <a:gd name="T10" fmla="*/ 873 w 941"/>
                  <a:gd name="T11" fmla="*/ 251 h 682"/>
                  <a:gd name="T12" fmla="*/ 825 w 941"/>
                  <a:gd name="T13" fmla="*/ 291 h 682"/>
                  <a:gd name="T14" fmla="*/ 813 w 941"/>
                  <a:gd name="T15" fmla="*/ 265 h 682"/>
                  <a:gd name="T16" fmla="*/ 771 w 941"/>
                  <a:gd name="T17" fmla="*/ 289 h 682"/>
                  <a:gd name="T18" fmla="*/ 781 w 941"/>
                  <a:gd name="T19" fmla="*/ 317 h 682"/>
                  <a:gd name="T20" fmla="*/ 833 w 941"/>
                  <a:gd name="T21" fmla="*/ 325 h 682"/>
                  <a:gd name="T22" fmla="*/ 827 w 941"/>
                  <a:gd name="T23" fmla="*/ 354 h 682"/>
                  <a:gd name="T24" fmla="*/ 849 w 941"/>
                  <a:gd name="T25" fmla="*/ 410 h 682"/>
                  <a:gd name="T26" fmla="*/ 880 w 941"/>
                  <a:gd name="T27" fmla="*/ 466 h 682"/>
                  <a:gd name="T28" fmla="*/ 903 w 941"/>
                  <a:gd name="T29" fmla="*/ 517 h 682"/>
                  <a:gd name="T30" fmla="*/ 871 w 941"/>
                  <a:gd name="T31" fmla="*/ 593 h 682"/>
                  <a:gd name="T32" fmla="*/ 801 w 941"/>
                  <a:gd name="T33" fmla="*/ 642 h 682"/>
                  <a:gd name="T34" fmla="*/ 744 w 941"/>
                  <a:gd name="T35" fmla="*/ 659 h 682"/>
                  <a:gd name="T36" fmla="*/ 727 w 941"/>
                  <a:gd name="T37" fmla="*/ 659 h 682"/>
                  <a:gd name="T38" fmla="*/ 664 w 941"/>
                  <a:gd name="T39" fmla="*/ 642 h 682"/>
                  <a:gd name="T40" fmla="*/ 624 w 941"/>
                  <a:gd name="T41" fmla="*/ 629 h 682"/>
                  <a:gd name="T42" fmla="*/ 576 w 941"/>
                  <a:gd name="T43" fmla="*/ 640 h 682"/>
                  <a:gd name="T44" fmla="*/ 569 w 941"/>
                  <a:gd name="T45" fmla="*/ 649 h 682"/>
                  <a:gd name="T46" fmla="*/ 535 w 941"/>
                  <a:gd name="T47" fmla="*/ 627 h 682"/>
                  <a:gd name="T48" fmla="*/ 494 w 941"/>
                  <a:gd name="T49" fmla="*/ 582 h 682"/>
                  <a:gd name="T50" fmla="*/ 491 w 941"/>
                  <a:gd name="T51" fmla="*/ 527 h 682"/>
                  <a:gd name="T52" fmla="*/ 456 w 941"/>
                  <a:gd name="T53" fmla="*/ 505 h 682"/>
                  <a:gd name="T54" fmla="*/ 401 w 941"/>
                  <a:gd name="T55" fmla="*/ 508 h 682"/>
                  <a:gd name="T56" fmla="*/ 356 w 941"/>
                  <a:gd name="T57" fmla="*/ 520 h 682"/>
                  <a:gd name="T58" fmla="*/ 321 w 941"/>
                  <a:gd name="T59" fmla="*/ 520 h 682"/>
                  <a:gd name="T60" fmla="*/ 253 w 941"/>
                  <a:gd name="T61" fmla="*/ 508 h 682"/>
                  <a:gd name="T62" fmla="*/ 199 w 941"/>
                  <a:gd name="T63" fmla="*/ 478 h 682"/>
                  <a:gd name="T64" fmla="*/ 129 w 941"/>
                  <a:gd name="T65" fmla="*/ 449 h 682"/>
                  <a:gd name="T66" fmla="*/ 120 w 941"/>
                  <a:gd name="T67" fmla="*/ 408 h 682"/>
                  <a:gd name="T68" fmla="*/ 54 w 941"/>
                  <a:gd name="T69" fmla="*/ 342 h 682"/>
                  <a:gd name="T70" fmla="*/ 26 w 941"/>
                  <a:gd name="T71" fmla="*/ 307 h 682"/>
                  <a:gd name="T72" fmla="*/ 3 w 941"/>
                  <a:gd name="T73" fmla="*/ 280 h 682"/>
                  <a:gd name="T74" fmla="*/ 42 w 941"/>
                  <a:gd name="T75" fmla="*/ 264 h 682"/>
                  <a:gd name="T76" fmla="*/ 91 w 941"/>
                  <a:gd name="T77" fmla="*/ 230 h 682"/>
                  <a:gd name="T78" fmla="*/ 68 w 941"/>
                  <a:gd name="T79" fmla="*/ 172 h 682"/>
                  <a:gd name="T80" fmla="*/ 136 w 941"/>
                  <a:gd name="T81" fmla="*/ 130 h 682"/>
                  <a:gd name="T82" fmla="*/ 151 w 941"/>
                  <a:gd name="T83" fmla="*/ 85 h 682"/>
                  <a:gd name="T84" fmla="*/ 213 w 941"/>
                  <a:gd name="T85" fmla="*/ 116 h 682"/>
                  <a:gd name="T86" fmla="*/ 267 w 941"/>
                  <a:gd name="T87" fmla="*/ 168 h 682"/>
                  <a:gd name="T88" fmla="*/ 343 w 941"/>
                  <a:gd name="T89" fmla="*/ 205 h 682"/>
                  <a:gd name="T90" fmla="*/ 433 w 941"/>
                  <a:gd name="T91" fmla="*/ 219 h 682"/>
                  <a:gd name="T92" fmla="*/ 512 w 941"/>
                  <a:gd name="T93" fmla="*/ 241 h 682"/>
                  <a:gd name="T94" fmla="*/ 591 w 941"/>
                  <a:gd name="T95" fmla="*/ 214 h 682"/>
                  <a:gd name="T96" fmla="*/ 590 w 941"/>
                  <a:gd name="T97" fmla="*/ 182 h 682"/>
                  <a:gd name="T98" fmla="*/ 632 w 941"/>
                  <a:gd name="T99" fmla="*/ 164 h 682"/>
                  <a:gd name="T100" fmla="*/ 687 w 941"/>
                  <a:gd name="T101" fmla="*/ 134 h 682"/>
                  <a:gd name="T102" fmla="*/ 659 w 941"/>
                  <a:gd name="T103" fmla="*/ 108 h 682"/>
                  <a:gd name="T104" fmla="*/ 616 w 941"/>
                  <a:gd name="T105" fmla="*/ 107 h 682"/>
                  <a:gd name="T106" fmla="*/ 652 w 941"/>
                  <a:gd name="T107" fmla="*/ 66 h 682"/>
                  <a:gd name="T108" fmla="*/ 642 w 941"/>
                  <a:gd name="T109" fmla="*/ 18 h 682"/>
                  <a:gd name="T110" fmla="*/ 672 w 941"/>
                  <a:gd name="T111" fmla="*/ 0 h 682"/>
                  <a:gd name="T112" fmla="*/ 757 w 941"/>
                  <a:gd name="T113" fmla="*/ 42 h 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41" h="682">
                    <a:moveTo>
                      <a:pt x="791" y="74"/>
                    </a:moveTo>
                    <a:lnTo>
                      <a:pt x="823" y="80"/>
                    </a:lnTo>
                    <a:lnTo>
                      <a:pt x="852" y="95"/>
                    </a:lnTo>
                    <a:lnTo>
                      <a:pt x="872" y="114"/>
                    </a:lnTo>
                    <a:lnTo>
                      <a:pt x="896" y="114"/>
                    </a:lnTo>
                    <a:lnTo>
                      <a:pt x="905" y="106"/>
                    </a:lnTo>
                    <a:lnTo>
                      <a:pt x="927" y="100"/>
                    </a:lnTo>
                    <a:lnTo>
                      <a:pt x="932" y="118"/>
                    </a:lnTo>
                    <a:lnTo>
                      <a:pt x="930" y="126"/>
                    </a:lnTo>
                    <a:lnTo>
                      <a:pt x="940" y="148"/>
                    </a:lnTo>
                    <a:lnTo>
                      <a:pt x="941" y="168"/>
                    </a:lnTo>
                    <a:lnTo>
                      <a:pt x="919" y="164"/>
                    </a:lnTo>
                    <a:lnTo>
                      <a:pt x="909" y="171"/>
                    </a:lnTo>
                    <a:lnTo>
                      <a:pt x="924" y="189"/>
                    </a:lnTo>
                    <a:lnTo>
                      <a:pt x="936" y="213"/>
                    </a:lnTo>
                    <a:lnTo>
                      <a:pt x="928" y="214"/>
                    </a:lnTo>
                    <a:lnTo>
                      <a:pt x="934" y="224"/>
                    </a:lnTo>
                    <a:lnTo>
                      <a:pt x="916" y="212"/>
                    </a:lnTo>
                    <a:lnTo>
                      <a:pt x="916" y="223"/>
                    </a:lnTo>
                    <a:lnTo>
                      <a:pt x="895" y="232"/>
                    </a:lnTo>
                    <a:lnTo>
                      <a:pt x="904" y="243"/>
                    </a:lnTo>
                    <a:lnTo>
                      <a:pt x="889" y="243"/>
                    </a:lnTo>
                    <a:lnTo>
                      <a:pt x="877" y="236"/>
                    </a:lnTo>
                    <a:lnTo>
                      <a:pt x="873" y="251"/>
                    </a:lnTo>
                    <a:lnTo>
                      <a:pt x="861" y="262"/>
                    </a:lnTo>
                    <a:lnTo>
                      <a:pt x="853" y="275"/>
                    </a:lnTo>
                    <a:lnTo>
                      <a:pt x="833" y="281"/>
                    </a:lnTo>
                    <a:lnTo>
                      <a:pt x="825" y="291"/>
                    </a:lnTo>
                    <a:lnTo>
                      <a:pt x="809" y="296"/>
                    </a:lnTo>
                    <a:lnTo>
                      <a:pt x="814" y="287"/>
                    </a:lnTo>
                    <a:lnTo>
                      <a:pt x="806" y="279"/>
                    </a:lnTo>
                    <a:lnTo>
                      <a:pt x="813" y="265"/>
                    </a:lnTo>
                    <a:lnTo>
                      <a:pt x="799" y="254"/>
                    </a:lnTo>
                    <a:lnTo>
                      <a:pt x="788" y="261"/>
                    </a:lnTo>
                    <a:lnTo>
                      <a:pt x="776" y="275"/>
                    </a:lnTo>
                    <a:lnTo>
                      <a:pt x="771" y="289"/>
                    </a:lnTo>
                    <a:lnTo>
                      <a:pt x="755" y="290"/>
                    </a:lnTo>
                    <a:lnTo>
                      <a:pt x="751" y="299"/>
                    </a:lnTo>
                    <a:lnTo>
                      <a:pt x="766" y="313"/>
                    </a:lnTo>
                    <a:lnTo>
                      <a:pt x="781" y="317"/>
                    </a:lnTo>
                    <a:lnTo>
                      <a:pt x="786" y="326"/>
                    </a:lnTo>
                    <a:lnTo>
                      <a:pt x="802" y="332"/>
                    </a:lnTo>
                    <a:lnTo>
                      <a:pt x="815" y="317"/>
                    </a:lnTo>
                    <a:lnTo>
                      <a:pt x="833" y="325"/>
                    </a:lnTo>
                    <a:lnTo>
                      <a:pt x="845" y="326"/>
                    </a:lnTo>
                    <a:lnTo>
                      <a:pt x="852" y="337"/>
                    </a:lnTo>
                    <a:lnTo>
                      <a:pt x="830" y="343"/>
                    </a:lnTo>
                    <a:lnTo>
                      <a:pt x="827" y="354"/>
                    </a:lnTo>
                    <a:lnTo>
                      <a:pt x="815" y="364"/>
                    </a:lnTo>
                    <a:lnTo>
                      <a:pt x="811" y="378"/>
                    </a:lnTo>
                    <a:lnTo>
                      <a:pt x="834" y="390"/>
                    </a:lnTo>
                    <a:lnTo>
                      <a:pt x="849" y="410"/>
                    </a:lnTo>
                    <a:lnTo>
                      <a:pt x="867" y="429"/>
                    </a:lnTo>
                    <a:lnTo>
                      <a:pt x="884" y="445"/>
                    </a:lnTo>
                    <a:lnTo>
                      <a:pt x="889" y="461"/>
                    </a:lnTo>
                    <a:lnTo>
                      <a:pt x="880" y="466"/>
                    </a:lnTo>
                    <a:lnTo>
                      <a:pt x="888" y="477"/>
                    </a:lnTo>
                    <a:lnTo>
                      <a:pt x="900" y="484"/>
                    </a:lnTo>
                    <a:lnTo>
                      <a:pt x="903" y="501"/>
                    </a:lnTo>
                    <a:lnTo>
                      <a:pt x="903" y="517"/>
                    </a:lnTo>
                    <a:lnTo>
                      <a:pt x="894" y="519"/>
                    </a:lnTo>
                    <a:lnTo>
                      <a:pt x="888" y="541"/>
                    </a:lnTo>
                    <a:lnTo>
                      <a:pt x="881" y="569"/>
                    </a:lnTo>
                    <a:lnTo>
                      <a:pt x="871" y="593"/>
                    </a:lnTo>
                    <a:lnTo>
                      <a:pt x="851" y="613"/>
                    </a:lnTo>
                    <a:lnTo>
                      <a:pt x="830" y="630"/>
                    </a:lnTo>
                    <a:lnTo>
                      <a:pt x="810" y="632"/>
                    </a:lnTo>
                    <a:lnTo>
                      <a:pt x="801" y="642"/>
                    </a:lnTo>
                    <a:lnTo>
                      <a:pt x="793" y="635"/>
                    </a:lnTo>
                    <a:lnTo>
                      <a:pt x="785" y="645"/>
                    </a:lnTo>
                    <a:lnTo>
                      <a:pt x="762" y="656"/>
                    </a:lnTo>
                    <a:lnTo>
                      <a:pt x="744" y="659"/>
                    </a:lnTo>
                    <a:lnTo>
                      <a:pt x="742" y="681"/>
                    </a:lnTo>
                    <a:lnTo>
                      <a:pt x="732" y="682"/>
                    </a:lnTo>
                    <a:lnTo>
                      <a:pt x="725" y="667"/>
                    </a:lnTo>
                    <a:lnTo>
                      <a:pt x="727" y="659"/>
                    </a:lnTo>
                    <a:lnTo>
                      <a:pt x="702" y="652"/>
                    </a:lnTo>
                    <a:lnTo>
                      <a:pt x="694" y="656"/>
                    </a:lnTo>
                    <a:lnTo>
                      <a:pt x="675" y="650"/>
                    </a:lnTo>
                    <a:lnTo>
                      <a:pt x="664" y="642"/>
                    </a:lnTo>
                    <a:lnTo>
                      <a:pt x="665" y="630"/>
                    </a:lnTo>
                    <a:lnTo>
                      <a:pt x="648" y="626"/>
                    </a:lnTo>
                    <a:lnTo>
                      <a:pt x="638" y="618"/>
                    </a:lnTo>
                    <a:lnTo>
                      <a:pt x="624" y="629"/>
                    </a:lnTo>
                    <a:lnTo>
                      <a:pt x="608" y="632"/>
                    </a:lnTo>
                    <a:lnTo>
                      <a:pt x="593" y="632"/>
                    </a:lnTo>
                    <a:lnTo>
                      <a:pt x="585" y="637"/>
                    </a:lnTo>
                    <a:lnTo>
                      <a:pt x="576" y="640"/>
                    </a:lnTo>
                    <a:lnTo>
                      <a:pt x="583" y="663"/>
                    </a:lnTo>
                    <a:lnTo>
                      <a:pt x="573" y="663"/>
                    </a:lnTo>
                    <a:lnTo>
                      <a:pt x="571" y="658"/>
                    </a:lnTo>
                    <a:lnTo>
                      <a:pt x="569" y="649"/>
                    </a:lnTo>
                    <a:lnTo>
                      <a:pt x="557" y="656"/>
                    </a:lnTo>
                    <a:lnTo>
                      <a:pt x="548" y="652"/>
                    </a:lnTo>
                    <a:lnTo>
                      <a:pt x="533" y="644"/>
                    </a:lnTo>
                    <a:lnTo>
                      <a:pt x="535" y="627"/>
                    </a:lnTo>
                    <a:lnTo>
                      <a:pt x="523" y="623"/>
                    </a:lnTo>
                    <a:lnTo>
                      <a:pt x="515" y="604"/>
                    </a:lnTo>
                    <a:lnTo>
                      <a:pt x="497" y="607"/>
                    </a:lnTo>
                    <a:lnTo>
                      <a:pt x="494" y="582"/>
                    </a:lnTo>
                    <a:lnTo>
                      <a:pt x="507" y="565"/>
                    </a:lnTo>
                    <a:lnTo>
                      <a:pt x="504" y="548"/>
                    </a:lnTo>
                    <a:lnTo>
                      <a:pt x="500" y="532"/>
                    </a:lnTo>
                    <a:lnTo>
                      <a:pt x="491" y="527"/>
                    </a:lnTo>
                    <a:lnTo>
                      <a:pt x="482" y="515"/>
                    </a:lnTo>
                    <a:lnTo>
                      <a:pt x="472" y="516"/>
                    </a:lnTo>
                    <a:lnTo>
                      <a:pt x="452" y="513"/>
                    </a:lnTo>
                    <a:lnTo>
                      <a:pt x="456" y="505"/>
                    </a:lnTo>
                    <a:lnTo>
                      <a:pt x="445" y="492"/>
                    </a:lnTo>
                    <a:lnTo>
                      <a:pt x="434" y="500"/>
                    </a:lnTo>
                    <a:lnTo>
                      <a:pt x="418" y="495"/>
                    </a:lnTo>
                    <a:lnTo>
                      <a:pt x="401" y="508"/>
                    </a:lnTo>
                    <a:lnTo>
                      <a:pt x="389" y="524"/>
                    </a:lnTo>
                    <a:lnTo>
                      <a:pt x="375" y="527"/>
                    </a:lnTo>
                    <a:lnTo>
                      <a:pt x="366" y="521"/>
                    </a:lnTo>
                    <a:lnTo>
                      <a:pt x="356" y="520"/>
                    </a:lnTo>
                    <a:lnTo>
                      <a:pt x="343" y="516"/>
                    </a:lnTo>
                    <a:lnTo>
                      <a:pt x="334" y="521"/>
                    </a:lnTo>
                    <a:lnTo>
                      <a:pt x="326" y="536"/>
                    </a:lnTo>
                    <a:lnTo>
                      <a:pt x="321" y="520"/>
                    </a:lnTo>
                    <a:lnTo>
                      <a:pt x="311" y="524"/>
                    </a:lnTo>
                    <a:lnTo>
                      <a:pt x="290" y="522"/>
                    </a:lnTo>
                    <a:lnTo>
                      <a:pt x="269" y="517"/>
                    </a:lnTo>
                    <a:lnTo>
                      <a:pt x="253" y="508"/>
                    </a:lnTo>
                    <a:lnTo>
                      <a:pt x="238" y="504"/>
                    </a:lnTo>
                    <a:lnTo>
                      <a:pt x="230" y="494"/>
                    </a:lnTo>
                    <a:lnTo>
                      <a:pt x="219" y="491"/>
                    </a:lnTo>
                    <a:lnTo>
                      <a:pt x="199" y="478"/>
                    </a:lnTo>
                    <a:lnTo>
                      <a:pt x="183" y="472"/>
                    </a:lnTo>
                    <a:lnTo>
                      <a:pt x="177" y="476"/>
                    </a:lnTo>
                    <a:lnTo>
                      <a:pt x="149" y="462"/>
                    </a:lnTo>
                    <a:lnTo>
                      <a:pt x="129" y="449"/>
                    </a:lnTo>
                    <a:lnTo>
                      <a:pt x="119" y="426"/>
                    </a:lnTo>
                    <a:lnTo>
                      <a:pt x="132" y="429"/>
                    </a:lnTo>
                    <a:lnTo>
                      <a:pt x="130" y="418"/>
                    </a:lnTo>
                    <a:lnTo>
                      <a:pt x="120" y="408"/>
                    </a:lnTo>
                    <a:lnTo>
                      <a:pt x="118" y="391"/>
                    </a:lnTo>
                    <a:lnTo>
                      <a:pt x="93" y="366"/>
                    </a:lnTo>
                    <a:lnTo>
                      <a:pt x="63" y="358"/>
                    </a:lnTo>
                    <a:lnTo>
                      <a:pt x="54" y="342"/>
                    </a:lnTo>
                    <a:lnTo>
                      <a:pt x="38" y="333"/>
                    </a:lnTo>
                    <a:lnTo>
                      <a:pt x="34" y="327"/>
                    </a:lnTo>
                    <a:lnTo>
                      <a:pt x="28" y="315"/>
                    </a:lnTo>
                    <a:lnTo>
                      <a:pt x="26" y="307"/>
                    </a:lnTo>
                    <a:lnTo>
                      <a:pt x="15" y="302"/>
                    </a:lnTo>
                    <a:lnTo>
                      <a:pt x="9" y="304"/>
                    </a:lnTo>
                    <a:lnTo>
                      <a:pt x="0" y="285"/>
                    </a:lnTo>
                    <a:lnTo>
                      <a:pt x="3" y="280"/>
                    </a:lnTo>
                    <a:lnTo>
                      <a:pt x="0" y="276"/>
                    </a:lnTo>
                    <a:lnTo>
                      <a:pt x="13" y="266"/>
                    </a:lnTo>
                    <a:lnTo>
                      <a:pt x="23" y="262"/>
                    </a:lnTo>
                    <a:lnTo>
                      <a:pt x="42" y="264"/>
                    </a:lnTo>
                    <a:lnTo>
                      <a:pt x="44" y="252"/>
                    </a:lnTo>
                    <a:lnTo>
                      <a:pt x="65" y="249"/>
                    </a:lnTo>
                    <a:lnTo>
                      <a:pt x="68" y="241"/>
                    </a:lnTo>
                    <a:lnTo>
                      <a:pt x="91" y="230"/>
                    </a:lnTo>
                    <a:lnTo>
                      <a:pt x="92" y="225"/>
                    </a:lnTo>
                    <a:lnTo>
                      <a:pt x="87" y="213"/>
                    </a:lnTo>
                    <a:lnTo>
                      <a:pt x="96" y="208"/>
                    </a:lnTo>
                    <a:lnTo>
                      <a:pt x="68" y="172"/>
                    </a:lnTo>
                    <a:lnTo>
                      <a:pt x="98" y="164"/>
                    </a:lnTo>
                    <a:lnTo>
                      <a:pt x="104" y="160"/>
                    </a:lnTo>
                    <a:lnTo>
                      <a:pt x="101" y="123"/>
                    </a:lnTo>
                    <a:lnTo>
                      <a:pt x="136" y="130"/>
                    </a:lnTo>
                    <a:lnTo>
                      <a:pt x="141" y="121"/>
                    </a:lnTo>
                    <a:lnTo>
                      <a:pt x="133" y="100"/>
                    </a:lnTo>
                    <a:lnTo>
                      <a:pt x="146" y="98"/>
                    </a:lnTo>
                    <a:lnTo>
                      <a:pt x="151" y="85"/>
                    </a:lnTo>
                    <a:lnTo>
                      <a:pt x="157" y="83"/>
                    </a:lnTo>
                    <a:lnTo>
                      <a:pt x="168" y="97"/>
                    </a:lnTo>
                    <a:lnTo>
                      <a:pt x="186" y="108"/>
                    </a:lnTo>
                    <a:lnTo>
                      <a:pt x="213" y="116"/>
                    </a:lnTo>
                    <a:lnTo>
                      <a:pt x="232" y="132"/>
                    </a:lnTo>
                    <a:lnTo>
                      <a:pt x="236" y="156"/>
                    </a:lnTo>
                    <a:lnTo>
                      <a:pt x="246" y="165"/>
                    </a:lnTo>
                    <a:lnTo>
                      <a:pt x="267" y="168"/>
                    </a:lnTo>
                    <a:lnTo>
                      <a:pt x="290" y="171"/>
                    </a:lnTo>
                    <a:lnTo>
                      <a:pt x="316" y="184"/>
                    </a:lnTo>
                    <a:lnTo>
                      <a:pt x="327" y="186"/>
                    </a:lnTo>
                    <a:lnTo>
                      <a:pt x="343" y="205"/>
                    </a:lnTo>
                    <a:lnTo>
                      <a:pt x="358" y="217"/>
                    </a:lnTo>
                    <a:lnTo>
                      <a:pt x="376" y="217"/>
                    </a:lnTo>
                    <a:lnTo>
                      <a:pt x="412" y="222"/>
                    </a:lnTo>
                    <a:lnTo>
                      <a:pt x="433" y="219"/>
                    </a:lnTo>
                    <a:lnTo>
                      <a:pt x="451" y="222"/>
                    </a:lnTo>
                    <a:lnTo>
                      <a:pt x="481" y="234"/>
                    </a:lnTo>
                    <a:lnTo>
                      <a:pt x="502" y="234"/>
                    </a:lnTo>
                    <a:lnTo>
                      <a:pt x="512" y="241"/>
                    </a:lnTo>
                    <a:lnTo>
                      <a:pt x="527" y="230"/>
                    </a:lnTo>
                    <a:lnTo>
                      <a:pt x="550" y="222"/>
                    </a:lnTo>
                    <a:lnTo>
                      <a:pt x="575" y="222"/>
                    </a:lnTo>
                    <a:lnTo>
                      <a:pt x="591" y="214"/>
                    </a:lnTo>
                    <a:lnTo>
                      <a:pt x="598" y="203"/>
                    </a:lnTo>
                    <a:lnTo>
                      <a:pt x="606" y="196"/>
                    </a:lnTo>
                    <a:lnTo>
                      <a:pt x="600" y="190"/>
                    </a:lnTo>
                    <a:lnTo>
                      <a:pt x="590" y="182"/>
                    </a:lnTo>
                    <a:lnTo>
                      <a:pt x="592" y="169"/>
                    </a:lnTo>
                    <a:lnTo>
                      <a:pt x="602" y="171"/>
                    </a:lnTo>
                    <a:lnTo>
                      <a:pt x="621" y="175"/>
                    </a:lnTo>
                    <a:lnTo>
                      <a:pt x="632" y="164"/>
                    </a:lnTo>
                    <a:lnTo>
                      <a:pt x="653" y="156"/>
                    </a:lnTo>
                    <a:lnTo>
                      <a:pt x="657" y="142"/>
                    </a:lnTo>
                    <a:lnTo>
                      <a:pt x="665" y="137"/>
                    </a:lnTo>
                    <a:lnTo>
                      <a:pt x="687" y="134"/>
                    </a:lnTo>
                    <a:lnTo>
                      <a:pt x="702" y="136"/>
                    </a:lnTo>
                    <a:lnTo>
                      <a:pt x="699" y="129"/>
                    </a:lnTo>
                    <a:lnTo>
                      <a:pt x="676" y="115"/>
                    </a:lnTo>
                    <a:lnTo>
                      <a:pt x="659" y="108"/>
                    </a:lnTo>
                    <a:lnTo>
                      <a:pt x="651" y="116"/>
                    </a:lnTo>
                    <a:lnTo>
                      <a:pt x="633" y="112"/>
                    </a:lnTo>
                    <a:lnTo>
                      <a:pt x="625" y="115"/>
                    </a:lnTo>
                    <a:lnTo>
                      <a:pt x="616" y="107"/>
                    </a:lnTo>
                    <a:lnTo>
                      <a:pt x="615" y="87"/>
                    </a:lnTo>
                    <a:lnTo>
                      <a:pt x="613" y="71"/>
                    </a:lnTo>
                    <a:lnTo>
                      <a:pt x="638" y="79"/>
                    </a:lnTo>
                    <a:lnTo>
                      <a:pt x="652" y="66"/>
                    </a:lnTo>
                    <a:lnTo>
                      <a:pt x="646" y="57"/>
                    </a:lnTo>
                    <a:lnTo>
                      <a:pt x="646" y="36"/>
                    </a:lnTo>
                    <a:lnTo>
                      <a:pt x="650" y="30"/>
                    </a:lnTo>
                    <a:lnTo>
                      <a:pt x="642" y="18"/>
                    </a:lnTo>
                    <a:lnTo>
                      <a:pt x="630" y="14"/>
                    </a:lnTo>
                    <a:lnTo>
                      <a:pt x="635" y="4"/>
                    </a:lnTo>
                    <a:lnTo>
                      <a:pt x="652" y="0"/>
                    </a:lnTo>
                    <a:lnTo>
                      <a:pt x="672" y="0"/>
                    </a:lnTo>
                    <a:lnTo>
                      <a:pt x="700" y="5"/>
                    </a:lnTo>
                    <a:lnTo>
                      <a:pt x="719" y="13"/>
                    </a:lnTo>
                    <a:lnTo>
                      <a:pt x="744" y="33"/>
                    </a:lnTo>
                    <a:lnTo>
                      <a:pt x="757" y="42"/>
                    </a:lnTo>
                    <a:lnTo>
                      <a:pt x="771" y="54"/>
                    </a:lnTo>
                    <a:lnTo>
                      <a:pt x="791" y="74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1" name="Freeform 41"/>
              <p:cNvSpPr>
                <a:spLocks/>
              </p:cNvSpPr>
              <p:nvPr/>
            </p:nvSpPr>
            <p:spPr bwMode="auto">
              <a:xfrm>
                <a:off x="3932237" y="3562350"/>
                <a:ext cx="174625" cy="203200"/>
              </a:xfrm>
              <a:custGeom>
                <a:avLst/>
                <a:gdLst>
                  <a:gd name="T0" fmla="*/ 105 w 110"/>
                  <a:gd name="T1" fmla="*/ 115 h 128"/>
                  <a:gd name="T2" fmla="*/ 97 w 110"/>
                  <a:gd name="T3" fmla="*/ 115 h 128"/>
                  <a:gd name="T4" fmla="*/ 84 w 110"/>
                  <a:gd name="T5" fmla="*/ 111 h 128"/>
                  <a:gd name="T6" fmla="*/ 72 w 110"/>
                  <a:gd name="T7" fmla="*/ 111 h 128"/>
                  <a:gd name="T8" fmla="*/ 50 w 110"/>
                  <a:gd name="T9" fmla="*/ 115 h 128"/>
                  <a:gd name="T10" fmla="*/ 37 w 110"/>
                  <a:gd name="T11" fmla="*/ 121 h 128"/>
                  <a:gd name="T12" fmla="*/ 19 w 110"/>
                  <a:gd name="T13" fmla="*/ 128 h 128"/>
                  <a:gd name="T14" fmla="*/ 16 w 110"/>
                  <a:gd name="T15" fmla="*/ 128 h 128"/>
                  <a:gd name="T16" fmla="*/ 17 w 110"/>
                  <a:gd name="T17" fmla="*/ 111 h 128"/>
                  <a:gd name="T18" fmla="*/ 19 w 110"/>
                  <a:gd name="T19" fmla="*/ 108 h 128"/>
                  <a:gd name="T20" fmla="*/ 18 w 110"/>
                  <a:gd name="T21" fmla="*/ 100 h 128"/>
                  <a:gd name="T22" fmla="*/ 11 w 110"/>
                  <a:gd name="T23" fmla="*/ 91 h 128"/>
                  <a:gd name="T24" fmla="*/ 5 w 110"/>
                  <a:gd name="T25" fmla="*/ 90 h 128"/>
                  <a:gd name="T26" fmla="*/ 0 w 110"/>
                  <a:gd name="T27" fmla="*/ 84 h 128"/>
                  <a:gd name="T28" fmla="*/ 3 w 110"/>
                  <a:gd name="T29" fmla="*/ 75 h 128"/>
                  <a:gd name="T30" fmla="*/ 2 w 110"/>
                  <a:gd name="T31" fmla="*/ 65 h 128"/>
                  <a:gd name="T32" fmla="*/ 3 w 110"/>
                  <a:gd name="T33" fmla="*/ 59 h 128"/>
                  <a:gd name="T34" fmla="*/ 6 w 110"/>
                  <a:gd name="T35" fmla="*/ 59 h 128"/>
                  <a:gd name="T36" fmla="*/ 7 w 110"/>
                  <a:gd name="T37" fmla="*/ 50 h 128"/>
                  <a:gd name="T38" fmla="*/ 5 w 110"/>
                  <a:gd name="T39" fmla="*/ 46 h 128"/>
                  <a:gd name="T40" fmla="*/ 7 w 110"/>
                  <a:gd name="T41" fmla="*/ 43 h 128"/>
                  <a:gd name="T42" fmla="*/ 14 w 110"/>
                  <a:gd name="T43" fmla="*/ 40 h 128"/>
                  <a:gd name="T44" fmla="*/ 9 w 110"/>
                  <a:gd name="T45" fmla="*/ 24 h 128"/>
                  <a:gd name="T46" fmla="*/ 5 w 110"/>
                  <a:gd name="T47" fmla="*/ 15 h 128"/>
                  <a:gd name="T48" fmla="*/ 7 w 110"/>
                  <a:gd name="T49" fmla="*/ 8 h 128"/>
                  <a:gd name="T50" fmla="*/ 11 w 110"/>
                  <a:gd name="T51" fmla="*/ 6 h 128"/>
                  <a:gd name="T52" fmla="*/ 13 w 110"/>
                  <a:gd name="T53" fmla="*/ 5 h 128"/>
                  <a:gd name="T54" fmla="*/ 18 w 110"/>
                  <a:gd name="T55" fmla="*/ 7 h 128"/>
                  <a:gd name="T56" fmla="*/ 32 w 110"/>
                  <a:gd name="T57" fmla="*/ 8 h 128"/>
                  <a:gd name="T58" fmla="*/ 35 w 110"/>
                  <a:gd name="T59" fmla="*/ 2 h 128"/>
                  <a:gd name="T60" fmla="*/ 39 w 110"/>
                  <a:gd name="T61" fmla="*/ 2 h 128"/>
                  <a:gd name="T62" fmla="*/ 44 w 110"/>
                  <a:gd name="T63" fmla="*/ 0 h 128"/>
                  <a:gd name="T64" fmla="*/ 47 w 110"/>
                  <a:gd name="T65" fmla="*/ 9 h 128"/>
                  <a:gd name="T66" fmla="*/ 51 w 110"/>
                  <a:gd name="T67" fmla="*/ 6 h 128"/>
                  <a:gd name="T68" fmla="*/ 58 w 110"/>
                  <a:gd name="T69" fmla="*/ 3 h 128"/>
                  <a:gd name="T70" fmla="*/ 67 w 110"/>
                  <a:gd name="T71" fmla="*/ 7 h 128"/>
                  <a:gd name="T72" fmla="*/ 70 w 110"/>
                  <a:gd name="T73" fmla="*/ 14 h 128"/>
                  <a:gd name="T74" fmla="*/ 78 w 110"/>
                  <a:gd name="T75" fmla="*/ 19 h 128"/>
                  <a:gd name="T76" fmla="*/ 85 w 110"/>
                  <a:gd name="T77" fmla="*/ 14 h 128"/>
                  <a:gd name="T78" fmla="*/ 93 w 110"/>
                  <a:gd name="T79" fmla="*/ 13 h 128"/>
                  <a:gd name="T80" fmla="*/ 106 w 110"/>
                  <a:gd name="T81" fmla="*/ 18 h 128"/>
                  <a:gd name="T82" fmla="*/ 110 w 110"/>
                  <a:gd name="T83" fmla="*/ 48 h 128"/>
                  <a:gd name="T84" fmla="*/ 103 w 110"/>
                  <a:gd name="T85" fmla="*/ 65 h 128"/>
                  <a:gd name="T86" fmla="*/ 98 w 110"/>
                  <a:gd name="T87" fmla="*/ 88 h 128"/>
                  <a:gd name="T88" fmla="*/ 106 w 110"/>
                  <a:gd name="T89" fmla="*/ 107 h 128"/>
                  <a:gd name="T90" fmla="*/ 105 w 110"/>
                  <a:gd name="T91" fmla="*/ 115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10" h="128">
                    <a:moveTo>
                      <a:pt x="105" y="115"/>
                    </a:moveTo>
                    <a:lnTo>
                      <a:pt x="97" y="115"/>
                    </a:lnTo>
                    <a:lnTo>
                      <a:pt x="84" y="111"/>
                    </a:lnTo>
                    <a:lnTo>
                      <a:pt x="72" y="111"/>
                    </a:lnTo>
                    <a:lnTo>
                      <a:pt x="50" y="115"/>
                    </a:lnTo>
                    <a:lnTo>
                      <a:pt x="37" y="121"/>
                    </a:lnTo>
                    <a:lnTo>
                      <a:pt x="19" y="128"/>
                    </a:lnTo>
                    <a:lnTo>
                      <a:pt x="16" y="128"/>
                    </a:lnTo>
                    <a:lnTo>
                      <a:pt x="17" y="111"/>
                    </a:lnTo>
                    <a:lnTo>
                      <a:pt x="19" y="108"/>
                    </a:lnTo>
                    <a:lnTo>
                      <a:pt x="18" y="100"/>
                    </a:lnTo>
                    <a:lnTo>
                      <a:pt x="11" y="91"/>
                    </a:lnTo>
                    <a:lnTo>
                      <a:pt x="5" y="90"/>
                    </a:lnTo>
                    <a:lnTo>
                      <a:pt x="0" y="84"/>
                    </a:lnTo>
                    <a:lnTo>
                      <a:pt x="3" y="75"/>
                    </a:lnTo>
                    <a:lnTo>
                      <a:pt x="2" y="65"/>
                    </a:lnTo>
                    <a:lnTo>
                      <a:pt x="3" y="59"/>
                    </a:lnTo>
                    <a:lnTo>
                      <a:pt x="6" y="59"/>
                    </a:lnTo>
                    <a:lnTo>
                      <a:pt x="7" y="50"/>
                    </a:lnTo>
                    <a:lnTo>
                      <a:pt x="5" y="46"/>
                    </a:lnTo>
                    <a:lnTo>
                      <a:pt x="7" y="43"/>
                    </a:lnTo>
                    <a:lnTo>
                      <a:pt x="14" y="40"/>
                    </a:lnTo>
                    <a:lnTo>
                      <a:pt x="9" y="24"/>
                    </a:lnTo>
                    <a:lnTo>
                      <a:pt x="5" y="15"/>
                    </a:lnTo>
                    <a:lnTo>
                      <a:pt x="7" y="8"/>
                    </a:lnTo>
                    <a:lnTo>
                      <a:pt x="11" y="6"/>
                    </a:lnTo>
                    <a:lnTo>
                      <a:pt x="13" y="5"/>
                    </a:lnTo>
                    <a:lnTo>
                      <a:pt x="18" y="7"/>
                    </a:lnTo>
                    <a:lnTo>
                      <a:pt x="32" y="8"/>
                    </a:lnTo>
                    <a:lnTo>
                      <a:pt x="35" y="2"/>
                    </a:lnTo>
                    <a:lnTo>
                      <a:pt x="39" y="2"/>
                    </a:lnTo>
                    <a:lnTo>
                      <a:pt x="44" y="0"/>
                    </a:lnTo>
                    <a:lnTo>
                      <a:pt x="47" y="9"/>
                    </a:lnTo>
                    <a:lnTo>
                      <a:pt x="51" y="6"/>
                    </a:lnTo>
                    <a:lnTo>
                      <a:pt x="58" y="3"/>
                    </a:lnTo>
                    <a:lnTo>
                      <a:pt x="67" y="7"/>
                    </a:lnTo>
                    <a:lnTo>
                      <a:pt x="70" y="14"/>
                    </a:lnTo>
                    <a:lnTo>
                      <a:pt x="78" y="19"/>
                    </a:lnTo>
                    <a:lnTo>
                      <a:pt x="85" y="14"/>
                    </a:lnTo>
                    <a:lnTo>
                      <a:pt x="93" y="13"/>
                    </a:lnTo>
                    <a:lnTo>
                      <a:pt x="106" y="18"/>
                    </a:lnTo>
                    <a:lnTo>
                      <a:pt x="110" y="48"/>
                    </a:lnTo>
                    <a:lnTo>
                      <a:pt x="103" y="65"/>
                    </a:lnTo>
                    <a:lnTo>
                      <a:pt x="98" y="88"/>
                    </a:lnTo>
                    <a:lnTo>
                      <a:pt x="106" y="107"/>
                    </a:lnTo>
                    <a:lnTo>
                      <a:pt x="105" y="115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2" name="Freeform 42"/>
              <p:cNvSpPr>
                <a:spLocks/>
              </p:cNvSpPr>
              <p:nvPr/>
            </p:nvSpPr>
            <p:spPr bwMode="auto">
              <a:xfrm>
                <a:off x="4429125" y="3484562"/>
                <a:ext cx="220663" cy="366713"/>
              </a:xfrm>
              <a:custGeom>
                <a:avLst/>
                <a:gdLst>
                  <a:gd name="T0" fmla="*/ 85 w 139"/>
                  <a:gd name="T1" fmla="*/ 220 h 231"/>
                  <a:gd name="T2" fmla="*/ 82 w 139"/>
                  <a:gd name="T3" fmla="*/ 219 h 231"/>
                  <a:gd name="T4" fmla="*/ 71 w 139"/>
                  <a:gd name="T5" fmla="*/ 222 h 231"/>
                  <a:gd name="T6" fmla="*/ 60 w 139"/>
                  <a:gd name="T7" fmla="*/ 219 h 231"/>
                  <a:gd name="T8" fmla="*/ 52 w 139"/>
                  <a:gd name="T9" fmla="*/ 220 h 231"/>
                  <a:gd name="T10" fmla="*/ 22 w 139"/>
                  <a:gd name="T11" fmla="*/ 220 h 231"/>
                  <a:gd name="T12" fmla="*/ 24 w 139"/>
                  <a:gd name="T13" fmla="*/ 204 h 231"/>
                  <a:gd name="T14" fmla="*/ 17 w 139"/>
                  <a:gd name="T15" fmla="*/ 190 h 231"/>
                  <a:gd name="T16" fmla="*/ 9 w 139"/>
                  <a:gd name="T17" fmla="*/ 186 h 231"/>
                  <a:gd name="T18" fmla="*/ 5 w 139"/>
                  <a:gd name="T19" fmla="*/ 177 h 231"/>
                  <a:gd name="T20" fmla="*/ 0 w 139"/>
                  <a:gd name="T21" fmla="*/ 174 h 231"/>
                  <a:gd name="T22" fmla="*/ 0 w 139"/>
                  <a:gd name="T23" fmla="*/ 168 h 231"/>
                  <a:gd name="T24" fmla="*/ 5 w 139"/>
                  <a:gd name="T25" fmla="*/ 154 h 231"/>
                  <a:gd name="T26" fmla="*/ 14 w 139"/>
                  <a:gd name="T27" fmla="*/ 134 h 231"/>
                  <a:gd name="T28" fmla="*/ 19 w 139"/>
                  <a:gd name="T29" fmla="*/ 133 h 231"/>
                  <a:gd name="T30" fmla="*/ 30 w 139"/>
                  <a:gd name="T31" fmla="*/ 121 h 231"/>
                  <a:gd name="T32" fmla="*/ 37 w 139"/>
                  <a:gd name="T33" fmla="*/ 121 h 231"/>
                  <a:gd name="T34" fmla="*/ 47 w 139"/>
                  <a:gd name="T35" fmla="*/ 129 h 231"/>
                  <a:gd name="T36" fmla="*/ 60 w 139"/>
                  <a:gd name="T37" fmla="*/ 122 h 231"/>
                  <a:gd name="T38" fmla="*/ 61 w 139"/>
                  <a:gd name="T39" fmla="*/ 114 h 231"/>
                  <a:gd name="T40" fmla="*/ 66 w 139"/>
                  <a:gd name="T41" fmla="*/ 105 h 231"/>
                  <a:gd name="T42" fmla="*/ 68 w 139"/>
                  <a:gd name="T43" fmla="*/ 95 h 231"/>
                  <a:gd name="T44" fmla="*/ 78 w 139"/>
                  <a:gd name="T45" fmla="*/ 86 h 231"/>
                  <a:gd name="T46" fmla="*/ 81 w 139"/>
                  <a:gd name="T47" fmla="*/ 72 h 231"/>
                  <a:gd name="T48" fmla="*/ 85 w 139"/>
                  <a:gd name="T49" fmla="*/ 67 h 231"/>
                  <a:gd name="T50" fmla="*/ 88 w 139"/>
                  <a:gd name="T51" fmla="*/ 56 h 231"/>
                  <a:gd name="T52" fmla="*/ 93 w 139"/>
                  <a:gd name="T53" fmla="*/ 43 h 231"/>
                  <a:gd name="T54" fmla="*/ 108 w 139"/>
                  <a:gd name="T55" fmla="*/ 27 h 231"/>
                  <a:gd name="T56" fmla="*/ 108 w 139"/>
                  <a:gd name="T57" fmla="*/ 20 h 231"/>
                  <a:gd name="T58" fmla="*/ 110 w 139"/>
                  <a:gd name="T59" fmla="*/ 16 h 231"/>
                  <a:gd name="T60" fmla="*/ 103 w 139"/>
                  <a:gd name="T61" fmla="*/ 8 h 231"/>
                  <a:gd name="T62" fmla="*/ 104 w 139"/>
                  <a:gd name="T63" fmla="*/ 1 h 231"/>
                  <a:gd name="T64" fmla="*/ 109 w 139"/>
                  <a:gd name="T65" fmla="*/ 0 h 231"/>
                  <a:gd name="T66" fmla="*/ 116 w 139"/>
                  <a:gd name="T67" fmla="*/ 14 h 231"/>
                  <a:gd name="T68" fmla="*/ 118 w 139"/>
                  <a:gd name="T69" fmla="*/ 27 h 231"/>
                  <a:gd name="T70" fmla="*/ 117 w 139"/>
                  <a:gd name="T71" fmla="*/ 41 h 231"/>
                  <a:gd name="T72" fmla="*/ 127 w 139"/>
                  <a:gd name="T73" fmla="*/ 60 h 231"/>
                  <a:gd name="T74" fmla="*/ 117 w 139"/>
                  <a:gd name="T75" fmla="*/ 60 h 231"/>
                  <a:gd name="T76" fmla="*/ 112 w 139"/>
                  <a:gd name="T77" fmla="*/ 61 h 231"/>
                  <a:gd name="T78" fmla="*/ 104 w 139"/>
                  <a:gd name="T79" fmla="*/ 59 h 231"/>
                  <a:gd name="T80" fmla="*/ 100 w 139"/>
                  <a:gd name="T81" fmla="*/ 69 h 231"/>
                  <a:gd name="T82" fmla="*/ 111 w 139"/>
                  <a:gd name="T83" fmla="*/ 81 h 231"/>
                  <a:gd name="T84" fmla="*/ 119 w 139"/>
                  <a:gd name="T85" fmla="*/ 85 h 231"/>
                  <a:gd name="T86" fmla="*/ 121 w 139"/>
                  <a:gd name="T87" fmla="*/ 93 h 231"/>
                  <a:gd name="T88" fmla="*/ 127 w 139"/>
                  <a:gd name="T89" fmla="*/ 107 h 231"/>
                  <a:gd name="T90" fmla="*/ 124 w 139"/>
                  <a:gd name="T91" fmla="*/ 113 h 231"/>
                  <a:gd name="T92" fmla="*/ 115 w 139"/>
                  <a:gd name="T93" fmla="*/ 134 h 231"/>
                  <a:gd name="T94" fmla="*/ 111 w 139"/>
                  <a:gd name="T95" fmla="*/ 138 h 231"/>
                  <a:gd name="T96" fmla="*/ 110 w 139"/>
                  <a:gd name="T97" fmla="*/ 154 h 231"/>
                  <a:gd name="T98" fmla="*/ 112 w 139"/>
                  <a:gd name="T99" fmla="*/ 163 h 231"/>
                  <a:gd name="T100" fmla="*/ 110 w 139"/>
                  <a:gd name="T101" fmla="*/ 169 h 231"/>
                  <a:gd name="T102" fmla="*/ 119 w 139"/>
                  <a:gd name="T103" fmla="*/ 180 h 231"/>
                  <a:gd name="T104" fmla="*/ 120 w 139"/>
                  <a:gd name="T105" fmla="*/ 188 h 231"/>
                  <a:gd name="T106" fmla="*/ 127 w 139"/>
                  <a:gd name="T107" fmla="*/ 198 h 231"/>
                  <a:gd name="T108" fmla="*/ 136 w 139"/>
                  <a:gd name="T109" fmla="*/ 205 h 231"/>
                  <a:gd name="T110" fmla="*/ 137 w 139"/>
                  <a:gd name="T111" fmla="*/ 214 h 231"/>
                  <a:gd name="T112" fmla="*/ 139 w 139"/>
                  <a:gd name="T113" fmla="*/ 220 h 231"/>
                  <a:gd name="T114" fmla="*/ 137 w 139"/>
                  <a:gd name="T115" fmla="*/ 231 h 231"/>
                  <a:gd name="T116" fmla="*/ 123 w 139"/>
                  <a:gd name="T117" fmla="*/ 227 h 231"/>
                  <a:gd name="T118" fmla="*/ 108 w 139"/>
                  <a:gd name="T119" fmla="*/ 221 h 231"/>
                  <a:gd name="T120" fmla="*/ 85 w 139"/>
                  <a:gd name="T121" fmla="*/ 220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9" h="231">
                    <a:moveTo>
                      <a:pt x="85" y="220"/>
                    </a:moveTo>
                    <a:lnTo>
                      <a:pt x="82" y="219"/>
                    </a:lnTo>
                    <a:lnTo>
                      <a:pt x="71" y="222"/>
                    </a:lnTo>
                    <a:lnTo>
                      <a:pt x="60" y="219"/>
                    </a:lnTo>
                    <a:lnTo>
                      <a:pt x="52" y="220"/>
                    </a:lnTo>
                    <a:lnTo>
                      <a:pt x="22" y="220"/>
                    </a:lnTo>
                    <a:lnTo>
                      <a:pt x="24" y="204"/>
                    </a:lnTo>
                    <a:lnTo>
                      <a:pt x="17" y="190"/>
                    </a:lnTo>
                    <a:lnTo>
                      <a:pt x="9" y="186"/>
                    </a:lnTo>
                    <a:lnTo>
                      <a:pt x="5" y="177"/>
                    </a:lnTo>
                    <a:lnTo>
                      <a:pt x="0" y="174"/>
                    </a:lnTo>
                    <a:lnTo>
                      <a:pt x="0" y="168"/>
                    </a:lnTo>
                    <a:lnTo>
                      <a:pt x="5" y="154"/>
                    </a:lnTo>
                    <a:lnTo>
                      <a:pt x="14" y="134"/>
                    </a:lnTo>
                    <a:lnTo>
                      <a:pt x="19" y="133"/>
                    </a:lnTo>
                    <a:lnTo>
                      <a:pt x="30" y="121"/>
                    </a:lnTo>
                    <a:lnTo>
                      <a:pt x="37" y="121"/>
                    </a:lnTo>
                    <a:lnTo>
                      <a:pt x="47" y="129"/>
                    </a:lnTo>
                    <a:lnTo>
                      <a:pt x="60" y="122"/>
                    </a:lnTo>
                    <a:lnTo>
                      <a:pt x="61" y="114"/>
                    </a:lnTo>
                    <a:lnTo>
                      <a:pt x="66" y="105"/>
                    </a:lnTo>
                    <a:lnTo>
                      <a:pt x="68" y="95"/>
                    </a:lnTo>
                    <a:lnTo>
                      <a:pt x="78" y="86"/>
                    </a:lnTo>
                    <a:lnTo>
                      <a:pt x="81" y="72"/>
                    </a:lnTo>
                    <a:lnTo>
                      <a:pt x="85" y="67"/>
                    </a:lnTo>
                    <a:lnTo>
                      <a:pt x="88" y="56"/>
                    </a:lnTo>
                    <a:lnTo>
                      <a:pt x="93" y="43"/>
                    </a:lnTo>
                    <a:lnTo>
                      <a:pt x="108" y="27"/>
                    </a:lnTo>
                    <a:lnTo>
                      <a:pt x="108" y="20"/>
                    </a:lnTo>
                    <a:lnTo>
                      <a:pt x="110" y="16"/>
                    </a:lnTo>
                    <a:lnTo>
                      <a:pt x="103" y="8"/>
                    </a:lnTo>
                    <a:lnTo>
                      <a:pt x="104" y="1"/>
                    </a:lnTo>
                    <a:lnTo>
                      <a:pt x="109" y="0"/>
                    </a:lnTo>
                    <a:lnTo>
                      <a:pt x="116" y="14"/>
                    </a:lnTo>
                    <a:lnTo>
                      <a:pt x="118" y="27"/>
                    </a:lnTo>
                    <a:lnTo>
                      <a:pt x="117" y="41"/>
                    </a:lnTo>
                    <a:lnTo>
                      <a:pt x="127" y="60"/>
                    </a:lnTo>
                    <a:lnTo>
                      <a:pt x="117" y="60"/>
                    </a:lnTo>
                    <a:lnTo>
                      <a:pt x="112" y="61"/>
                    </a:lnTo>
                    <a:lnTo>
                      <a:pt x="104" y="59"/>
                    </a:lnTo>
                    <a:lnTo>
                      <a:pt x="100" y="69"/>
                    </a:lnTo>
                    <a:lnTo>
                      <a:pt x="111" y="81"/>
                    </a:lnTo>
                    <a:lnTo>
                      <a:pt x="119" y="85"/>
                    </a:lnTo>
                    <a:lnTo>
                      <a:pt x="121" y="93"/>
                    </a:lnTo>
                    <a:lnTo>
                      <a:pt x="127" y="107"/>
                    </a:lnTo>
                    <a:lnTo>
                      <a:pt x="124" y="113"/>
                    </a:lnTo>
                    <a:lnTo>
                      <a:pt x="115" y="134"/>
                    </a:lnTo>
                    <a:lnTo>
                      <a:pt x="111" y="138"/>
                    </a:lnTo>
                    <a:lnTo>
                      <a:pt x="110" y="154"/>
                    </a:lnTo>
                    <a:lnTo>
                      <a:pt x="112" y="163"/>
                    </a:lnTo>
                    <a:lnTo>
                      <a:pt x="110" y="169"/>
                    </a:lnTo>
                    <a:lnTo>
                      <a:pt x="119" y="180"/>
                    </a:lnTo>
                    <a:lnTo>
                      <a:pt x="120" y="188"/>
                    </a:lnTo>
                    <a:lnTo>
                      <a:pt x="127" y="198"/>
                    </a:lnTo>
                    <a:lnTo>
                      <a:pt x="136" y="205"/>
                    </a:lnTo>
                    <a:lnTo>
                      <a:pt x="137" y="214"/>
                    </a:lnTo>
                    <a:lnTo>
                      <a:pt x="139" y="220"/>
                    </a:lnTo>
                    <a:lnTo>
                      <a:pt x="137" y="231"/>
                    </a:lnTo>
                    <a:lnTo>
                      <a:pt x="123" y="227"/>
                    </a:lnTo>
                    <a:lnTo>
                      <a:pt x="108" y="221"/>
                    </a:lnTo>
                    <a:lnTo>
                      <a:pt x="85" y="220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3" name="Freeform 43"/>
              <p:cNvSpPr>
                <a:spLocks/>
              </p:cNvSpPr>
              <p:nvPr/>
            </p:nvSpPr>
            <p:spPr bwMode="auto">
              <a:xfrm>
                <a:off x="4537075" y="3735388"/>
                <a:ext cx="554038" cy="611188"/>
              </a:xfrm>
              <a:custGeom>
                <a:avLst/>
                <a:gdLst>
                  <a:gd name="T0" fmla="*/ 342 w 349"/>
                  <a:gd name="T1" fmla="*/ 61 h 385"/>
                  <a:gd name="T2" fmla="*/ 343 w 349"/>
                  <a:gd name="T3" fmla="*/ 71 h 385"/>
                  <a:gd name="T4" fmla="*/ 329 w 349"/>
                  <a:gd name="T5" fmla="*/ 87 h 385"/>
                  <a:gd name="T6" fmla="*/ 324 w 349"/>
                  <a:gd name="T7" fmla="*/ 114 h 385"/>
                  <a:gd name="T8" fmla="*/ 320 w 349"/>
                  <a:gd name="T9" fmla="*/ 137 h 385"/>
                  <a:gd name="T10" fmla="*/ 314 w 349"/>
                  <a:gd name="T11" fmla="*/ 155 h 385"/>
                  <a:gd name="T12" fmla="*/ 310 w 349"/>
                  <a:gd name="T13" fmla="*/ 168 h 385"/>
                  <a:gd name="T14" fmla="*/ 315 w 349"/>
                  <a:gd name="T15" fmla="*/ 203 h 385"/>
                  <a:gd name="T16" fmla="*/ 316 w 349"/>
                  <a:gd name="T17" fmla="*/ 233 h 385"/>
                  <a:gd name="T18" fmla="*/ 330 w 349"/>
                  <a:gd name="T19" fmla="*/ 256 h 385"/>
                  <a:gd name="T20" fmla="*/ 332 w 349"/>
                  <a:gd name="T21" fmla="*/ 281 h 385"/>
                  <a:gd name="T22" fmla="*/ 303 w 349"/>
                  <a:gd name="T23" fmla="*/ 287 h 385"/>
                  <a:gd name="T24" fmla="*/ 301 w 349"/>
                  <a:gd name="T25" fmla="*/ 309 h 385"/>
                  <a:gd name="T26" fmla="*/ 295 w 349"/>
                  <a:gd name="T27" fmla="*/ 354 h 385"/>
                  <a:gd name="T28" fmla="*/ 312 w 349"/>
                  <a:gd name="T29" fmla="*/ 366 h 385"/>
                  <a:gd name="T30" fmla="*/ 318 w 349"/>
                  <a:gd name="T31" fmla="*/ 385 h 385"/>
                  <a:gd name="T32" fmla="*/ 297 w 349"/>
                  <a:gd name="T33" fmla="*/ 373 h 385"/>
                  <a:gd name="T34" fmla="*/ 276 w 349"/>
                  <a:gd name="T35" fmla="*/ 362 h 385"/>
                  <a:gd name="T36" fmla="*/ 261 w 349"/>
                  <a:gd name="T37" fmla="*/ 357 h 385"/>
                  <a:gd name="T38" fmla="*/ 241 w 349"/>
                  <a:gd name="T39" fmla="*/ 345 h 385"/>
                  <a:gd name="T40" fmla="*/ 221 w 349"/>
                  <a:gd name="T41" fmla="*/ 344 h 385"/>
                  <a:gd name="T42" fmla="*/ 214 w 349"/>
                  <a:gd name="T43" fmla="*/ 336 h 385"/>
                  <a:gd name="T44" fmla="*/ 194 w 349"/>
                  <a:gd name="T45" fmla="*/ 338 h 385"/>
                  <a:gd name="T46" fmla="*/ 181 w 349"/>
                  <a:gd name="T47" fmla="*/ 340 h 385"/>
                  <a:gd name="T48" fmla="*/ 177 w 349"/>
                  <a:gd name="T49" fmla="*/ 307 h 385"/>
                  <a:gd name="T50" fmla="*/ 178 w 349"/>
                  <a:gd name="T51" fmla="*/ 282 h 385"/>
                  <a:gd name="T52" fmla="*/ 175 w 349"/>
                  <a:gd name="T53" fmla="*/ 261 h 385"/>
                  <a:gd name="T54" fmla="*/ 154 w 349"/>
                  <a:gd name="T55" fmla="*/ 253 h 385"/>
                  <a:gd name="T56" fmla="*/ 144 w 349"/>
                  <a:gd name="T57" fmla="*/ 257 h 385"/>
                  <a:gd name="T58" fmla="*/ 128 w 349"/>
                  <a:gd name="T59" fmla="*/ 270 h 385"/>
                  <a:gd name="T60" fmla="*/ 115 w 349"/>
                  <a:gd name="T61" fmla="*/ 273 h 385"/>
                  <a:gd name="T62" fmla="*/ 97 w 349"/>
                  <a:gd name="T63" fmla="*/ 277 h 385"/>
                  <a:gd name="T64" fmla="*/ 85 w 349"/>
                  <a:gd name="T65" fmla="*/ 260 h 385"/>
                  <a:gd name="T66" fmla="*/ 76 w 349"/>
                  <a:gd name="T67" fmla="*/ 232 h 385"/>
                  <a:gd name="T68" fmla="*/ 15 w 349"/>
                  <a:gd name="T69" fmla="*/ 234 h 385"/>
                  <a:gd name="T70" fmla="*/ 2 w 349"/>
                  <a:gd name="T71" fmla="*/ 236 h 385"/>
                  <a:gd name="T72" fmla="*/ 5 w 349"/>
                  <a:gd name="T73" fmla="*/ 228 h 385"/>
                  <a:gd name="T74" fmla="*/ 8 w 349"/>
                  <a:gd name="T75" fmla="*/ 213 h 385"/>
                  <a:gd name="T76" fmla="*/ 20 w 349"/>
                  <a:gd name="T77" fmla="*/ 211 h 385"/>
                  <a:gd name="T78" fmla="*/ 36 w 349"/>
                  <a:gd name="T79" fmla="*/ 203 h 385"/>
                  <a:gd name="T80" fmla="*/ 44 w 349"/>
                  <a:gd name="T81" fmla="*/ 213 h 385"/>
                  <a:gd name="T82" fmla="*/ 66 w 349"/>
                  <a:gd name="T83" fmla="*/ 190 h 385"/>
                  <a:gd name="T84" fmla="*/ 70 w 349"/>
                  <a:gd name="T85" fmla="*/ 166 h 385"/>
                  <a:gd name="T86" fmla="*/ 86 w 349"/>
                  <a:gd name="T87" fmla="*/ 135 h 385"/>
                  <a:gd name="T88" fmla="*/ 101 w 349"/>
                  <a:gd name="T89" fmla="*/ 118 h 385"/>
                  <a:gd name="T90" fmla="*/ 104 w 349"/>
                  <a:gd name="T91" fmla="*/ 103 h 385"/>
                  <a:gd name="T92" fmla="*/ 105 w 349"/>
                  <a:gd name="T93" fmla="*/ 73 h 385"/>
                  <a:gd name="T94" fmla="*/ 114 w 349"/>
                  <a:gd name="T95" fmla="*/ 49 h 385"/>
                  <a:gd name="T96" fmla="*/ 117 w 349"/>
                  <a:gd name="T97" fmla="*/ 22 h 385"/>
                  <a:gd name="T98" fmla="*/ 134 w 349"/>
                  <a:gd name="T99" fmla="*/ 5 h 385"/>
                  <a:gd name="T100" fmla="*/ 161 w 349"/>
                  <a:gd name="T101" fmla="*/ 20 h 385"/>
                  <a:gd name="T102" fmla="*/ 188 w 349"/>
                  <a:gd name="T103" fmla="*/ 26 h 385"/>
                  <a:gd name="T104" fmla="*/ 196 w 349"/>
                  <a:gd name="T105" fmla="*/ 11 h 385"/>
                  <a:gd name="T106" fmla="*/ 224 w 349"/>
                  <a:gd name="T107" fmla="*/ 3 h 385"/>
                  <a:gd name="T108" fmla="*/ 238 w 349"/>
                  <a:gd name="T109" fmla="*/ 7 h 385"/>
                  <a:gd name="T110" fmla="*/ 247 w 349"/>
                  <a:gd name="T111" fmla="*/ 0 h 385"/>
                  <a:gd name="T112" fmla="*/ 273 w 349"/>
                  <a:gd name="T113" fmla="*/ 3 h 385"/>
                  <a:gd name="T114" fmla="*/ 290 w 349"/>
                  <a:gd name="T115" fmla="*/ 18 h 385"/>
                  <a:gd name="T116" fmla="*/ 303 w 349"/>
                  <a:gd name="T117" fmla="*/ 17 h 385"/>
                  <a:gd name="T118" fmla="*/ 322 w 349"/>
                  <a:gd name="T119" fmla="*/ 14 h 385"/>
                  <a:gd name="T120" fmla="*/ 343 w 349"/>
                  <a:gd name="T121" fmla="*/ 37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9" h="385">
                    <a:moveTo>
                      <a:pt x="343" y="37"/>
                    </a:moveTo>
                    <a:lnTo>
                      <a:pt x="342" y="61"/>
                    </a:lnTo>
                    <a:lnTo>
                      <a:pt x="349" y="64"/>
                    </a:lnTo>
                    <a:lnTo>
                      <a:pt x="343" y="71"/>
                    </a:lnTo>
                    <a:lnTo>
                      <a:pt x="336" y="77"/>
                    </a:lnTo>
                    <a:lnTo>
                      <a:pt x="329" y="87"/>
                    </a:lnTo>
                    <a:lnTo>
                      <a:pt x="325" y="97"/>
                    </a:lnTo>
                    <a:lnTo>
                      <a:pt x="324" y="114"/>
                    </a:lnTo>
                    <a:lnTo>
                      <a:pt x="320" y="122"/>
                    </a:lnTo>
                    <a:lnTo>
                      <a:pt x="320" y="137"/>
                    </a:lnTo>
                    <a:lnTo>
                      <a:pt x="314" y="143"/>
                    </a:lnTo>
                    <a:lnTo>
                      <a:pt x="314" y="155"/>
                    </a:lnTo>
                    <a:lnTo>
                      <a:pt x="311" y="157"/>
                    </a:lnTo>
                    <a:lnTo>
                      <a:pt x="310" y="168"/>
                    </a:lnTo>
                    <a:lnTo>
                      <a:pt x="314" y="178"/>
                    </a:lnTo>
                    <a:lnTo>
                      <a:pt x="315" y="203"/>
                    </a:lnTo>
                    <a:lnTo>
                      <a:pt x="318" y="222"/>
                    </a:lnTo>
                    <a:lnTo>
                      <a:pt x="316" y="233"/>
                    </a:lnTo>
                    <a:lnTo>
                      <a:pt x="320" y="245"/>
                    </a:lnTo>
                    <a:lnTo>
                      <a:pt x="330" y="256"/>
                    </a:lnTo>
                    <a:lnTo>
                      <a:pt x="340" y="283"/>
                    </a:lnTo>
                    <a:lnTo>
                      <a:pt x="332" y="281"/>
                    </a:lnTo>
                    <a:lnTo>
                      <a:pt x="308" y="284"/>
                    </a:lnTo>
                    <a:lnTo>
                      <a:pt x="303" y="287"/>
                    </a:lnTo>
                    <a:lnTo>
                      <a:pt x="297" y="300"/>
                    </a:lnTo>
                    <a:lnTo>
                      <a:pt x="301" y="309"/>
                    </a:lnTo>
                    <a:lnTo>
                      <a:pt x="297" y="334"/>
                    </a:lnTo>
                    <a:lnTo>
                      <a:pt x="295" y="354"/>
                    </a:lnTo>
                    <a:lnTo>
                      <a:pt x="300" y="358"/>
                    </a:lnTo>
                    <a:lnTo>
                      <a:pt x="312" y="366"/>
                    </a:lnTo>
                    <a:lnTo>
                      <a:pt x="317" y="363"/>
                    </a:lnTo>
                    <a:lnTo>
                      <a:pt x="318" y="385"/>
                    </a:lnTo>
                    <a:lnTo>
                      <a:pt x="304" y="385"/>
                    </a:lnTo>
                    <a:lnTo>
                      <a:pt x="297" y="373"/>
                    </a:lnTo>
                    <a:lnTo>
                      <a:pt x="290" y="364"/>
                    </a:lnTo>
                    <a:lnTo>
                      <a:pt x="276" y="362"/>
                    </a:lnTo>
                    <a:lnTo>
                      <a:pt x="273" y="351"/>
                    </a:lnTo>
                    <a:lnTo>
                      <a:pt x="261" y="357"/>
                    </a:lnTo>
                    <a:lnTo>
                      <a:pt x="247" y="354"/>
                    </a:lnTo>
                    <a:lnTo>
                      <a:pt x="241" y="345"/>
                    </a:lnTo>
                    <a:lnTo>
                      <a:pt x="229" y="343"/>
                    </a:lnTo>
                    <a:lnTo>
                      <a:pt x="221" y="344"/>
                    </a:lnTo>
                    <a:lnTo>
                      <a:pt x="220" y="337"/>
                    </a:lnTo>
                    <a:lnTo>
                      <a:pt x="214" y="336"/>
                    </a:lnTo>
                    <a:lnTo>
                      <a:pt x="205" y="335"/>
                    </a:lnTo>
                    <a:lnTo>
                      <a:pt x="194" y="338"/>
                    </a:lnTo>
                    <a:lnTo>
                      <a:pt x="186" y="338"/>
                    </a:lnTo>
                    <a:lnTo>
                      <a:pt x="181" y="340"/>
                    </a:lnTo>
                    <a:lnTo>
                      <a:pt x="183" y="315"/>
                    </a:lnTo>
                    <a:lnTo>
                      <a:pt x="177" y="307"/>
                    </a:lnTo>
                    <a:lnTo>
                      <a:pt x="176" y="294"/>
                    </a:lnTo>
                    <a:lnTo>
                      <a:pt x="178" y="282"/>
                    </a:lnTo>
                    <a:lnTo>
                      <a:pt x="175" y="274"/>
                    </a:lnTo>
                    <a:lnTo>
                      <a:pt x="175" y="261"/>
                    </a:lnTo>
                    <a:lnTo>
                      <a:pt x="153" y="261"/>
                    </a:lnTo>
                    <a:lnTo>
                      <a:pt x="154" y="253"/>
                    </a:lnTo>
                    <a:lnTo>
                      <a:pt x="145" y="254"/>
                    </a:lnTo>
                    <a:lnTo>
                      <a:pt x="144" y="257"/>
                    </a:lnTo>
                    <a:lnTo>
                      <a:pt x="132" y="258"/>
                    </a:lnTo>
                    <a:lnTo>
                      <a:pt x="128" y="270"/>
                    </a:lnTo>
                    <a:lnTo>
                      <a:pt x="125" y="275"/>
                    </a:lnTo>
                    <a:lnTo>
                      <a:pt x="115" y="273"/>
                    </a:lnTo>
                    <a:lnTo>
                      <a:pt x="109" y="275"/>
                    </a:lnTo>
                    <a:lnTo>
                      <a:pt x="97" y="277"/>
                    </a:lnTo>
                    <a:lnTo>
                      <a:pt x="90" y="266"/>
                    </a:lnTo>
                    <a:lnTo>
                      <a:pt x="85" y="260"/>
                    </a:lnTo>
                    <a:lnTo>
                      <a:pt x="80" y="247"/>
                    </a:lnTo>
                    <a:lnTo>
                      <a:pt x="76" y="232"/>
                    </a:lnTo>
                    <a:lnTo>
                      <a:pt x="22" y="231"/>
                    </a:lnTo>
                    <a:lnTo>
                      <a:pt x="15" y="234"/>
                    </a:lnTo>
                    <a:lnTo>
                      <a:pt x="10" y="233"/>
                    </a:lnTo>
                    <a:lnTo>
                      <a:pt x="2" y="236"/>
                    </a:lnTo>
                    <a:lnTo>
                      <a:pt x="0" y="230"/>
                    </a:lnTo>
                    <a:lnTo>
                      <a:pt x="5" y="228"/>
                    </a:lnTo>
                    <a:lnTo>
                      <a:pt x="5" y="218"/>
                    </a:lnTo>
                    <a:lnTo>
                      <a:pt x="8" y="213"/>
                    </a:lnTo>
                    <a:lnTo>
                      <a:pt x="15" y="209"/>
                    </a:lnTo>
                    <a:lnTo>
                      <a:pt x="20" y="211"/>
                    </a:lnTo>
                    <a:lnTo>
                      <a:pt x="26" y="203"/>
                    </a:lnTo>
                    <a:lnTo>
                      <a:pt x="36" y="203"/>
                    </a:lnTo>
                    <a:lnTo>
                      <a:pt x="37" y="209"/>
                    </a:lnTo>
                    <a:lnTo>
                      <a:pt x="44" y="213"/>
                    </a:lnTo>
                    <a:lnTo>
                      <a:pt x="55" y="200"/>
                    </a:lnTo>
                    <a:lnTo>
                      <a:pt x="66" y="190"/>
                    </a:lnTo>
                    <a:lnTo>
                      <a:pt x="70" y="183"/>
                    </a:lnTo>
                    <a:lnTo>
                      <a:pt x="70" y="166"/>
                    </a:lnTo>
                    <a:lnTo>
                      <a:pt x="78" y="146"/>
                    </a:lnTo>
                    <a:lnTo>
                      <a:pt x="86" y="135"/>
                    </a:lnTo>
                    <a:lnTo>
                      <a:pt x="98" y="125"/>
                    </a:lnTo>
                    <a:lnTo>
                      <a:pt x="101" y="118"/>
                    </a:lnTo>
                    <a:lnTo>
                      <a:pt x="101" y="111"/>
                    </a:lnTo>
                    <a:lnTo>
                      <a:pt x="104" y="103"/>
                    </a:lnTo>
                    <a:lnTo>
                      <a:pt x="103" y="92"/>
                    </a:lnTo>
                    <a:lnTo>
                      <a:pt x="105" y="73"/>
                    </a:lnTo>
                    <a:lnTo>
                      <a:pt x="109" y="60"/>
                    </a:lnTo>
                    <a:lnTo>
                      <a:pt x="114" y="49"/>
                    </a:lnTo>
                    <a:lnTo>
                      <a:pt x="115" y="37"/>
                    </a:lnTo>
                    <a:lnTo>
                      <a:pt x="117" y="22"/>
                    </a:lnTo>
                    <a:lnTo>
                      <a:pt x="124" y="11"/>
                    </a:lnTo>
                    <a:lnTo>
                      <a:pt x="134" y="5"/>
                    </a:lnTo>
                    <a:lnTo>
                      <a:pt x="149" y="12"/>
                    </a:lnTo>
                    <a:lnTo>
                      <a:pt x="161" y="20"/>
                    </a:lnTo>
                    <a:lnTo>
                      <a:pt x="174" y="22"/>
                    </a:lnTo>
                    <a:lnTo>
                      <a:pt x="188" y="26"/>
                    </a:lnTo>
                    <a:lnTo>
                      <a:pt x="193" y="13"/>
                    </a:lnTo>
                    <a:lnTo>
                      <a:pt x="196" y="11"/>
                    </a:lnTo>
                    <a:lnTo>
                      <a:pt x="204" y="14"/>
                    </a:lnTo>
                    <a:lnTo>
                      <a:pt x="224" y="3"/>
                    </a:lnTo>
                    <a:lnTo>
                      <a:pt x="232" y="8"/>
                    </a:lnTo>
                    <a:lnTo>
                      <a:pt x="238" y="7"/>
                    </a:lnTo>
                    <a:lnTo>
                      <a:pt x="240" y="2"/>
                    </a:lnTo>
                    <a:lnTo>
                      <a:pt x="247" y="0"/>
                    </a:lnTo>
                    <a:lnTo>
                      <a:pt x="261" y="2"/>
                    </a:lnTo>
                    <a:lnTo>
                      <a:pt x="273" y="3"/>
                    </a:lnTo>
                    <a:lnTo>
                      <a:pt x="279" y="1"/>
                    </a:lnTo>
                    <a:lnTo>
                      <a:pt x="290" y="18"/>
                    </a:lnTo>
                    <a:lnTo>
                      <a:pt x="298" y="20"/>
                    </a:lnTo>
                    <a:lnTo>
                      <a:pt x="303" y="17"/>
                    </a:lnTo>
                    <a:lnTo>
                      <a:pt x="312" y="18"/>
                    </a:lnTo>
                    <a:lnTo>
                      <a:pt x="322" y="14"/>
                    </a:lnTo>
                    <a:lnTo>
                      <a:pt x="326" y="23"/>
                    </a:lnTo>
                    <a:lnTo>
                      <a:pt x="343" y="37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4" name="Freeform 44"/>
              <p:cNvSpPr>
                <a:spLocks/>
              </p:cNvSpPr>
              <p:nvPr/>
            </p:nvSpPr>
            <p:spPr bwMode="auto">
              <a:xfrm>
                <a:off x="4505325" y="3786188"/>
                <a:ext cx="214313" cy="288925"/>
              </a:xfrm>
              <a:custGeom>
                <a:avLst/>
                <a:gdLst>
                  <a:gd name="T0" fmla="*/ 35 w 135"/>
                  <a:gd name="T1" fmla="*/ 177 h 182"/>
                  <a:gd name="T2" fmla="*/ 28 w 135"/>
                  <a:gd name="T3" fmla="*/ 170 h 182"/>
                  <a:gd name="T4" fmla="*/ 22 w 135"/>
                  <a:gd name="T5" fmla="*/ 173 h 182"/>
                  <a:gd name="T6" fmla="*/ 15 w 135"/>
                  <a:gd name="T7" fmla="*/ 182 h 182"/>
                  <a:gd name="T8" fmla="*/ 0 w 135"/>
                  <a:gd name="T9" fmla="*/ 160 h 182"/>
                  <a:gd name="T10" fmla="*/ 14 w 135"/>
                  <a:gd name="T11" fmla="*/ 149 h 182"/>
                  <a:gd name="T12" fmla="*/ 7 w 135"/>
                  <a:gd name="T13" fmla="*/ 135 h 182"/>
                  <a:gd name="T14" fmla="*/ 14 w 135"/>
                  <a:gd name="T15" fmla="*/ 130 h 182"/>
                  <a:gd name="T16" fmla="*/ 26 w 135"/>
                  <a:gd name="T17" fmla="*/ 127 h 182"/>
                  <a:gd name="T18" fmla="*/ 27 w 135"/>
                  <a:gd name="T19" fmla="*/ 118 h 182"/>
                  <a:gd name="T20" fmla="*/ 37 w 135"/>
                  <a:gd name="T21" fmla="*/ 128 h 182"/>
                  <a:gd name="T22" fmla="*/ 53 w 135"/>
                  <a:gd name="T23" fmla="*/ 129 h 182"/>
                  <a:gd name="T24" fmla="*/ 59 w 135"/>
                  <a:gd name="T25" fmla="*/ 119 h 182"/>
                  <a:gd name="T26" fmla="*/ 61 w 135"/>
                  <a:gd name="T27" fmla="*/ 105 h 182"/>
                  <a:gd name="T28" fmla="*/ 60 w 135"/>
                  <a:gd name="T29" fmla="*/ 89 h 182"/>
                  <a:gd name="T30" fmla="*/ 51 w 135"/>
                  <a:gd name="T31" fmla="*/ 77 h 182"/>
                  <a:gd name="T32" fmla="*/ 59 w 135"/>
                  <a:gd name="T33" fmla="*/ 53 h 182"/>
                  <a:gd name="T34" fmla="*/ 54 w 135"/>
                  <a:gd name="T35" fmla="*/ 48 h 182"/>
                  <a:gd name="T36" fmla="*/ 40 w 135"/>
                  <a:gd name="T37" fmla="*/ 50 h 182"/>
                  <a:gd name="T38" fmla="*/ 35 w 135"/>
                  <a:gd name="T39" fmla="*/ 39 h 182"/>
                  <a:gd name="T40" fmla="*/ 37 w 135"/>
                  <a:gd name="T41" fmla="*/ 30 h 182"/>
                  <a:gd name="T42" fmla="*/ 60 w 135"/>
                  <a:gd name="T43" fmla="*/ 31 h 182"/>
                  <a:gd name="T44" fmla="*/ 75 w 135"/>
                  <a:gd name="T45" fmla="*/ 37 h 182"/>
                  <a:gd name="T46" fmla="*/ 89 w 135"/>
                  <a:gd name="T47" fmla="*/ 41 h 182"/>
                  <a:gd name="T48" fmla="*/ 91 w 135"/>
                  <a:gd name="T49" fmla="*/ 30 h 182"/>
                  <a:gd name="T50" fmla="*/ 100 w 135"/>
                  <a:gd name="T51" fmla="*/ 11 h 182"/>
                  <a:gd name="T52" fmla="*/ 111 w 135"/>
                  <a:gd name="T53" fmla="*/ 0 h 182"/>
                  <a:gd name="T54" fmla="*/ 123 w 135"/>
                  <a:gd name="T55" fmla="*/ 3 h 182"/>
                  <a:gd name="T56" fmla="*/ 135 w 135"/>
                  <a:gd name="T57" fmla="*/ 5 h 182"/>
                  <a:gd name="T58" fmla="*/ 134 w 135"/>
                  <a:gd name="T59" fmla="*/ 17 h 182"/>
                  <a:gd name="T60" fmla="*/ 129 w 135"/>
                  <a:gd name="T61" fmla="*/ 28 h 182"/>
                  <a:gd name="T62" fmla="*/ 125 w 135"/>
                  <a:gd name="T63" fmla="*/ 41 h 182"/>
                  <a:gd name="T64" fmla="*/ 123 w 135"/>
                  <a:gd name="T65" fmla="*/ 60 h 182"/>
                  <a:gd name="T66" fmla="*/ 124 w 135"/>
                  <a:gd name="T67" fmla="*/ 71 h 182"/>
                  <a:gd name="T68" fmla="*/ 121 w 135"/>
                  <a:gd name="T69" fmla="*/ 79 h 182"/>
                  <a:gd name="T70" fmla="*/ 121 w 135"/>
                  <a:gd name="T71" fmla="*/ 86 h 182"/>
                  <a:gd name="T72" fmla="*/ 118 w 135"/>
                  <a:gd name="T73" fmla="*/ 93 h 182"/>
                  <a:gd name="T74" fmla="*/ 106 w 135"/>
                  <a:gd name="T75" fmla="*/ 103 h 182"/>
                  <a:gd name="T76" fmla="*/ 98 w 135"/>
                  <a:gd name="T77" fmla="*/ 114 h 182"/>
                  <a:gd name="T78" fmla="*/ 90 w 135"/>
                  <a:gd name="T79" fmla="*/ 134 h 182"/>
                  <a:gd name="T80" fmla="*/ 90 w 135"/>
                  <a:gd name="T81" fmla="*/ 151 h 182"/>
                  <a:gd name="T82" fmla="*/ 86 w 135"/>
                  <a:gd name="T83" fmla="*/ 158 h 182"/>
                  <a:gd name="T84" fmla="*/ 75 w 135"/>
                  <a:gd name="T85" fmla="*/ 168 h 182"/>
                  <a:gd name="T86" fmla="*/ 64 w 135"/>
                  <a:gd name="T87" fmla="*/ 181 h 182"/>
                  <a:gd name="T88" fmla="*/ 57 w 135"/>
                  <a:gd name="T89" fmla="*/ 177 h 182"/>
                  <a:gd name="T90" fmla="*/ 56 w 135"/>
                  <a:gd name="T91" fmla="*/ 171 h 182"/>
                  <a:gd name="T92" fmla="*/ 46 w 135"/>
                  <a:gd name="T93" fmla="*/ 171 h 182"/>
                  <a:gd name="T94" fmla="*/ 40 w 135"/>
                  <a:gd name="T95" fmla="*/ 179 h 182"/>
                  <a:gd name="T96" fmla="*/ 35 w 135"/>
                  <a:gd name="T97" fmla="*/ 177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35" h="182">
                    <a:moveTo>
                      <a:pt x="35" y="177"/>
                    </a:moveTo>
                    <a:lnTo>
                      <a:pt x="28" y="170"/>
                    </a:lnTo>
                    <a:lnTo>
                      <a:pt x="22" y="173"/>
                    </a:lnTo>
                    <a:lnTo>
                      <a:pt x="15" y="182"/>
                    </a:lnTo>
                    <a:lnTo>
                      <a:pt x="0" y="160"/>
                    </a:lnTo>
                    <a:lnTo>
                      <a:pt x="14" y="149"/>
                    </a:lnTo>
                    <a:lnTo>
                      <a:pt x="7" y="135"/>
                    </a:lnTo>
                    <a:lnTo>
                      <a:pt x="14" y="130"/>
                    </a:lnTo>
                    <a:lnTo>
                      <a:pt x="26" y="127"/>
                    </a:lnTo>
                    <a:lnTo>
                      <a:pt x="27" y="118"/>
                    </a:lnTo>
                    <a:lnTo>
                      <a:pt x="37" y="128"/>
                    </a:lnTo>
                    <a:lnTo>
                      <a:pt x="53" y="129"/>
                    </a:lnTo>
                    <a:lnTo>
                      <a:pt x="59" y="119"/>
                    </a:lnTo>
                    <a:lnTo>
                      <a:pt x="61" y="105"/>
                    </a:lnTo>
                    <a:lnTo>
                      <a:pt x="60" y="89"/>
                    </a:lnTo>
                    <a:lnTo>
                      <a:pt x="51" y="77"/>
                    </a:lnTo>
                    <a:lnTo>
                      <a:pt x="59" y="53"/>
                    </a:lnTo>
                    <a:lnTo>
                      <a:pt x="54" y="48"/>
                    </a:lnTo>
                    <a:lnTo>
                      <a:pt x="40" y="50"/>
                    </a:lnTo>
                    <a:lnTo>
                      <a:pt x="35" y="39"/>
                    </a:lnTo>
                    <a:lnTo>
                      <a:pt x="37" y="30"/>
                    </a:lnTo>
                    <a:lnTo>
                      <a:pt x="60" y="31"/>
                    </a:lnTo>
                    <a:lnTo>
                      <a:pt x="75" y="37"/>
                    </a:lnTo>
                    <a:lnTo>
                      <a:pt x="89" y="41"/>
                    </a:lnTo>
                    <a:lnTo>
                      <a:pt x="91" y="30"/>
                    </a:lnTo>
                    <a:lnTo>
                      <a:pt x="100" y="11"/>
                    </a:lnTo>
                    <a:lnTo>
                      <a:pt x="111" y="0"/>
                    </a:lnTo>
                    <a:lnTo>
                      <a:pt x="123" y="3"/>
                    </a:lnTo>
                    <a:lnTo>
                      <a:pt x="135" y="5"/>
                    </a:lnTo>
                    <a:lnTo>
                      <a:pt x="134" y="17"/>
                    </a:lnTo>
                    <a:lnTo>
                      <a:pt x="129" y="28"/>
                    </a:lnTo>
                    <a:lnTo>
                      <a:pt x="125" y="41"/>
                    </a:lnTo>
                    <a:lnTo>
                      <a:pt x="123" y="60"/>
                    </a:lnTo>
                    <a:lnTo>
                      <a:pt x="124" y="71"/>
                    </a:lnTo>
                    <a:lnTo>
                      <a:pt x="121" y="79"/>
                    </a:lnTo>
                    <a:lnTo>
                      <a:pt x="121" y="86"/>
                    </a:lnTo>
                    <a:lnTo>
                      <a:pt x="118" y="93"/>
                    </a:lnTo>
                    <a:lnTo>
                      <a:pt x="106" y="103"/>
                    </a:lnTo>
                    <a:lnTo>
                      <a:pt x="98" y="114"/>
                    </a:lnTo>
                    <a:lnTo>
                      <a:pt x="90" y="134"/>
                    </a:lnTo>
                    <a:lnTo>
                      <a:pt x="90" y="151"/>
                    </a:lnTo>
                    <a:lnTo>
                      <a:pt x="86" y="158"/>
                    </a:lnTo>
                    <a:lnTo>
                      <a:pt x="75" y="168"/>
                    </a:lnTo>
                    <a:lnTo>
                      <a:pt x="64" y="181"/>
                    </a:lnTo>
                    <a:lnTo>
                      <a:pt x="57" y="177"/>
                    </a:lnTo>
                    <a:lnTo>
                      <a:pt x="56" y="171"/>
                    </a:lnTo>
                    <a:lnTo>
                      <a:pt x="46" y="171"/>
                    </a:lnTo>
                    <a:lnTo>
                      <a:pt x="40" y="179"/>
                    </a:lnTo>
                    <a:lnTo>
                      <a:pt x="35" y="17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5" name="Freeform 45"/>
              <p:cNvSpPr>
                <a:spLocks/>
              </p:cNvSpPr>
              <p:nvPr/>
            </p:nvSpPr>
            <p:spPr bwMode="auto">
              <a:xfrm>
                <a:off x="1878012" y="3498850"/>
                <a:ext cx="354013" cy="552450"/>
              </a:xfrm>
              <a:custGeom>
                <a:avLst/>
                <a:gdLst>
                  <a:gd name="T0" fmla="*/ 59 w 223"/>
                  <a:gd name="T1" fmla="*/ 257 h 348"/>
                  <a:gd name="T2" fmla="*/ 44 w 223"/>
                  <a:gd name="T3" fmla="*/ 253 h 348"/>
                  <a:gd name="T4" fmla="*/ 24 w 223"/>
                  <a:gd name="T5" fmla="*/ 241 h 348"/>
                  <a:gd name="T6" fmla="*/ 3 w 223"/>
                  <a:gd name="T7" fmla="*/ 230 h 348"/>
                  <a:gd name="T8" fmla="*/ 7 w 223"/>
                  <a:gd name="T9" fmla="*/ 222 h 348"/>
                  <a:gd name="T10" fmla="*/ 11 w 223"/>
                  <a:gd name="T11" fmla="*/ 204 h 348"/>
                  <a:gd name="T12" fmla="*/ 28 w 223"/>
                  <a:gd name="T13" fmla="*/ 189 h 348"/>
                  <a:gd name="T14" fmla="*/ 28 w 223"/>
                  <a:gd name="T15" fmla="*/ 173 h 348"/>
                  <a:gd name="T16" fmla="*/ 29 w 223"/>
                  <a:gd name="T17" fmla="*/ 142 h 348"/>
                  <a:gd name="T18" fmla="*/ 30 w 223"/>
                  <a:gd name="T19" fmla="*/ 119 h 348"/>
                  <a:gd name="T20" fmla="*/ 26 w 223"/>
                  <a:gd name="T21" fmla="*/ 98 h 348"/>
                  <a:gd name="T22" fmla="*/ 36 w 223"/>
                  <a:gd name="T23" fmla="*/ 94 h 348"/>
                  <a:gd name="T24" fmla="*/ 34 w 223"/>
                  <a:gd name="T25" fmla="*/ 78 h 348"/>
                  <a:gd name="T26" fmla="*/ 58 w 223"/>
                  <a:gd name="T27" fmla="*/ 64 h 348"/>
                  <a:gd name="T28" fmla="*/ 67 w 223"/>
                  <a:gd name="T29" fmla="*/ 55 h 348"/>
                  <a:gd name="T30" fmla="*/ 82 w 223"/>
                  <a:gd name="T31" fmla="*/ 28 h 348"/>
                  <a:gd name="T32" fmla="*/ 96 w 223"/>
                  <a:gd name="T33" fmla="*/ 23 h 348"/>
                  <a:gd name="T34" fmla="*/ 125 w 223"/>
                  <a:gd name="T35" fmla="*/ 15 h 348"/>
                  <a:gd name="T36" fmla="*/ 142 w 223"/>
                  <a:gd name="T37" fmla="*/ 0 h 348"/>
                  <a:gd name="T38" fmla="*/ 152 w 223"/>
                  <a:gd name="T39" fmla="*/ 7 h 348"/>
                  <a:gd name="T40" fmla="*/ 137 w 223"/>
                  <a:gd name="T41" fmla="*/ 17 h 348"/>
                  <a:gd name="T42" fmla="*/ 124 w 223"/>
                  <a:gd name="T43" fmla="*/ 34 h 348"/>
                  <a:gd name="T44" fmla="*/ 115 w 223"/>
                  <a:gd name="T45" fmla="*/ 56 h 348"/>
                  <a:gd name="T46" fmla="*/ 118 w 223"/>
                  <a:gd name="T47" fmla="*/ 70 h 348"/>
                  <a:gd name="T48" fmla="*/ 124 w 223"/>
                  <a:gd name="T49" fmla="*/ 84 h 348"/>
                  <a:gd name="T50" fmla="*/ 123 w 223"/>
                  <a:gd name="T51" fmla="*/ 100 h 348"/>
                  <a:gd name="T52" fmla="*/ 128 w 223"/>
                  <a:gd name="T53" fmla="*/ 106 h 348"/>
                  <a:gd name="T54" fmla="*/ 156 w 223"/>
                  <a:gd name="T55" fmla="*/ 111 h 348"/>
                  <a:gd name="T56" fmla="*/ 178 w 223"/>
                  <a:gd name="T57" fmla="*/ 132 h 348"/>
                  <a:gd name="T58" fmla="*/ 199 w 223"/>
                  <a:gd name="T59" fmla="*/ 131 h 348"/>
                  <a:gd name="T60" fmla="*/ 216 w 223"/>
                  <a:gd name="T61" fmla="*/ 132 h 348"/>
                  <a:gd name="T62" fmla="*/ 208 w 223"/>
                  <a:gd name="T63" fmla="*/ 150 h 348"/>
                  <a:gd name="T64" fmla="*/ 210 w 223"/>
                  <a:gd name="T65" fmla="*/ 179 h 348"/>
                  <a:gd name="T66" fmla="*/ 215 w 223"/>
                  <a:gd name="T67" fmla="*/ 189 h 348"/>
                  <a:gd name="T68" fmla="*/ 212 w 223"/>
                  <a:gd name="T69" fmla="*/ 204 h 348"/>
                  <a:gd name="T70" fmla="*/ 223 w 223"/>
                  <a:gd name="T71" fmla="*/ 232 h 348"/>
                  <a:gd name="T72" fmla="*/ 216 w 223"/>
                  <a:gd name="T73" fmla="*/ 223 h 348"/>
                  <a:gd name="T74" fmla="*/ 204 w 223"/>
                  <a:gd name="T75" fmla="*/ 223 h 348"/>
                  <a:gd name="T76" fmla="*/ 169 w 223"/>
                  <a:gd name="T77" fmla="*/ 236 h 348"/>
                  <a:gd name="T78" fmla="*/ 179 w 223"/>
                  <a:gd name="T79" fmla="*/ 246 h 348"/>
                  <a:gd name="T80" fmla="*/ 165 w 223"/>
                  <a:gd name="T81" fmla="*/ 247 h 348"/>
                  <a:gd name="T82" fmla="*/ 173 w 223"/>
                  <a:gd name="T83" fmla="*/ 270 h 348"/>
                  <a:gd name="T84" fmla="*/ 175 w 223"/>
                  <a:gd name="T85" fmla="*/ 291 h 348"/>
                  <a:gd name="T86" fmla="*/ 159 w 223"/>
                  <a:gd name="T87" fmla="*/ 337 h 348"/>
                  <a:gd name="T88" fmla="*/ 165 w 223"/>
                  <a:gd name="T89" fmla="*/ 315 h 348"/>
                  <a:gd name="T90" fmla="*/ 139 w 223"/>
                  <a:gd name="T91" fmla="*/ 307 h 348"/>
                  <a:gd name="T92" fmla="*/ 123 w 223"/>
                  <a:gd name="T93" fmla="*/ 309 h 348"/>
                  <a:gd name="T94" fmla="*/ 98 w 223"/>
                  <a:gd name="T95" fmla="*/ 285 h 348"/>
                  <a:gd name="T96" fmla="*/ 84 w 223"/>
                  <a:gd name="T97" fmla="*/ 270 h 348"/>
                  <a:gd name="T98" fmla="*/ 66 w 223"/>
                  <a:gd name="T99" fmla="*/ 261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23" h="348">
                    <a:moveTo>
                      <a:pt x="66" y="261"/>
                    </a:moveTo>
                    <a:lnTo>
                      <a:pt x="59" y="257"/>
                    </a:lnTo>
                    <a:lnTo>
                      <a:pt x="50" y="250"/>
                    </a:lnTo>
                    <a:lnTo>
                      <a:pt x="44" y="253"/>
                    </a:lnTo>
                    <a:lnTo>
                      <a:pt x="29" y="250"/>
                    </a:lnTo>
                    <a:lnTo>
                      <a:pt x="24" y="241"/>
                    </a:lnTo>
                    <a:lnTo>
                      <a:pt x="21" y="242"/>
                    </a:lnTo>
                    <a:lnTo>
                      <a:pt x="3" y="230"/>
                    </a:lnTo>
                    <a:lnTo>
                      <a:pt x="0" y="223"/>
                    </a:lnTo>
                    <a:lnTo>
                      <a:pt x="7" y="222"/>
                    </a:lnTo>
                    <a:lnTo>
                      <a:pt x="6" y="211"/>
                    </a:lnTo>
                    <a:lnTo>
                      <a:pt x="11" y="204"/>
                    </a:lnTo>
                    <a:lnTo>
                      <a:pt x="20" y="202"/>
                    </a:lnTo>
                    <a:lnTo>
                      <a:pt x="28" y="189"/>
                    </a:lnTo>
                    <a:lnTo>
                      <a:pt x="35" y="179"/>
                    </a:lnTo>
                    <a:lnTo>
                      <a:pt x="28" y="173"/>
                    </a:lnTo>
                    <a:lnTo>
                      <a:pt x="32" y="161"/>
                    </a:lnTo>
                    <a:lnTo>
                      <a:pt x="29" y="142"/>
                    </a:lnTo>
                    <a:lnTo>
                      <a:pt x="33" y="137"/>
                    </a:lnTo>
                    <a:lnTo>
                      <a:pt x="30" y="119"/>
                    </a:lnTo>
                    <a:lnTo>
                      <a:pt x="23" y="108"/>
                    </a:lnTo>
                    <a:lnTo>
                      <a:pt x="26" y="98"/>
                    </a:lnTo>
                    <a:lnTo>
                      <a:pt x="32" y="100"/>
                    </a:lnTo>
                    <a:lnTo>
                      <a:pt x="36" y="94"/>
                    </a:lnTo>
                    <a:lnTo>
                      <a:pt x="32" y="81"/>
                    </a:lnTo>
                    <a:lnTo>
                      <a:pt x="34" y="78"/>
                    </a:lnTo>
                    <a:lnTo>
                      <a:pt x="44" y="79"/>
                    </a:lnTo>
                    <a:lnTo>
                      <a:pt x="58" y="64"/>
                    </a:lnTo>
                    <a:lnTo>
                      <a:pt x="66" y="62"/>
                    </a:lnTo>
                    <a:lnTo>
                      <a:pt x="67" y="55"/>
                    </a:lnTo>
                    <a:lnTo>
                      <a:pt x="71" y="38"/>
                    </a:lnTo>
                    <a:lnTo>
                      <a:pt x="82" y="28"/>
                    </a:lnTo>
                    <a:lnTo>
                      <a:pt x="94" y="28"/>
                    </a:lnTo>
                    <a:lnTo>
                      <a:pt x="96" y="23"/>
                    </a:lnTo>
                    <a:lnTo>
                      <a:pt x="110" y="25"/>
                    </a:lnTo>
                    <a:lnTo>
                      <a:pt x="125" y="15"/>
                    </a:lnTo>
                    <a:lnTo>
                      <a:pt x="132" y="10"/>
                    </a:lnTo>
                    <a:lnTo>
                      <a:pt x="142" y="0"/>
                    </a:lnTo>
                    <a:lnTo>
                      <a:pt x="148" y="1"/>
                    </a:lnTo>
                    <a:lnTo>
                      <a:pt x="152" y="7"/>
                    </a:lnTo>
                    <a:lnTo>
                      <a:pt x="149" y="14"/>
                    </a:lnTo>
                    <a:lnTo>
                      <a:pt x="137" y="17"/>
                    </a:lnTo>
                    <a:lnTo>
                      <a:pt x="131" y="28"/>
                    </a:lnTo>
                    <a:lnTo>
                      <a:pt x="124" y="34"/>
                    </a:lnTo>
                    <a:lnTo>
                      <a:pt x="118" y="41"/>
                    </a:lnTo>
                    <a:lnTo>
                      <a:pt x="115" y="56"/>
                    </a:lnTo>
                    <a:lnTo>
                      <a:pt x="109" y="68"/>
                    </a:lnTo>
                    <a:lnTo>
                      <a:pt x="118" y="70"/>
                    </a:lnTo>
                    <a:lnTo>
                      <a:pt x="120" y="79"/>
                    </a:lnTo>
                    <a:lnTo>
                      <a:pt x="124" y="84"/>
                    </a:lnTo>
                    <a:lnTo>
                      <a:pt x="125" y="92"/>
                    </a:lnTo>
                    <a:lnTo>
                      <a:pt x="123" y="100"/>
                    </a:lnTo>
                    <a:lnTo>
                      <a:pt x="123" y="104"/>
                    </a:lnTo>
                    <a:lnTo>
                      <a:pt x="128" y="106"/>
                    </a:lnTo>
                    <a:lnTo>
                      <a:pt x="132" y="113"/>
                    </a:lnTo>
                    <a:lnTo>
                      <a:pt x="156" y="111"/>
                    </a:lnTo>
                    <a:lnTo>
                      <a:pt x="166" y="114"/>
                    </a:lnTo>
                    <a:lnTo>
                      <a:pt x="178" y="132"/>
                    </a:lnTo>
                    <a:lnTo>
                      <a:pt x="186" y="129"/>
                    </a:lnTo>
                    <a:lnTo>
                      <a:pt x="199" y="131"/>
                    </a:lnTo>
                    <a:lnTo>
                      <a:pt x="210" y="128"/>
                    </a:lnTo>
                    <a:lnTo>
                      <a:pt x="216" y="132"/>
                    </a:lnTo>
                    <a:lnTo>
                      <a:pt x="212" y="143"/>
                    </a:lnTo>
                    <a:lnTo>
                      <a:pt x="208" y="150"/>
                    </a:lnTo>
                    <a:lnTo>
                      <a:pt x="206" y="165"/>
                    </a:lnTo>
                    <a:lnTo>
                      <a:pt x="210" y="179"/>
                    </a:lnTo>
                    <a:lnTo>
                      <a:pt x="215" y="185"/>
                    </a:lnTo>
                    <a:lnTo>
                      <a:pt x="215" y="189"/>
                    </a:lnTo>
                    <a:lnTo>
                      <a:pt x="206" y="200"/>
                    </a:lnTo>
                    <a:lnTo>
                      <a:pt x="212" y="204"/>
                    </a:lnTo>
                    <a:lnTo>
                      <a:pt x="217" y="212"/>
                    </a:lnTo>
                    <a:lnTo>
                      <a:pt x="223" y="232"/>
                    </a:lnTo>
                    <a:lnTo>
                      <a:pt x="219" y="235"/>
                    </a:lnTo>
                    <a:lnTo>
                      <a:pt x="216" y="223"/>
                    </a:lnTo>
                    <a:lnTo>
                      <a:pt x="211" y="216"/>
                    </a:lnTo>
                    <a:lnTo>
                      <a:pt x="204" y="223"/>
                    </a:lnTo>
                    <a:lnTo>
                      <a:pt x="169" y="223"/>
                    </a:lnTo>
                    <a:lnTo>
                      <a:pt x="169" y="236"/>
                    </a:lnTo>
                    <a:lnTo>
                      <a:pt x="180" y="238"/>
                    </a:lnTo>
                    <a:lnTo>
                      <a:pt x="179" y="246"/>
                    </a:lnTo>
                    <a:lnTo>
                      <a:pt x="175" y="244"/>
                    </a:lnTo>
                    <a:lnTo>
                      <a:pt x="165" y="247"/>
                    </a:lnTo>
                    <a:lnTo>
                      <a:pt x="165" y="262"/>
                    </a:lnTo>
                    <a:lnTo>
                      <a:pt x="173" y="270"/>
                    </a:lnTo>
                    <a:lnTo>
                      <a:pt x="176" y="282"/>
                    </a:lnTo>
                    <a:lnTo>
                      <a:pt x="175" y="291"/>
                    </a:lnTo>
                    <a:lnTo>
                      <a:pt x="168" y="348"/>
                    </a:lnTo>
                    <a:lnTo>
                      <a:pt x="159" y="337"/>
                    </a:lnTo>
                    <a:lnTo>
                      <a:pt x="153" y="336"/>
                    </a:lnTo>
                    <a:lnTo>
                      <a:pt x="165" y="315"/>
                    </a:lnTo>
                    <a:lnTo>
                      <a:pt x="150" y="305"/>
                    </a:lnTo>
                    <a:lnTo>
                      <a:pt x="139" y="307"/>
                    </a:lnTo>
                    <a:lnTo>
                      <a:pt x="133" y="303"/>
                    </a:lnTo>
                    <a:lnTo>
                      <a:pt x="123" y="309"/>
                    </a:lnTo>
                    <a:lnTo>
                      <a:pt x="109" y="306"/>
                    </a:lnTo>
                    <a:lnTo>
                      <a:pt x="98" y="285"/>
                    </a:lnTo>
                    <a:lnTo>
                      <a:pt x="89" y="279"/>
                    </a:lnTo>
                    <a:lnTo>
                      <a:pt x="84" y="270"/>
                    </a:lnTo>
                    <a:lnTo>
                      <a:pt x="71" y="260"/>
                    </a:lnTo>
                    <a:lnTo>
                      <a:pt x="66" y="261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6" name="Freeform 46"/>
              <p:cNvSpPr>
                <a:spLocks/>
              </p:cNvSpPr>
              <p:nvPr/>
            </p:nvSpPr>
            <p:spPr bwMode="auto">
              <a:xfrm>
                <a:off x="1687512" y="3538538"/>
                <a:ext cx="95250" cy="100013"/>
              </a:xfrm>
              <a:custGeom>
                <a:avLst/>
                <a:gdLst>
                  <a:gd name="T0" fmla="*/ 51 w 60"/>
                  <a:gd name="T1" fmla="*/ 63 h 63"/>
                  <a:gd name="T2" fmla="*/ 41 w 60"/>
                  <a:gd name="T3" fmla="*/ 58 h 63"/>
                  <a:gd name="T4" fmla="*/ 38 w 60"/>
                  <a:gd name="T5" fmla="*/ 53 h 63"/>
                  <a:gd name="T6" fmla="*/ 40 w 60"/>
                  <a:gd name="T7" fmla="*/ 50 h 63"/>
                  <a:gd name="T8" fmla="*/ 40 w 60"/>
                  <a:gd name="T9" fmla="*/ 45 h 63"/>
                  <a:gd name="T10" fmla="*/ 35 w 60"/>
                  <a:gd name="T11" fmla="*/ 40 h 63"/>
                  <a:gd name="T12" fmla="*/ 28 w 60"/>
                  <a:gd name="T13" fmla="*/ 36 h 63"/>
                  <a:gd name="T14" fmla="*/ 22 w 60"/>
                  <a:gd name="T15" fmla="*/ 34 h 63"/>
                  <a:gd name="T16" fmla="*/ 21 w 60"/>
                  <a:gd name="T17" fmla="*/ 28 h 63"/>
                  <a:gd name="T18" fmla="*/ 17 w 60"/>
                  <a:gd name="T19" fmla="*/ 24 h 63"/>
                  <a:gd name="T20" fmla="*/ 18 w 60"/>
                  <a:gd name="T21" fmla="*/ 30 h 63"/>
                  <a:gd name="T22" fmla="*/ 14 w 60"/>
                  <a:gd name="T23" fmla="*/ 35 h 63"/>
                  <a:gd name="T24" fmla="*/ 10 w 60"/>
                  <a:gd name="T25" fmla="*/ 29 h 63"/>
                  <a:gd name="T26" fmla="*/ 4 w 60"/>
                  <a:gd name="T27" fmla="*/ 27 h 63"/>
                  <a:gd name="T28" fmla="*/ 2 w 60"/>
                  <a:gd name="T29" fmla="*/ 23 h 63"/>
                  <a:gd name="T30" fmla="*/ 2 w 60"/>
                  <a:gd name="T31" fmla="*/ 17 h 63"/>
                  <a:gd name="T32" fmla="*/ 5 w 60"/>
                  <a:gd name="T33" fmla="*/ 10 h 63"/>
                  <a:gd name="T34" fmla="*/ 0 w 60"/>
                  <a:gd name="T35" fmla="*/ 7 h 63"/>
                  <a:gd name="T36" fmla="*/ 5 w 60"/>
                  <a:gd name="T37" fmla="*/ 3 h 63"/>
                  <a:gd name="T38" fmla="*/ 8 w 60"/>
                  <a:gd name="T39" fmla="*/ 0 h 63"/>
                  <a:gd name="T40" fmla="*/ 19 w 60"/>
                  <a:gd name="T41" fmla="*/ 6 h 63"/>
                  <a:gd name="T42" fmla="*/ 24 w 60"/>
                  <a:gd name="T43" fmla="*/ 3 h 63"/>
                  <a:gd name="T44" fmla="*/ 29 w 60"/>
                  <a:gd name="T45" fmla="*/ 5 h 63"/>
                  <a:gd name="T46" fmla="*/ 32 w 60"/>
                  <a:gd name="T47" fmla="*/ 9 h 63"/>
                  <a:gd name="T48" fmla="*/ 37 w 60"/>
                  <a:gd name="T49" fmla="*/ 11 h 63"/>
                  <a:gd name="T50" fmla="*/ 42 w 60"/>
                  <a:gd name="T51" fmla="*/ 6 h 63"/>
                  <a:gd name="T52" fmla="*/ 46 w 60"/>
                  <a:gd name="T53" fmla="*/ 17 h 63"/>
                  <a:gd name="T54" fmla="*/ 52 w 60"/>
                  <a:gd name="T55" fmla="*/ 26 h 63"/>
                  <a:gd name="T56" fmla="*/ 60 w 60"/>
                  <a:gd name="T57" fmla="*/ 35 h 63"/>
                  <a:gd name="T58" fmla="*/ 53 w 60"/>
                  <a:gd name="T59" fmla="*/ 36 h 63"/>
                  <a:gd name="T60" fmla="*/ 53 w 60"/>
                  <a:gd name="T61" fmla="*/ 45 h 63"/>
                  <a:gd name="T62" fmla="*/ 57 w 60"/>
                  <a:gd name="T63" fmla="*/ 48 h 63"/>
                  <a:gd name="T64" fmla="*/ 54 w 60"/>
                  <a:gd name="T65" fmla="*/ 51 h 63"/>
                  <a:gd name="T66" fmla="*/ 54 w 60"/>
                  <a:gd name="T67" fmla="*/ 54 h 63"/>
                  <a:gd name="T68" fmla="*/ 52 w 60"/>
                  <a:gd name="T69" fmla="*/ 58 h 63"/>
                  <a:gd name="T70" fmla="*/ 51 w 60"/>
                  <a:gd name="T71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0" h="63">
                    <a:moveTo>
                      <a:pt x="51" y="63"/>
                    </a:moveTo>
                    <a:lnTo>
                      <a:pt x="41" y="58"/>
                    </a:lnTo>
                    <a:lnTo>
                      <a:pt x="38" y="53"/>
                    </a:lnTo>
                    <a:lnTo>
                      <a:pt x="40" y="50"/>
                    </a:lnTo>
                    <a:lnTo>
                      <a:pt x="40" y="45"/>
                    </a:lnTo>
                    <a:lnTo>
                      <a:pt x="35" y="40"/>
                    </a:lnTo>
                    <a:lnTo>
                      <a:pt x="28" y="36"/>
                    </a:lnTo>
                    <a:lnTo>
                      <a:pt x="22" y="34"/>
                    </a:lnTo>
                    <a:lnTo>
                      <a:pt x="21" y="28"/>
                    </a:lnTo>
                    <a:lnTo>
                      <a:pt x="17" y="24"/>
                    </a:lnTo>
                    <a:lnTo>
                      <a:pt x="18" y="30"/>
                    </a:lnTo>
                    <a:lnTo>
                      <a:pt x="14" y="35"/>
                    </a:lnTo>
                    <a:lnTo>
                      <a:pt x="10" y="29"/>
                    </a:lnTo>
                    <a:lnTo>
                      <a:pt x="4" y="27"/>
                    </a:lnTo>
                    <a:lnTo>
                      <a:pt x="2" y="23"/>
                    </a:lnTo>
                    <a:lnTo>
                      <a:pt x="2" y="17"/>
                    </a:lnTo>
                    <a:lnTo>
                      <a:pt x="5" y="10"/>
                    </a:lnTo>
                    <a:lnTo>
                      <a:pt x="0" y="7"/>
                    </a:lnTo>
                    <a:lnTo>
                      <a:pt x="5" y="3"/>
                    </a:lnTo>
                    <a:lnTo>
                      <a:pt x="8" y="0"/>
                    </a:lnTo>
                    <a:lnTo>
                      <a:pt x="19" y="6"/>
                    </a:lnTo>
                    <a:lnTo>
                      <a:pt x="24" y="3"/>
                    </a:lnTo>
                    <a:lnTo>
                      <a:pt x="29" y="5"/>
                    </a:lnTo>
                    <a:lnTo>
                      <a:pt x="32" y="9"/>
                    </a:lnTo>
                    <a:lnTo>
                      <a:pt x="37" y="11"/>
                    </a:lnTo>
                    <a:lnTo>
                      <a:pt x="42" y="6"/>
                    </a:lnTo>
                    <a:lnTo>
                      <a:pt x="46" y="17"/>
                    </a:lnTo>
                    <a:lnTo>
                      <a:pt x="52" y="26"/>
                    </a:lnTo>
                    <a:lnTo>
                      <a:pt x="60" y="35"/>
                    </a:lnTo>
                    <a:lnTo>
                      <a:pt x="53" y="36"/>
                    </a:lnTo>
                    <a:lnTo>
                      <a:pt x="53" y="45"/>
                    </a:lnTo>
                    <a:lnTo>
                      <a:pt x="57" y="48"/>
                    </a:lnTo>
                    <a:lnTo>
                      <a:pt x="54" y="51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51" y="63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7" name="Freeform 47"/>
              <p:cNvSpPr>
                <a:spLocks/>
              </p:cNvSpPr>
              <p:nvPr/>
            </p:nvSpPr>
            <p:spPr bwMode="auto">
              <a:xfrm>
                <a:off x="1755775" y="3144837"/>
                <a:ext cx="301625" cy="109538"/>
              </a:xfrm>
              <a:custGeom>
                <a:avLst/>
                <a:gdLst>
                  <a:gd name="T0" fmla="*/ 53 w 190"/>
                  <a:gd name="T1" fmla="*/ 0 h 69"/>
                  <a:gd name="T2" fmla="*/ 68 w 190"/>
                  <a:gd name="T3" fmla="*/ 1 h 69"/>
                  <a:gd name="T4" fmla="*/ 82 w 190"/>
                  <a:gd name="T5" fmla="*/ 1 h 69"/>
                  <a:gd name="T6" fmla="*/ 98 w 190"/>
                  <a:gd name="T7" fmla="*/ 8 h 69"/>
                  <a:gd name="T8" fmla="*/ 104 w 190"/>
                  <a:gd name="T9" fmla="*/ 16 h 69"/>
                  <a:gd name="T10" fmla="*/ 121 w 190"/>
                  <a:gd name="T11" fmla="*/ 14 h 69"/>
                  <a:gd name="T12" fmla="*/ 127 w 190"/>
                  <a:gd name="T13" fmla="*/ 19 h 69"/>
                  <a:gd name="T14" fmla="*/ 140 w 190"/>
                  <a:gd name="T15" fmla="*/ 31 h 69"/>
                  <a:gd name="T16" fmla="*/ 150 w 190"/>
                  <a:gd name="T17" fmla="*/ 41 h 69"/>
                  <a:gd name="T18" fmla="*/ 156 w 190"/>
                  <a:gd name="T19" fmla="*/ 40 h 69"/>
                  <a:gd name="T20" fmla="*/ 166 w 190"/>
                  <a:gd name="T21" fmla="*/ 45 h 69"/>
                  <a:gd name="T22" fmla="*/ 164 w 190"/>
                  <a:gd name="T23" fmla="*/ 51 h 69"/>
                  <a:gd name="T24" fmla="*/ 177 w 190"/>
                  <a:gd name="T25" fmla="*/ 51 h 69"/>
                  <a:gd name="T26" fmla="*/ 190 w 190"/>
                  <a:gd name="T27" fmla="*/ 60 h 69"/>
                  <a:gd name="T28" fmla="*/ 187 w 190"/>
                  <a:gd name="T29" fmla="*/ 65 h 69"/>
                  <a:gd name="T30" fmla="*/ 175 w 190"/>
                  <a:gd name="T31" fmla="*/ 67 h 69"/>
                  <a:gd name="T32" fmla="*/ 163 w 190"/>
                  <a:gd name="T33" fmla="*/ 68 h 69"/>
                  <a:gd name="T34" fmla="*/ 151 w 190"/>
                  <a:gd name="T35" fmla="*/ 67 h 69"/>
                  <a:gd name="T36" fmla="*/ 124 w 190"/>
                  <a:gd name="T37" fmla="*/ 69 h 69"/>
                  <a:gd name="T38" fmla="*/ 138 w 190"/>
                  <a:gd name="T39" fmla="*/ 57 h 69"/>
                  <a:gd name="T40" fmla="*/ 131 w 190"/>
                  <a:gd name="T41" fmla="*/ 52 h 69"/>
                  <a:gd name="T42" fmla="*/ 120 w 190"/>
                  <a:gd name="T43" fmla="*/ 50 h 69"/>
                  <a:gd name="T44" fmla="*/ 114 w 190"/>
                  <a:gd name="T45" fmla="*/ 45 h 69"/>
                  <a:gd name="T46" fmla="*/ 112 w 190"/>
                  <a:gd name="T47" fmla="*/ 33 h 69"/>
                  <a:gd name="T48" fmla="*/ 101 w 190"/>
                  <a:gd name="T49" fmla="*/ 34 h 69"/>
                  <a:gd name="T50" fmla="*/ 86 w 190"/>
                  <a:gd name="T51" fmla="*/ 28 h 69"/>
                  <a:gd name="T52" fmla="*/ 81 w 190"/>
                  <a:gd name="T53" fmla="*/ 24 h 69"/>
                  <a:gd name="T54" fmla="*/ 58 w 190"/>
                  <a:gd name="T55" fmla="*/ 20 h 69"/>
                  <a:gd name="T56" fmla="*/ 52 w 190"/>
                  <a:gd name="T57" fmla="*/ 16 h 69"/>
                  <a:gd name="T58" fmla="*/ 60 w 190"/>
                  <a:gd name="T59" fmla="*/ 11 h 69"/>
                  <a:gd name="T60" fmla="*/ 42 w 190"/>
                  <a:gd name="T61" fmla="*/ 10 h 69"/>
                  <a:gd name="T62" fmla="*/ 28 w 190"/>
                  <a:gd name="T63" fmla="*/ 21 h 69"/>
                  <a:gd name="T64" fmla="*/ 20 w 190"/>
                  <a:gd name="T65" fmla="*/ 21 h 69"/>
                  <a:gd name="T66" fmla="*/ 17 w 190"/>
                  <a:gd name="T67" fmla="*/ 26 h 69"/>
                  <a:gd name="T68" fmla="*/ 7 w 190"/>
                  <a:gd name="T69" fmla="*/ 28 h 69"/>
                  <a:gd name="T70" fmla="*/ 0 w 190"/>
                  <a:gd name="T71" fmla="*/ 27 h 69"/>
                  <a:gd name="T72" fmla="*/ 11 w 190"/>
                  <a:gd name="T73" fmla="*/ 20 h 69"/>
                  <a:gd name="T74" fmla="*/ 16 w 190"/>
                  <a:gd name="T75" fmla="*/ 13 h 69"/>
                  <a:gd name="T76" fmla="*/ 25 w 190"/>
                  <a:gd name="T77" fmla="*/ 8 h 69"/>
                  <a:gd name="T78" fmla="*/ 34 w 190"/>
                  <a:gd name="T79" fmla="*/ 4 h 69"/>
                  <a:gd name="T80" fmla="*/ 48 w 190"/>
                  <a:gd name="T81" fmla="*/ 2 h 69"/>
                  <a:gd name="T82" fmla="*/ 53 w 190"/>
                  <a:gd name="T8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90" h="69">
                    <a:moveTo>
                      <a:pt x="53" y="0"/>
                    </a:moveTo>
                    <a:lnTo>
                      <a:pt x="68" y="1"/>
                    </a:lnTo>
                    <a:lnTo>
                      <a:pt x="82" y="1"/>
                    </a:lnTo>
                    <a:lnTo>
                      <a:pt x="98" y="8"/>
                    </a:lnTo>
                    <a:lnTo>
                      <a:pt x="104" y="16"/>
                    </a:lnTo>
                    <a:lnTo>
                      <a:pt x="121" y="14"/>
                    </a:lnTo>
                    <a:lnTo>
                      <a:pt x="127" y="19"/>
                    </a:lnTo>
                    <a:lnTo>
                      <a:pt x="140" y="31"/>
                    </a:lnTo>
                    <a:lnTo>
                      <a:pt x="150" y="41"/>
                    </a:lnTo>
                    <a:lnTo>
                      <a:pt x="156" y="40"/>
                    </a:lnTo>
                    <a:lnTo>
                      <a:pt x="166" y="45"/>
                    </a:lnTo>
                    <a:lnTo>
                      <a:pt x="164" y="51"/>
                    </a:lnTo>
                    <a:lnTo>
                      <a:pt x="177" y="51"/>
                    </a:lnTo>
                    <a:lnTo>
                      <a:pt x="190" y="60"/>
                    </a:lnTo>
                    <a:lnTo>
                      <a:pt x="187" y="65"/>
                    </a:lnTo>
                    <a:lnTo>
                      <a:pt x="175" y="67"/>
                    </a:lnTo>
                    <a:lnTo>
                      <a:pt x="163" y="68"/>
                    </a:lnTo>
                    <a:lnTo>
                      <a:pt x="151" y="67"/>
                    </a:lnTo>
                    <a:lnTo>
                      <a:pt x="124" y="69"/>
                    </a:lnTo>
                    <a:lnTo>
                      <a:pt x="138" y="57"/>
                    </a:lnTo>
                    <a:lnTo>
                      <a:pt x="131" y="52"/>
                    </a:lnTo>
                    <a:lnTo>
                      <a:pt x="120" y="50"/>
                    </a:lnTo>
                    <a:lnTo>
                      <a:pt x="114" y="45"/>
                    </a:lnTo>
                    <a:lnTo>
                      <a:pt x="112" y="33"/>
                    </a:lnTo>
                    <a:lnTo>
                      <a:pt x="101" y="34"/>
                    </a:lnTo>
                    <a:lnTo>
                      <a:pt x="86" y="28"/>
                    </a:lnTo>
                    <a:lnTo>
                      <a:pt x="81" y="24"/>
                    </a:lnTo>
                    <a:lnTo>
                      <a:pt x="58" y="20"/>
                    </a:lnTo>
                    <a:lnTo>
                      <a:pt x="52" y="16"/>
                    </a:lnTo>
                    <a:lnTo>
                      <a:pt x="60" y="11"/>
                    </a:lnTo>
                    <a:lnTo>
                      <a:pt x="42" y="10"/>
                    </a:lnTo>
                    <a:lnTo>
                      <a:pt x="28" y="21"/>
                    </a:lnTo>
                    <a:lnTo>
                      <a:pt x="20" y="21"/>
                    </a:lnTo>
                    <a:lnTo>
                      <a:pt x="17" y="26"/>
                    </a:lnTo>
                    <a:lnTo>
                      <a:pt x="7" y="28"/>
                    </a:lnTo>
                    <a:lnTo>
                      <a:pt x="0" y="27"/>
                    </a:lnTo>
                    <a:lnTo>
                      <a:pt x="11" y="20"/>
                    </a:lnTo>
                    <a:lnTo>
                      <a:pt x="16" y="13"/>
                    </a:lnTo>
                    <a:lnTo>
                      <a:pt x="25" y="8"/>
                    </a:lnTo>
                    <a:lnTo>
                      <a:pt x="34" y="4"/>
                    </a:lnTo>
                    <a:lnTo>
                      <a:pt x="48" y="2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8" name="Freeform 48"/>
              <p:cNvSpPr>
                <a:spLocks/>
              </p:cNvSpPr>
              <p:nvPr/>
            </p:nvSpPr>
            <p:spPr bwMode="auto">
              <a:xfrm>
                <a:off x="5080000" y="2733675"/>
                <a:ext cx="49213" cy="22225"/>
              </a:xfrm>
              <a:custGeom>
                <a:avLst/>
                <a:gdLst>
                  <a:gd name="T0" fmla="*/ 0 w 31"/>
                  <a:gd name="T1" fmla="*/ 11 h 14"/>
                  <a:gd name="T2" fmla="*/ 1 w 31"/>
                  <a:gd name="T3" fmla="*/ 11 h 14"/>
                  <a:gd name="T4" fmla="*/ 3 w 31"/>
                  <a:gd name="T5" fmla="*/ 6 h 14"/>
                  <a:gd name="T6" fmla="*/ 16 w 31"/>
                  <a:gd name="T7" fmla="*/ 6 h 14"/>
                  <a:gd name="T8" fmla="*/ 31 w 31"/>
                  <a:gd name="T9" fmla="*/ 0 h 14"/>
                  <a:gd name="T10" fmla="*/ 20 w 31"/>
                  <a:gd name="T11" fmla="*/ 9 h 14"/>
                  <a:gd name="T12" fmla="*/ 22 w 31"/>
                  <a:gd name="T13" fmla="*/ 12 h 14"/>
                  <a:gd name="T14" fmla="*/ 20 w 31"/>
                  <a:gd name="T15" fmla="*/ 12 h 14"/>
                  <a:gd name="T16" fmla="*/ 17 w 31"/>
                  <a:gd name="T17" fmla="*/ 13 h 14"/>
                  <a:gd name="T18" fmla="*/ 14 w 31"/>
                  <a:gd name="T19" fmla="*/ 13 h 14"/>
                  <a:gd name="T20" fmla="*/ 13 w 31"/>
                  <a:gd name="T21" fmla="*/ 14 h 14"/>
                  <a:gd name="T22" fmla="*/ 13 w 31"/>
                  <a:gd name="T23" fmla="*/ 12 h 14"/>
                  <a:gd name="T24" fmla="*/ 11 w 31"/>
                  <a:gd name="T25" fmla="*/ 10 h 14"/>
                  <a:gd name="T26" fmla="*/ 8 w 31"/>
                  <a:gd name="T27" fmla="*/ 10 h 14"/>
                  <a:gd name="T28" fmla="*/ 4 w 31"/>
                  <a:gd name="T29" fmla="*/ 12 h 14"/>
                  <a:gd name="T30" fmla="*/ 0 w 31"/>
                  <a:gd name="T31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14">
                    <a:moveTo>
                      <a:pt x="0" y="11"/>
                    </a:moveTo>
                    <a:lnTo>
                      <a:pt x="1" y="11"/>
                    </a:lnTo>
                    <a:lnTo>
                      <a:pt x="3" y="6"/>
                    </a:lnTo>
                    <a:lnTo>
                      <a:pt x="16" y="6"/>
                    </a:lnTo>
                    <a:lnTo>
                      <a:pt x="31" y="0"/>
                    </a:lnTo>
                    <a:lnTo>
                      <a:pt x="20" y="9"/>
                    </a:lnTo>
                    <a:lnTo>
                      <a:pt x="22" y="12"/>
                    </a:lnTo>
                    <a:lnTo>
                      <a:pt x="20" y="12"/>
                    </a:lnTo>
                    <a:lnTo>
                      <a:pt x="17" y="13"/>
                    </a:lnTo>
                    <a:lnTo>
                      <a:pt x="14" y="13"/>
                    </a:lnTo>
                    <a:lnTo>
                      <a:pt x="13" y="14"/>
                    </a:lnTo>
                    <a:lnTo>
                      <a:pt x="13" y="12"/>
                    </a:lnTo>
                    <a:lnTo>
                      <a:pt x="11" y="10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59" name="Freeform 49"/>
              <p:cNvSpPr>
                <a:spLocks/>
              </p:cNvSpPr>
              <p:nvPr/>
            </p:nvSpPr>
            <p:spPr bwMode="auto">
              <a:xfrm>
                <a:off x="5067300" y="2749550"/>
                <a:ext cx="49213" cy="19050"/>
              </a:xfrm>
              <a:custGeom>
                <a:avLst/>
                <a:gdLst>
                  <a:gd name="T0" fmla="*/ 30 w 31"/>
                  <a:gd name="T1" fmla="*/ 2 h 12"/>
                  <a:gd name="T2" fmla="*/ 31 w 31"/>
                  <a:gd name="T3" fmla="*/ 4 h 12"/>
                  <a:gd name="T4" fmla="*/ 14 w 31"/>
                  <a:gd name="T5" fmla="*/ 12 h 12"/>
                  <a:gd name="T6" fmla="*/ 5 w 31"/>
                  <a:gd name="T7" fmla="*/ 10 h 12"/>
                  <a:gd name="T8" fmla="*/ 0 w 31"/>
                  <a:gd name="T9" fmla="*/ 2 h 12"/>
                  <a:gd name="T10" fmla="*/ 8 w 31"/>
                  <a:gd name="T11" fmla="*/ 1 h 12"/>
                  <a:gd name="T12" fmla="*/ 12 w 31"/>
                  <a:gd name="T13" fmla="*/ 2 h 12"/>
                  <a:gd name="T14" fmla="*/ 16 w 31"/>
                  <a:gd name="T15" fmla="*/ 0 h 12"/>
                  <a:gd name="T16" fmla="*/ 19 w 31"/>
                  <a:gd name="T17" fmla="*/ 0 h 12"/>
                  <a:gd name="T18" fmla="*/ 21 w 31"/>
                  <a:gd name="T19" fmla="*/ 2 h 12"/>
                  <a:gd name="T20" fmla="*/ 21 w 31"/>
                  <a:gd name="T21" fmla="*/ 4 h 12"/>
                  <a:gd name="T22" fmla="*/ 22 w 31"/>
                  <a:gd name="T23" fmla="*/ 3 h 12"/>
                  <a:gd name="T24" fmla="*/ 25 w 31"/>
                  <a:gd name="T25" fmla="*/ 3 h 12"/>
                  <a:gd name="T26" fmla="*/ 28 w 31"/>
                  <a:gd name="T27" fmla="*/ 2 h 12"/>
                  <a:gd name="T28" fmla="*/ 30 w 31"/>
                  <a:gd name="T2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" h="12">
                    <a:moveTo>
                      <a:pt x="30" y="2"/>
                    </a:moveTo>
                    <a:lnTo>
                      <a:pt x="31" y="4"/>
                    </a:lnTo>
                    <a:lnTo>
                      <a:pt x="14" y="12"/>
                    </a:lnTo>
                    <a:lnTo>
                      <a:pt x="5" y="10"/>
                    </a:lnTo>
                    <a:lnTo>
                      <a:pt x="0" y="2"/>
                    </a:lnTo>
                    <a:lnTo>
                      <a:pt x="8" y="1"/>
                    </a:lnTo>
                    <a:lnTo>
                      <a:pt x="12" y="2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8" y="2"/>
                    </a:lnTo>
                    <a:lnTo>
                      <a:pt x="30" y="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0" name="Freeform 50"/>
              <p:cNvSpPr>
                <a:spLocks/>
              </p:cNvSpPr>
              <p:nvPr/>
            </p:nvSpPr>
            <p:spPr bwMode="auto">
              <a:xfrm>
                <a:off x="4491037" y="2230437"/>
                <a:ext cx="169863" cy="82550"/>
              </a:xfrm>
              <a:custGeom>
                <a:avLst/>
                <a:gdLst>
                  <a:gd name="T0" fmla="*/ 79 w 107"/>
                  <a:gd name="T1" fmla="*/ 51 h 52"/>
                  <a:gd name="T2" fmla="*/ 71 w 107"/>
                  <a:gd name="T3" fmla="*/ 48 h 52"/>
                  <a:gd name="T4" fmla="*/ 63 w 107"/>
                  <a:gd name="T5" fmla="*/ 49 h 52"/>
                  <a:gd name="T6" fmla="*/ 50 w 107"/>
                  <a:gd name="T7" fmla="*/ 43 h 52"/>
                  <a:gd name="T8" fmla="*/ 45 w 107"/>
                  <a:gd name="T9" fmla="*/ 44 h 52"/>
                  <a:gd name="T10" fmla="*/ 37 w 107"/>
                  <a:gd name="T11" fmla="*/ 52 h 52"/>
                  <a:gd name="T12" fmla="*/ 24 w 107"/>
                  <a:gd name="T13" fmla="*/ 46 h 52"/>
                  <a:gd name="T14" fmla="*/ 14 w 107"/>
                  <a:gd name="T15" fmla="*/ 37 h 52"/>
                  <a:gd name="T16" fmla="*/ 6 w 107"/>
                  <a:gd name="T17" fmla="*/ 32 h 52"/>
                  <a:gd name="T18" fmla="*/ 4 w 107"/>
                  <a:gd name="T19" fmla="*/ 24 h 52"/>
                  <a:gd name="T20" fmla="*/ 0 w 107"/>
                  <a:gd name="T21" fmla="*/ 18 h 52"/>
                  <a:gd name="T22" fmla="*/ 12 w 107"/>
                  <a:gd name="T23" fmla="*/ 13 h 52"/>
                  <a:gd name="T24" fmla="*/ 17 w 107"/>
                  <a:gd name="T25" fmla="*/ 8 h 52"/>
                  <a:gd name="T26" fmla="*/ 28 w 107"/>
                  <a:gd name="T27" fmla="*/ 4 h 52"/>
                  <a:gd name="T28" fmla="*/ 32 w 107"/>
                  <a:gd name="T29" fmla="*/ 0 h 52"/>
                  <a:gd name="T30" fmla="*/ 36 w 107"/>
                  <a:gd name="T31" fmla="*/ 3 h 52"/>
                  <a:gd name="T32" fmla="*/ 43 w 107"/>
                  <a:gd name="T33" fmla="*/ 1 h 52"/>
                  <a:gd name="T34" fmla="*/ 51 w 107"/>
                  <a:gd name="T35" fmla="*/ 7 h 52"/>
                  <a:gd name="T36" fmla="*/ 63 w 107"/>
                  <a:gd name="T37" fmla="*/ 9 h 52"/>
                  <a:gd name="T38" fmla="*/ 63 w 107"/>
                  <a:gd name="T39" fmla="*/ 15 h 52"/>
                  <a:gd name="T40" fmla="*/ 72 w 107"/>
                  <a:gd name="T41" fmla="*/ 19 h 52"/>
                  <a:gd name="T42" fmla="*/ 74 w 107"/>
                  <a:gd name="T43" fmla="*/ 14 h 52"/>
                  <a:gd name="T44" fmla="*/ 85 w 107"/>
                  <a:gd name="T45" fmla="*/ 16 h 52"/>
                  <a:gd name="T46" fmla="*/ 87 w 107"/>
                  <a:gd name="T47" fmla="*/ 22 h 52"/>
                  <a:gd name="T48" fmla="*/ 99 w 107"/>
                  <a:gd name="T49" fmla="*/ 23 h 52"/>
                  <a:gd name="T50" fmla="*/ 107 w 107"/>
                  <a:gd name="T51" fmla="*/ 33 h 52"/>
                  <a:gd name="T52" fmla="*/ 103 w 107"/>
                  <a:gd name="T53" fmla="*/ 33 h 52"/>
                  <a:gd name="T54" fmla="*/ 100 w 107"/>
                  <a:gd name="T55" fmla="*/ 37 h 52"/>
                  <a:gd name="T56" fmla="*/ 97 w 107"/>
                  <a:gd name="T57" fmla="*/ 38 h 52"/>
                  <a:gd name="T58" fmla="*/ 96 w 107"/>
                  <a:gd name="T59" fmla="*/ 42 h 52"/>
                  <a:gd name="T60" fmla="*/ 93 w 107"/>
                  <a:gd name="T61" fmla="*/ 43 h 52"/>
                  <a:gd name="T62" fmla="*/ 93 w 107"/>
                  <a:gd name="T63" fmla="*/ 45 h 52"/>
                  <a:gd name="T64" fmla="*/ 88 w 107"/>
                  <a:gd name="T65" fmla="*/ 47 h 52"/>
                  <a:gd name="T66" fmla="*/ 80 w 107"/>
                  <a:gd name="T67" fmla="*/ 47 h 52"/>
                  <a:gd name="T68" fmla="*/ 79 w 107"/>
                  <a:gd name="T69" fmla="*/ 51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7" h="52">
                    <a:moveTo>
                      <a:pt x="79" y="51"/>
                    </a:moveTo>
                    <a:lnTo>
                      <a:pt x="71" y="48"/>
                    </a:lnTo>
                    <a:lnTo>
                      <a:pt x="63" y="49"/>
                    </a:lnTo>
                    <a:lnTo>
                      <a:pt x="50" y="43"/>
                    </a:lnTo>
                    <a:lnTo>
                      <a:pt x="45" y="44"/>
                    </a:lnTo>
                    <a:lnTo>
                      <a:pt x="37" y="52"/>
                    </a:lnTo>
                    <a:lnTo>
                      <a:pt x="24" y="46"/>
                    </a:lnTo>
                    <a:lnTo>
                      <a:pt x="14" y="37"/>
                    </a:lnTo>
                    <a:lnTo>
                      <a:pt x="6" y="32"/>
                    </a:lnTo>
                    <a:lnTo>
                      <a:pt x="4" y="24"/>
                    </a:lnTo>
                    <a:lnTo>
                      <a:pt x="0" y="18"/>
                    </a:lnTo>
                    <a:lnTo>
                      <a:pt x="12" y="13"/>
                    </a:lnTo>
                    <a:lnTo>
                      <a:pt x="17" y="8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3"/>
                    </a:lnTo>
                    <a:lnTo>
                      <a:pt x="43" y="1"/>
                    </a:lnTo>
                    <a:lnTo>
                      <a:pt x="51" y="7"/>
                    </a:lnTo>
                    <a:lnTo>
                      <a:pt x="63" y="9"/>
                    </a:lnTo>
                    <a:lnTo>
                      <a:pt x="63" y="15"/>
                    </a:lnTo>
                    <a:lnTo>
                      <a:pt x="72" y="19"/>
                    </a:lnTo>
                    <a:lnTo>
                      <a:pt x="74" y="14"/>
                    </a:lnTo>
                    <a:lnTo>
                      <a:pt x="85" y="16"/>
                    </a:lnTo>
                    <a:lnTo>
                      <a:pt x="87" y="22"/>
                    </a:lnTo>
                    <a:lnTo>
                      <a:pt x="99" y="23"/>
                    </a:lnTo>
                    <a:lnTo>
                      <a:pt x="107" y="33"/>
                    </a:lnTo>
                    <a:lnTo>
                      <a:pt x="103" y="33"/>
                    </a:lnTo>
                    <a:lnTo>
                      <a:pt x="100" y="37"/>
                    </a:lnTo>
                    <a:lnTo>
                      <a:pt x="97" y="38"/>
                    </a:lnTo>
                    <a:lnTo>
                      <a:pt x="96" y="42"/>
                    </a:lnTo>
                    <a:lnTo>
                      <a:pt x="93" y="43"/>
                    </a:lnTo>
                    <a:lnTo>
                      <a:pt x="93" y="45"/>
                    </a:lnTo>
                    <a:lnTo>
                      <a:pt x="88" y="47"/>
                    </a:lnTo>
                    <a:lnTo>
                      <a:pt x="80" y="47"/>
                    </a:lnTo>
                    <a:lnTo>
                      <a:pt x="79" y="5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1" name="Freeform 51"/>
              <p:cNvSpPr>
                <a:spLocks/>
              </p:cNvSpPr>
              <p:nvPr/>
            </p:nvSpPr>
            <p:spPr bwMode="auto">
              <a:xfrm>
                <a:off x="4332287" y="2108200"/>
                <a:ext cx="227013" cy="246063"/>
              </a:xfrm>
              <a:custGeom>
                <a:avLst/>
                <a:gdLst>
                  <a:gd name="T0" fmla="*/ 58 w 143"/>
                  <a:gd name="T1" fmla="*/ 0 h 155"/>
                  <a:gd name="T2" fmla="*/ 59 w 143"/>
                  <a:gd name="T3" fmla="*/ 8 h 155"/>
                  <a:gd name="T4" fmla="*/ 75 w 143"/>
                  <a:gd name="T5" fmla="*/ 12 h 155"/>
                  <a:gd name="T6" fmla="*/ 75 w 143"/>
                  <a:gd name="T7" fmla="*/ 20 h 155"/>
                  <a:gd name="T8" fmla="*/ 90 w 143"/>
                  <a:gd name="T9" fmla="*/ 16 h 155"/>
                  <a:gd name="T10" fmla="*/ 99 w 143"/>
                  <a:gd name="T11" fmla="*/ 10 h 155"/>
                  <a:gd name="T12" fmla="*/ 117 w 143"/>
                  <a:gd name="T13" fmla="*/ 18 h 155"/>
                  <a:gd name="T14" fmla="*/ 125 w 143"/>
                  <a:gd name="T15" fmla="*/ 25 h 155"/>
                  <a:gd name="T16" fmla="*/ 129 w 143"/>
                  <a:gd name="T17" fmla="*/ 35 h 155"/>
                  <a:gd name="T18" fmla="*/ 125 w 143"/>
                  <a:gd name="T19" fmla="*/ 40 h 155"/>
                  <a:gd name="T20" fmla="*/ 131 w 143"/>
                  <a:gd name="T21" fmla="*/ 47 h 155"/>
                  <a:gd name="T22" fmla="*/ 136 w 143"/>
                  <a:gd name="T23" fmla="*/ 58 h 155"/>
                  <a:gd name="T24" fmla="*/ 136 w 143"/>
                  <a:gd name="T25" fmla="*/ 65 h 155"/>
                  <a:gd name="T26" fmla="*/ 143 w 143"/>
                  <a:gd name="T27" fmla="*/ 78 h 155"/>
                  <a:gd name="T28" fmla="*/ 136 w 143"/>
                  <a:gd name="T29" fmla="*/ 80 h 155"/>
                  <a:gd name="T30" fmla="*/ 132 w 143"/>
                  <a:gd name="T31" fmla="*/ 77 h 155"/>
                  <a:gd name="T32" fmla="*/ 128 w 143"/>
                  <a:gd name="T33" fmla="*/ 81 h 155"/>
                  <a:gd name="T34" fmla="*/ 117 w 143"/>
                  <a:gd name="T35" fmla="*/ 85 h 155"/>
                  <a:gd name="T36" fmla="*/ 112 w 143"/>
                  <a:gd name="T37" fmla="*/ 90 h 155"/>
                  <a:gd name="T38" fmla="*/ 100 w 143"/>
                  <a:gd name="T39" fmla="*/ 95 h 155"/>
                  <a:gd name="T40" fmla="*/ 104 w 143"/>
                  <a:gd name="T41" fmla="*/ 101 h 155"/>
                  <a:gd name="T42" fmla="*/ 106 w 143"/>
                  <a:gd name="T43" fmla="*/ 109 h 155"/>
                  <a:gd name="T44" fmla="*/ 114 w 143"/>
                  <a:gd name="T45" fmla="*/ 114 h 155"/>
                  <a:gd name="T46" fmla="*/ 124 w 143"/>
                  <a:gd name="T47" fmla="*/ 123 h 155"/>
                  <a:gd name="T48" fmla="*/ 119 w 143"/>
                  <a:gd name="T49" fmla="*/ 132 h 155"/>
                  <a:gd name="T50" fmla="*/ 113 w 143"/>
                  <a:gd name="T51" fmla="*/ 135 h 155"/>
                  <a:gd name="T52" fmla="*/ 117 w 143"/>
                  <a:gd name="T53" fmla="*/ 148 h 155"/>
                  <a:gd name="T54" fmla="*/ 115 w 143"/>
                  <a:gd name="T55" fmla="*/ 151 h 155"/>
                  <a:gd name="T56" fmla="*/ 110 w 143"/>
                  <a:gd name="T57" fmla="*/ 147 h 155"/>
                  <a:gd name="T58" fmla="*/ 102 w 143"/>
                  <a:gd name="T59" fmla="*/ 147 h 155"/>
                  <a:gd name="T60" fmla="*/ 91 w 143"/>
                  <a:gd name="T61" fmla="*/ 150 h 155"/>
                  <a:gd name="T62" fmla="*/ 76 w 143"/>
                  <a:gd name="T63" fmla="*/ 149 h 155"/>
                  <a:gd name="T64" fmla="*/ 75 w 143"/>
                  <a:gd name="T65" fmla="*/ 155 h 155"/>
                  <a:gd name="T66" fmla="*/ 66 w 143"/>
                  <a:gd name="T67" fmla="*/ 149 h 155"/>
                  <a:gd name="T68" fmla="*/ 61 w 143"/>
                  <a:gd name="T69" fmla="*/ 150 h 155"/>
                  <a:gd name="T70" fmla="*/ 44 w 143"/>
                  <a:gd name="T71" fmla="*/ 144 h 155"/>
                  <a:gd name="T72" fmla="*/ 40 w 143"/>
                  <a:gd name="T73" fmla="*/ 148 h 155"/>
                  <a:gd name="T74" fmla="*/ 26 w 143"/>
                  <a:gd name="T75" fmla="*/ 148 h 155"/>
                  <a:gd name="T76" fmla="*/ 28 w 143"/>
                  <a:gd name="T77" fmla="*/ 134 h 155"/>
                  <a:gd name="T78" fmla="*/ 35 w 143"/>
                  <a:gd name="T79" fmla="*/ 120 h 155"/>
                  <a:gd name="T80" fmla="*/ 12 w 143"/>
                  <a:gd name="T81" fmla="*/ 116 h 155"/>
                  <a:gd name="T82" fmla="*/ 4 w 143"/>
                  <a:gd name="T83" fmla="*/ 111 h 155"/>
                  <a:gd name="T84" fmla="*/ 5 w 143"/>
                  <a:gd name="T85" fmla="*/ 102 h 155"/>
                  <a:gd name="T86" fmla="*/ 2 w 143"/>
                  <a:gd name="T87" fmla="*/ 97 h 155"/>
                  <a:gd name="T88" fmla="*/ 3 w 143"/>
                  <a:gd name="T89" fmla="*/ 84 h 155"/>
                  <a:gd name="T90" fmla="*/ 0 w 143"/>
                  <a:gd name="T91" fmla="*/ 63 h 155"/>
                  <a:gd name="T92" fmla="*/ 9 w 143"/>
                  <a:gd name="T93" fmla="*/ 63 h 155"/>
                  <a:gd name="T94" fmla="*/ 13 w 143"/>
                  <a:gd name="T95" fmla="*/ 55 h 155"/>
                  <a:gd name="T96" fmla="*/ 16 w 143"/>
                  <a:gd name="T97" fmla="*/ 37 h 155"/>
                  <a:gd name="T98" fmla="*/ 13 w 143"/>
                  <a:gd name="T99" fmla="*/ 30 h 155"/>
                  <a:gd name="T100" fmla="*/ 16 w 143"/>
                  <a:gd name="T101" fmla="*/ 26 h 155"/>
                  <a:gd name="T102" fmla="*/ 29 w 143"/>
                  <a:gd name="T103" fmla="*/ 25 h 155"/>
                  <a:gd name="T104" fmla="*/ 32 w 143"/>
                  <a:gd name="T105" fmla="*/ 29 h 155"/>
                  <a:gd name="T106" fmla="*/ 42 w 143"/>
                  <a:gd name="T107" fmla="*/ 19 h 155"/>
                  <a:gd name="T108" fmla="*/ 38 w 143"/>
                  <a:gd name="T109" fmla="*/ 12 h 155"/>
                  <a:gd name="T110" fmla="*/ 36 w 143"/>
                  <a:gd name="T111" fmla="*/ 1 h 155"/>
                  <a:gd name="T112" fmla="*/ 48 w 143"/>
                  <a:gd name="T113" fmla="*/ 3 h 155"/>
                  <a:gd name="T114" fmla="*/ 58 w 143"/>
                  <a:gd name="T115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3" h="155">
                    <a:moveTo>
                      <a:pt x="58" y="0"/>
                    </a:moveTo>
                    <a:lnTo>
                      <a:pt x="59" y="8"/>
                    </a:lnTo>
                    <a:lnTo>
                      <a:pt x="75" y="12"/>
                    </a:lnTo>
                    <a:lnTo>
                      <a:pt x="75" y="20"/>
                    </a:lnTo>
                    <a:lnTo>
                      <a:pt x="90" y="16"/>
                    </a:lnTo>
                    <a:lnTo>
                      <a:pt x="99" y="10"/>
                    </a:lnTo>
                    <a:lnTo>
                      <a:pt x="117" y="18"/>
                    </a:lnTo>
                    <a:lnTo>
                      <a:pt x="125" y="25"/>
                    </a:lnTo>
                    <a:lnTo>
                      <a:pt x="129" y="35"/>
                    </a:lnTo>
                    <a:lnTo>
                      <a:pt x="125" y="40"/>
                    </a:lnTo>
                    <a:lnTo>
                      <a:pt x="131" y="47"/>
                    </a:lnTo>
                    <a:lnTo>
                      <a:pt x="136" y="58"/>
                    </a:lnTo>
                    <a:lnTo>
                      <a:pt x="136" y="65"/>
                    </a:lnTo>
                    <a:lnTo>
                      <a:pt x="143" y="78"/>
                    </a:lnTo>
                    <a:lnTo>
                      <a:pt x="136" y="80"/>
                    </a:lnTo>
                    <a:lnTo>
                      <a:pt x="132" y="77"/>
                    </a:lnTo>
                    <a:lnTo>
                      <a:pt x="128" y="81"/>
                    </a:lnTo>
                    <a:lnTo>
                      <a:pt x="117" y="85"/>
                    </a:lnTo>
                    <a:lnTo>
                      <a:pt x="112" y="90"/>
                    </a:lnTo>
                    <a:lnTo>
                      <a:pt x="100" y="95"/>
                    </a:lnTo>
                    <a:lnTo>
                      <a:pt x="104" y="101"/>
                    </a:lnTo>
                    <a:lnTo>
                      <a:pt x="106" y="109"/>
                    </a:lnTo>
                    <a:lnTo>
                      <a:pt x="114" y="114"/>
                    </a:lnTo>
                    <a:lnTo>
                      <a:pt x="124" y="123"/>
                    </a:lnTo>
                    <a:lnTo>
                      <a:pt x="119" y="132"/>
                    </a:lnTo>
                    <a:lnTo>
                      <a:pt x="113" y="135"/>
                    </a:lnTo>
                    <a:lnTo>
                      <a:pt x="117" y="148"/>
                    </a:lnTo>
                    <a:lnTo>
                      <a:pt x="115" y="151"/>
                    </a:lnTo>
                    <a:lnTo>
                      <a:pt x="110" y="147"/>
                    </a:lnTo>
                    <a:lnTo>
                      <a:pt x="102" y="147"/>
                    </a:lnTo>
                    <a:lnTo>
                      <a:pt x="91" y="150"/>
                    </a:lnTo>
                    <a:lnTo>
                      <a:pt x="76" y="149"/>
                    </a:lnTo>
                    <a:lnTo>
                      <a:pt x="75" y="155"/>
                    </a:lnTo>
                    <a:lnTo>
                      <a:pt x="66" y="149"/>
                    </a:lnTo>
                    <a:lnTo>
                      <a:pt x="61" y="150"/>
                    </a:lnTo>
                    <a:lnTo>
                      <a:pt x="44" y="144"/>
                    </a:lnTo>
                    <a:lnTo>
                      <a:pt x="40" y="148"/>
                    </a:lnTo>
                    <a:lnTo>
                      <a:pt x="26" y="148"/>
                    </a:lnTo>
                    <a:lnTo>
                      <a:pt x="28" y="134"/>
                    </a:lnTo>
                    <a:lnTo>
                      <a:pt x="35" y="120"/>
                    </a:lnTo>
                    <a:lnTo>
                      <a:pt x="12" y="116"/>
                    </a:lnTo>
                    <a:lnTo>
                      <a:pt x="4" y="111"/>
                    </a:lnTo>
                    <a:lnTo>
                      <a:pt x="5" y="102"/>
                    </a:lnTo>
                    <a:lnTo>
                      <a:pt x="2" y="97"/>
                    </a:lnTo>
                    <a:lnTo>
                      <a:pt x="3" y="84"/>
                    </a:lnTo>
                    <a:lnTo>
                      <a:pt x="0" y="63"/>
                    </a:lnTo>
                    <a:lnTo>
                      <a:pt x="9" y="63"/>
                    </a:lnTo>
                    <a:lnTo>
                      <a:pt x="13" y="55"/>
                    </a:lnTo>
                    <a:lnTo>
                      <a:pt x="16" y="37"/>
                    </a:lnTo>
                    <a:lnTo>
                      <a:pt x="13" y="30"/>
                    </a:lnTo>
                    <a:lnTo>
                      <a:pt x="16" y="26"/>
                    </a:lnTo>
                    <a:lnTo>
                      <a:pt x="29" y="25"/>
                    </a:lnTo>
                    <a:lnTo>
                      <a:pt x="32" y="29"/>
                    </a:lnTo>
                    <a:lnTo>
                      <a:pt x="42" y="19"/>
                    </a:lnTo>
                    <a:lnTo>
                      <a:pt x="38" y="12"/>
                    </a:lnTo>
                    <a:lnTo>
                      <a:pt x="36" y="1"/>
                    </a:lnTo>
                    <a:lnTo>
                      <a:pt x="48" y="3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2" name="Freeform 52"/>
              <p:cNvSpPr>
                <a:spLocks/>
              </p:cNvSpPr>
              <p:nvPr/>
            </p:nvSpPr>
            <p:spPr bwMode="auto">
              <a:xfrm>
                <a:off x="5389562" y="3490912"/>
                <a:ext cx="47625" cy="57150"/>
              </a:xfrm>
              <a:custGeom>
                <a:avLst/>
                <a:gdLst>
                  <a:gd name="T0" fmla="*/ 25 w 30"/>
                  <a:gd name="T1" fmla="*/ 0 h 36"/>
                  <a:gd name="T2" fmla="*/ 30 w 30"/>
                  <a:gd name="T3" fmla="*/ 6 h 36"/>
                  <a:gd name="T4" fmla="*/ 30 w 30"/>
                  <a:gd name="T5" fmla="*/ 15 h 36"/>
                  <a:gd name="T6" fmla="*/ 20 w 30"/>
                  <a:gd name="T7" fmla="*/ 20 h 36"/>
                  <a:gd name="T8" fmla="*/ 28 w 30"/>
                  <a:gd name="T9" fmla="*/ 25 h 36"/>
                  <a:gd name="T10" fmla="*/ 21 w 30"/>
                  <a:gd name="T11" fmla="*/ 36 h 36"/>
                  <a:gd name="T12" fmla="*/ 17 w 30"/>
                  <a:gd name="T13" fmla="*/ 33 h 36"/>
                  <a:gd name="T14" fmla="*/ 13 w 30"/>
                  <a:gd name="T15" fmla="*/ 34 h 36"/>
                  <a:gd name="T16" fmla="*/ 3 w 30"/>
                  <a:gd name="T17" fmla="*/ 34 h 36"/>
                  <a:gd name="T18" fmla="*/ 2 w 30"/>
                  <a:gd name="T19" fmla="*/ 28 h 36"/>
                  <a:gd name="T20" fmla="*/ 0 w 30"/>
                  <a:gd name="T21" fmla="*/ 22 h 36"/>
                  <a:gd name="T22" fmla="*/ 6 w 30"/>
                  <a:gd name="T23" fmla="*/ 12 h 36"/>
                  <a:gd name="T24" fmla="*/ 12 w 30"/>
                  <a:gd name="T25" fmla="*/ 3 h 36"/>
                  <a:gd name="T26" fmla="*/ 20 w 30"/>
                  <a:gd name="T27" fmla="*/ 5 h 36"/>
                  <a:gd name="T28" fmla="*/ 25 w 30"/>
                  <a:gd name="T29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" h="36">
                    <a:moveTo>
                      <a:pt x="25" y="0"/>
                    </a:moveTo>
                    <a:lnTo>
                      <a:pt x="30" y="6"/>
                    </a:lnTo>
                    <a:lnTo>
                      <a:pt x="30" y="15"/>
                    </a:lnTo>
                    <a:lnTo>
                      <a:pt x="20" y="20"/>
                    </a:lnTo>
                    <a:lnTo>
                      <a:pt x="28" y="25"/>
                    </a:lnTo>
                    <a:lnTo>
                      <a:pt x="21" y="36"/>
                    </a:lnTo>
                    <a:lnTo>
                      <a:pt x="17" y="33"/>
                    </a:lnTo>
                    <a:lnTo>
                      <a:pt x="13" y="34"/>
                    </a:lnTo>
                    <a:lnTo>
                      <a:pt x="3" y="34"/>
                    </a:lnTo>
                    <a:lnTo>
                      <a:pt x="2" y="28"/>
                    </a:lnTo>
                    <a:lnTo>
                      <a:pt x="0" y="22"/>
                    </a:lnTo>
                    <a:lnTo>
                      <a:pt x="6" y="12"/>
                    </a:lnTo>
                    <a:lnTo>
                      <a:pt x="12" y="3"/>
                    </a:lnTo>
                    <a:lnTo>
                      <a:pt x="20" y="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3" name="Freeform 53"/>
              <p:cNvSpPr>
                <a:spLocks/>
              </p:cNvSpPr>
              <p:nvPr/>
            </p:nvSpPr>
            <p:spPr bwMode="auto">
              <a:xfrm>
                <a:off x="4446587" y="2073275"/>
                <a:ext cx="42863" cy="41275"/>
              </a:xfrm>
              <a:custGeom>
                <a:avLst/>
                <a:gdLst>
                  <a:gd name="T0" fmla="*/ 27 w 27"/>
                  <a:gd name="T1" fmla="*/ 10 h 26"/>
                  <a:gd name="T2" fmla="*/ 20 w 27"/>
                  <a:gd name="T3" fmla="*/ 26 h 26"/>
                  <a:gd name="T4" fmla="*/ 3 w 27"/>
                  <a:gd name="T5" fmla="*/ 15 h 26"/>
                  <a:gd name="T6" fmla="*/ 0 w 27"/>
                  <a:gd name="T7" fmla="*/ 6 h 26"/>
                  <a:gd name="T8" fmla="*/ 22 w 27"/>
                  <a:gd name="T9" fmla="*/ 0 h 26"/>
                  <a:gd name="T10" fmla="*/ 27 w 27"/>
                  <a:gd name="T1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26">
                    <a:moveTo>
                      <a:pt x="27" y="10"/>
                    </a:moveTo>
                    <a:lnTo>
                      <a:pt x="20" y="26"/>
                    </a:lnTo>
                    <a:lnTo>
                      <a:pt x="3" y="15"/>
                    </a:lnTo>
                    <a:lnTo>
                      <a:pt x="0" y="6"/>
                    </a:lnTo>
                    <a:lnTo>
                      <a:pt x="22" y="0"/>
                    </a:lnTo>
                    <a:lnTo>
                      <a:pt x="27" y="1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4" name="Freeform 54"/>
              <p:cNvSpPr>
                <a:spLocks/>
              </p:cNvSpPr>
              <p:nvPr/>
            </p:nvSpPr>
            <p:spPr bwMode="auto">
              <a:xfrm>
                <a:off x="4376737" y="2022475"/>
                <a:ext cx="68263" cy="90488"/>
              </a:xfrm>
              <a:custGeom>
                <a:avLst/>
                <a:gdLst>
                  <a:gd name="T0" fmla="*/ 43 w 43"/>
                  <a:gd name="T1" fmla="*/ 25 h 57"/>
                  <a:gd name="T2" fmla="*/ 40 w 43"/>
                  <a:gd name="T3" fmla="*/ 33 h 57"/>
                  <a:gd name="T4" fmla="*/ 35 w 43"/>
                  <a:gd name="T5" fmla="*/ 30 h 57"/>
                  <a:gd name="T6" fmla="*/ 25 w 43"/>
                  <a:gd name="T7" fmla="*/ 44 h 57"/>
                  <a:gd name="T8" fmla="*/ 30 w 43"/>
                  <a:gd name="T9" fmla="*/ 54 h 57"/>
                  <a:gd name="T10" fmla="*/ 20 w 43"/>
                  <a:gd name="T11" fmla="*/ 57 h 57"/>
                  <a:gd name="T12" fmla="*/ 8 w 43"/>
                  <a:gd name="T13" fmla="*/ 55 h 57"/>
                  <a:gd name="T14" fmla="*/ 2 w 43"/>
                  <a:gd name="T15" fmla="*/ 44 h 57"/>
                  <a:gd name="T16" fmla="*/ 0 w 43"/>
                  <a:gd name="T17" fmla="*/ 24 h 57"/>
                  <a:gd name="T18" fmla="*/ 2 w 43"/>
                  <a:gd name="T19" fmla="*/ 18 h 57"/>
                  <a:gd name="T20" fmla="*/ 6 w 43"/>
                  <a:gd name="T21" fmla="*/ 12 h 57"/>
                  <a:gd name="T22" fmla="*/ 20 w 43"/>
                  <a:gd name="T23" fmla="*/ 11 h 57"/>
                  <a:gd name="T24" fmla="*/ 25 w 43"/>
                  <a:gd name="T25" fmla="*/ 6 h 57"/>
                  <a:gd name="T26" fmla="*/ 36 w 43"/>
                  <a:gd name="T27" fmla="*/ 0 h 57"/>
                  <a:gd name="T28" fmla="*/ 37 w 43"/>
                  <a:gd name="T29" fmla="*/ 10 h 57"/>
                  <a:gd name="T30" fmla="*/ 32 w 43"/>
                  <a:gd name="T31" fmla="*/ 16 h 57"/>
                  <a:gd name="T32" fmla="*/ 35 w 43"/>
                  <a:gd name="T33" fmla="*/ 22 h 57"/>
                  <a:gd name="T34" fmla="*/ 43 w 43"/>
                  <a:gd name="T35" fmla="*/ 2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3" h="57">
                    <a:moveTo>
                      <a:pt x="43" y="25"/>
                    </a:moveTo>
                    <a:lnTo>
                      <a:pt x="40" y="33"/>
                    </a:lnTo>
                    <a:lnTo>
                      <a:pt x="35" y="30"/>
                    </a:lnTo>
                    <a:lnTo>
                      <a:pt x="25" y="44"/>
                    </a:lnTo>
                    <a:lnTo>
                      <a:pt x="30" y="54"/>
                    </a:lnTo>
                    <a:lnTo>
                      <a:pt x="20" y="57"/>
                    </a:lnTo>
                    <a:lnTo>
                      <a:pt x="8" y="55"/>
                    </a:lnTo>
                    <a:lnTo>
                      <a:pt x="2" y="44"/>
                    </a:lnTo>
                    <a:lnTo>
                      <a:pt x="0" y="24"/>
                    </a:lnTo>
                    <a:lnTo>
                      <a:pt x="2" y="18"/>
                    </a:lnTo>
                    <a:lnTo>
                      <a:pt x="6" y="12"/>
                    </a:lnTo>
                    <a:lnTo>
                      <a:pt x="20" y="11"/>
                    </a:lnTo>
                    <a:lnTo>
                      <a:pt x="25" y="6"/>
                    </a:lnTo>
                    <a:lnTo>
                      <a:pt x="36" y="0"/>
                    </a:lnTo>
                    <a:lnTo>
                      <a:pt x="37" y="10"/>
                    </a:lnTo>
                    <a:lnTo>
                      <a:pt x="32" y="16"/>
                    </a:lnTo>
                    <a:lnTo>
                      <a:pt x="35" y="22"/>
                    </a:lnTo>
                    <a:lnTo>
                      <a:pt x="43" y="2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5" name="Freeform 55"/>
              <p:cNvSpPr>
                <a:spLocks/>
              </p:cNvSpPr>
              <p:nvPr/>
            </p:nvSpPr>
            <p:spPr bwMode="auto">
              <a:xfrm>
                <a:off x="2114550" y="3252787"/>
                <a:ext cx="104775" cy="76200"/>
              </a:xfrm>
              <a:custGeom>
                <a:avLst/>
                <a:gdLst>
                  <a:gd name="T0" fmla="*/ 7 w 66"/>
                  <a:gd name="T1" fmla="*/ 4 h 48"/>
                  <a:gd name="T2" fmla="*/ 10 w 66"/>
                  <a:gd name="T3" fmla="*/ 0 h 48"/>
                  <a:gd name="T4" fmla="*/ 24 w 66"/>
                  <a:gd name="T5" fmla="*/ 0 h 48"/>
                  <a:gd name="T6" fmla="*/ 34 w 66"/>
                  <a:gd name="T7" fmla="*/ 6 h 48"/>
                  <a:gd name="T8" fmla="*/ 39 w 66"/>
                  <a:gd name="T9" fmla="*/ 5 h 48"/>
                  <a:gd name="T10" fmla="*/ 41 w 66"/>
                  <a:gd name="T11" fmla="*/ 13 h 48"/>
                  <a:gd name="T12" fmla="*/ 51 w 66"/>
                  <a:gd name="T13" fmla="*/ 12 h 48"/>
                  <a:gd name="T14" fmla="*/ 50 w 66"/>
                  <a:gd name="T15" fmla="*/ 18 h 48"/>
                  <a:gd name="T16" fmla="*/ 58 w 66"/>
                  <a:gd name="T17" fmla="*/ 19 h 48"/>
                  <a:gd name="T18" fmla="*/ 66 w 66"/>
                  <a:gd name="T19" fmla="*/ 27 h 48"/>
                  <a:gd name="T20" fmla="*/ 58 w 66"/>
                  <a:gd name="T21" fmla="*/ 35 h 48"/>
                  <a:gd name="T22" fmla="*/ 50 w 66"/>
                  <a:gd name="T23" fmla="*/ 31 h 48"/>
                  <a:gd name="T24" fmla="*/ 42 w 66"/>
                  <a:gd name="T25" fmla="*/ 31 h 48"/>
                  <a:gd name="T26" fmla="*/ 36 w 66"/>
                  <a:gd name="T27" fmla="*/ 30 h 48"/>
                  <a:gd name="T28" fmla="*/ 32 w 66"/>
                  <a:gd name="T29" fmla="*/ 34 h 48"/>
                  <a:gd name="T30" fmla="*/ 25 w 66"/>
                  <a:gd name="T31" fmla="*/ 36 h 48"/>
                  <a:gd name="T32" fmla="*/ 23 w 66"/>
                  <a:gd name="T33" fmla="*/ 30 h 48"/>
                  <a:gd name="T34" fmla="*/ 17 w 66"/>
                  <a:gd name="T35" fmla="*/ 34 h 48"/>
                  <a:gd name="T36" fmla="*/ 8 w 66"/>
                  <a:gd name="T37" fmla="*/ 48 h 48"/>
                  <a:gd name="T38" fmla="*/ 4 w 66"/>
                  <a:gd name="T39" fmla="*/ 44 h 48"/>
                  <a:gd name="T40" fmla="*/ 3 w 66"/>
                  <a:gd name="T41" fmla="*/ 39 h 48"/>
                  <a:gd name="T42" fmla="*/ 4 w 66"/>
                  <a:gd name="T43" fmla="*/ 33 h 48"/>
                  <a:gd name="T44" fmla="*/ 0 w 66"/>
                  <a:gd name="T45" fmla="*/ 27 h 48"/>
                  <a:gd name="T46" fmla="*/ 5 w 66"/>
                  <a:gd name="T47" fmla="*/ 23 h 48"/>
                  <a:gd name="T48" fmla="*/ 8 w 66"/>
                  <a:gd name="T49" fmla="*/ 15 h 48"/>
                  <a:gd name="T50" fmla="*/ 7 w 66"/>
                  <a:gd name="T51" fmla="*/ 4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6" h="48">
                    <a:moveTo>
                      <a:pt x="7" y="4"/>
                    </a:moveTo>
                    <a:lnTo>
                      <a:pt x="10" y="0"/>
                    </a:lnTo>
                    <a:lnTo>
                      <a:pt x="24" y="0"/>
                    </a:lnTo>
                    <a:lnTo>
                      <a:pt x="34" y="6"/>
                    </a:lnTo>
                    <a:lnTo>
                      <a:pt x="39" y="5"/>
                    </a:lnTo>
                    <a:lnTo>
                      <a:pt x="41" y="13"/>
                    </a:lnTo>
                    <a:lnTo>
                      <a:pt x="51" y="12"/>
                    </a:lnTo>
                    <a:lnTo>
                      <a:pt x="50" y="18"/>
                    </a:lnTo>
                    <a:lnTo>
                      <a:pt x="58" y="19"/>
                    </a:lnTo>
                    <a:lnTo>
                      <a:pt x="66" y="27"/>
                    </a:lnTo>
                    <a:lnTo>
                      <a:pt x="58" y="35"/>
                    </a:lnTo>
                    <a:lnTo>
                      <a:pt x="50" y="31"/>
                    </a:lnTo>
                    <a:lnTo>
                      <a:pt x="42" y="31"/>
                    </a:lnTo>
                    <a:lnTo>
                      <a:pt x="36" y="30"/>
                    </a:lnTo>
                    <a:lnTo>
                      <a:pt x="32" y="34"/>
                    </a:lnTo>
                    <a:lnTo>
                      <a:pt x="25" y="36"/>
                    </a:lnTo>
                    <a:lnTo>
                      <a:pt x="23" y="30"/>
                    </a:lnTo>
                    <a:lnTo>
                      <a:pt x="17" y="34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3" y="39"/>
                    </a:lnTo>
                    <a:lnTo>
                      <a:pt x="4" y="33"/>
                    </a:lnTo>
                    <a:lnTo>
                      <a:pt x="0" y="27"/>
                    </a:lnTo>
                    <a:lnTo>
                      <a:pt x="5" y="23"/>
                    </a:lnTo>
                    <a:lnTo>
                      <a:pt x="8" y="15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6" name="Freeform 56"/>
              <p:cNvSpPr>
                <a:spLocks/>
              </p:cNvSpPr>
              <p:nvPr/>
            </p:nvSpPr>
            <p:spPr bwMode="auto">
              <a:xfrm>
                <a:off x="3937000" y="2686050"/>
                <a:ext cx="585788" cy="595313"/>
              </a:xfrm>
              <a:custGeom>
                <a:avLst/>
                <a:gdLst>
                  <a:gd name="T0" fmla="*/ 369 w 369"/>
                  <a:gd name="T1" fmla="*/ 283 h 375"/>
                  <a:gd name="T2" fmla="*/ 309 w 369"/>
                  <a:gd name="T3" fmla="*/ 322 h 375"/>
                  <a:gd name="T4" fmla="*/ 257 w 369"/>
                  <a:gd name="T5" fmla="*/ 363 h 375"/>
                  <a:gd name="T6" fmla="*/ 231 w 369"/>
                  <a:gd name="T7" fmla="*/ 372 h 375"/>
                  <a:gd name="T8" fmla="*/ 211 w 369"/>
                  <a:gd name="T9" fmla="*/ 375 h 375"/>
                  <a:gd name="T10" fmla="*/ 211 w 369"/>
                  <a:gd name="T11" fmla="*/ 361 h 375"/>
                  <a:gd name="T12" fmla="*/ 203 w 369"/>
                  <a:gd name="T13" fmla="*/ 358 h 375"/>
                  <a:gd name="T14" fmla="*/ 191 w 369"/>
                  <a:gd name="T15" fmla="*/ 352 h 375"/>
                  <a:gd name="T16" fmla="*/ 187 w 369"/>
                  <a:gd name="T17" fmla="*/ 342 h 375"/>
                  <a:gd name="T18" fmla="*/ 126 w 369"/>
                  <a:gd name="T19" fmla="*/ 297 h 375"/>
                  <a:gd name="T20" fmla="*/ 66 w 369"/>
                  <a:gd name="T21" fmla="*/ 252 h 375"/>
                  <a:gd name="T22" fmla="*/ 0 w 369"/>
                  <a:gd name="T23" fmla="*/ 201 h 375"/>
                  <a:gd name="T24" fmla="*/ 1 w 369"/>
                  <a:gd name="T25" fmla="*/ 197 h 375"/>
                  <a:gd name="T26" fmla="*/ 1 w 369"/>
                  <a:gd name="T27" fmla="*/ 196 h 375"/>
                  <a:gd name="T28" fmla="*/ 1 w 369"/>
                  <a:gd name="T29" fmla="*/ 171 h 375"/>
                  <a:gd name="T30" fmla="*/ 30 w 369"/>
                  <a:gd name="T31" fmla="*/ 156 h 375"/>
                  <a:gd name="T32" fmla="*/ 48 w 369"/>
                  <a:gd name="T33" fmla="*/ 153 h 375"/>
                  <a:gd name="T34" fmla="*/ 62 w 369"/>
                  <a:gd name="T35" fmla="*/ 147 h 375"/>
                  <a:gd name="T36" fmla="*/ 69 w 369"/>
                  <a:gd name="T37" fmla="*/ 137 h 375"/>
                  <a:gd name="T38" fmla="*/ 90 w 369"/>
                  <a:gd name="T39" fmla="*/ 129 h 375"/>
                  <a:gd name="T40" fmla="*/ 91 w 369"/>
                  <a:gd name="T41" fmla="*/ 113 h 375"/>
                  <a:gd name="T42" fmla="*/ 101 w 369"/>
                  <a:gd name="T43" fmla="*/ 112 h 375"/>
                  <a:gd name="T44" fmla="*/ 109 w 369"/>
                  <a:gd name="T45" fmla="*/ 104 h 375"/>
                  <a:gd name="T46" fmla="*/ 132 w 369"/>
                  <a:gd name="T47" fmla="*/ 100 h 375"/>
                  <a:gd name="T48" fmla="*/ 135 w 369"/>
                  <a:gd name="T49" fmla="*/ 92 h 375"/>
                  <a:gd name="T50" fmla="*/ 130 w 369"/>
                  <a:gd name="T51" fmla="*/ 88 h 375"/>
                  <a:gd name="T52" fmla="*/ 124 w 369"/>
                  <a:gd name="T53" fmla="*/ 66 h 375"/>
                  <a:gd name="T54" fmla="*/ 123 w 369"/>
                  <a:gd name="T55" fmla="*/ 53 h 375"/>
                  <a:gd name="T56" fmla="*/ 117 w 369"/>
                  <a:gd name="T57" fmla="*/ 40 h 375"/>
                  <a:gd name="T58" fmla="*/ 134 w 369"/>
                  <a:gd name="T59" fmla="*/ 29 h 375"/>
                  <a:gd name="T60" fmla="*/ 152 w 369"/>
                  <a:gd name="T61" fmla="*/ 25 h 375"/>
                  <a:gd name="T62" fmla="*/ 163 w 369"/>
                  <a:gd name="T63" fmla="*/ 17 h 375"/>
                  <a:gd name="T64" fmla="*/ 179 w 369"/>
                  <a:gd name="T65" fmla="*/ 11 h 375"/>
                  <a:gd name="T66" fmla="*/ 209 w 369"/>
                  <a:gd name="T67" fmla="*/ 7 h 375"/>
                  <a:gd name="T68" fmla="*/ 237 w 369"/>
                  <a:gd name="T69" fmla="*/ 5 h 375"/>
                  <a:gd name="T70" fmla="*/ 246 w 369"/>
                  <a:gd name="T71" fmla="*/ 8 h 375"/>
                  <a:gd name="T72" fmla="*/ 262 w 369"/>
                  <a:gd name="T73" fmla="*/ 0 h 375"/>
                  <a:gd name="T74" fmla="*/ 280 w 369"/>
                  <a:gd name="T75" fmla="*/ 0 h 375"/>
                  <a:gd name="T76" fmla="*/ 287 w 369"/>
                  <a:gd name="T77" fmla="*/ 5 h 375"/>
                  <a:gd name="T78" fmla="*/ 299 w 369"/>
                  <a:gd name="T79" fmla="*/ 3 h 375"/>
                  <a:gd name="T80" fmla="*/ 296 w 369"/>
                  <a:gd name="T81" fmla="*/ 14 h 375"/>
                  <a:gd name="T82" fmla="*/ 299 w 369"/>
                  <a:gd name="T83" fmla="*/ 34 h 375"/>
                  <a:gd name="T84" fmla="*/ 295 w 369"/>
                  <a:gd name="T85" fmla="*/ 51 h 375"/>
                  <a:gd name="T86" fmla="*/ 285 w 369"/>
                  <a:gd name="T87" fmla="*/ 62 h 375"/>
                  <a:gd name="T88" fmla="*/ 287 w 369"/>
                  <a:gd name="T89" fmla="*/ 78 h 375"/>
                  <a:gd name="T90" fmla="*/ 302 w 369"/>
                  <a:gd name="T91" fmla="*/ 90 h 375"/>
                  <a:gd name="T92" fmla="*/ 302 w 369"/>
                  <a:gd name="T93" fmla="*/ 95 h 375"/>
                  <a:gd name="T94" fmla="*/ 313 w 369"/>
                  <a:gd name="T95" fmla="*/ 104 h 375"/>
                  <a:gd name="T96" fmla="*/ 321 w 369"/>
                  <a:gd name="T97" fmla="*/ 141 h 375"/>
                  <a:gd name="T98" fmla="*/ 327 w 369"/>
                  <a:gd name="T99" fmla="*/ 159 h 375"/>
                  <a:gd name="T100" fmla="*/ 329 w 369"/>
                  <a:gd name="T101" fmla="*/ 169 h 375"/>
                  <a:gd name="T102" fmla="*/ 326 w 369"/>
                  <a:gd name="T103" fmla="*/ 186 h 375"/>
                  <a:gd name="T104" fmla="*/ 327 w 369"/>
                  <a:gd name="T105" fmla="*/ 195 h 375"/>
                  <a:gd name="T106" fmla="*/ 325 w 369"/>
                  <a:gd name="T107" fmla="*/ 207 h 375"/>
                  <a:gd name="T108" fmla="*/ 327 w 369"/>
                  <a:gd name="T109" fmla="*/ 220 h 375"/>
                  <a:gd name="T110" fmla="*/ 320 w 369"/>
                  <a:gd name="T111" fmla="*/ 228 h 375"/>
                  <a:gd name="T112" fmla="*/ 331 w 369"/>
                  <a:gd name="T113" fmla="*/ 244 h 375"/>
                  <a:gd name="T114" fmla="*/ 332 w 369"/>
                  <a:gd name="T115" fmla="*/ 252 h 375"/>
                  <a:gd name="T116" fmla="*/ 339 w 369"/>
                  <a:gd name="T117" fmla="*/ 264 h 375"/>
                  <a:gd name="T118" fmla="*/ 347 w 369"/>
                  <a:gd name="T119" fmla="*/ 260 h 375"/>
                  <a:gd name="T120" fmla="*/ 361 w 369"/>
                  <a:gd name="T121" fmla="*/ 270 h 375"/>
                  <a:gd name="T122" fmla="*/ 369 w 369"/>
                  <a:gd name="T123" fmla="*/ 283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69" h="375">
                    <a:moveTo>
                      <a:pt x="369" y="283"/>
                    </a:moveTo>
                    <a:lnTo>
                      <a:pt x="309" y="322"/>
                    </a:lnTo>
                    <a:lnTo>
                      <a:pt x="257" y="363"/>
                    </a:lnTo>
                    <a:lnTo>
                      <a:pt x="231" y="372"/>
                    </a:lnTo>
                    <a:lnTo>
                      <a:pt x="211" y="375"/>
                    </a:lnTo>
                    <a:lnTo>
                      <a:pt x="211" y="361"/>
                    </a:lnTo>
                    <a:lnTo>
                      <a:pt x="203" y="358"/>
                    </a:lnTo>
                    <a:lnTo>
                      <a:pt x="191" y="352"/>
                    </a:lnTo>
                    <a:lnTo>
                      <a:pt x="187" y="342"/>
                    </a:lnTo>
                    <a:lnTo>
                      <a:pt x="126" y="297"/>
                    </a:lnTo>
                    <a:lnTo>
                      <a:pt x="66" y="252"/>
                    </a:lnTo>
                    <a:lnTo>
                      <a:pt x="0" y="201"/>
                    </a:lnTo>
                    <a:lnTo>
                      <a:pt x="1" y="197"/>
                    </a:lnTo>
                    <a:lnTo>
                      <a:pt x="1" y="196"/>
                    </a:lnTo>
                    <a:lnTo>
                      <a:pt x="1" y="171"/>
                    </a:lnTo>
                    <a:lnTo>
                      <a:pt x="30" y="156"/>
                    </a:lnTo>
                    <a:lnTo>
                      <a:pt x="48" y="153"/>
                    </a:lnTo>
                    <a:lnTo>
                      <a:pt x="62" y="147"/>
                    </a:lnTo>
                    <a:lnTo>
                      <a:pt x="69" y="137"/>
                    </a:lnTo>
                    <a:lnTo>
                      <a:pt x="90" y="129"/>
                    </a:lnTo>
                    <a:lnTo>
                      <a:pt x="91" y="113"/>
                    </a:lnTo>
                    <a:lnTo>
                      <a:pt x="101" y="112"/>
                    </a:lnTo>
                    <a:lnTo>
                      <a:pt x="109" y="104"/>
                    </a:lnTo>
                    <a:lnTo>
                      <a:pt x="132" y="100"/>
                    </a:lnTo>
                    <a:lnTo>
                      <a:pt x="135" y="92"/>
                    </a:lnTo>
                    <a:lnTo>
                      <a:pt x="130" y="88"/>
                    </a:lnTo>
                    <a:lnTo>
                      <a:pt x="124" y="66"/>
                    </a:lnTo>
                    <a:lnTo>
                      <a:pt x="123" y="53"/>
                    </a:lnTo>
                    <a:lnTo>
                      <a:pt x="117" y="40"/>
                    </a:lnTo>
                    <a:lnTo>
                      <a:pt x="134" y="29"/>
                    </a:lnTo>
                    <a:lnTo>
                      <a:pt x="152" y="25"/>
                    </a:lnTo>
                    <a:lnTo>
                      <a:pt x="163" y="17"/>
                    </a:lnTo>
                    <a:lnTo>
                      <a:pt x="179" y="11"/>
                    </a:lnTo>
                    <a:lnTo>
                      <a:pt x="209" y="7"/>
                    </a:lnTo>
                    <a:lnTo>
                      <a:pt x="237" y="5"/>
                    </a:lnTo>
                    <a:lnTo>
                      <a:pt x="246" y="8"/>
                    </a:lnTo>
                    <a:lnTo>
                      <a:pt x="262" y="0"/>
                    </a:lnTo>
                    <a:lnTo>
                      <a:pt x="280" y="0"/>
                    </a:lnTo>
                    <a:lnTo>
                      <a:pt x="287" y="5"/>
                    </a:lnTo>
                    <a:lnTo>
                      <a:pt x="299" y="3"/>
                    </a:lnTo>
                    <a:lnTo>
                      <a:pt x="296" y="14"/>
                    </a:lnTo>
                    <a:lnTo>
                      <a:pt x="299" y="34"/>
                    </a:lnTo>
                    <a:lnTo>
                      <a:pt x="295" y="51"/>
                    </a:lnTo>
                    <a:lnTo>
                      <a:pt x="285" y="62"/>
                    </a:lnTo>
                    <a:lnTo>
                      <a:pt x="287" y="78"/>
                    </a:lnTo>
                    <a:lnTo>
                      <a:pt x="302" y="90"/>
                    </a:lnTo>
                    <a:lnTo>
                      <a:pt x="302" y="95"/>
                    </a:lnTo>
                    <a:lnTo>
                      <a:pt x="313" y="104"/>
                    </a:lnTo>
                    <a:lnTo>
                      <a:pt x="321" y="141"/>
                    </a:lnTo>
                    <a:lnTo>
                      <a:pt x="327" y="159"/>
                    </a:lnTo>
                    <a:lnTo>
                      <a:pt x="329" y="169"/>
                    </a:lnTo>
                    <a:lnTo>
                      <a:pt x="326" y="186"/>
                    </a:lnTo>
                    <a:lnTo>
                      <a:pt x="327" y="195"/>
                    </a:lnTo>
                    <a:lnTo>
                      <a:pt x="325" y="207"/>
                    </a:lnTo>
                    <a:lnTo>
                      <a:pt x="327" y="220"/>
                    </a:lnTo>
                    <a:lnTo>
                      <a:pt x="320" y="228"/>
                    </a:lnTo>
                    <a:lnTo>
                      <a:pt x="331" y="244"/>
                    </a:lnTo>
                    <a:lnTo>
                      <a:pt x="332" y="252"/>
                    </a:lnTo>
                    <a:lnTo>
                      <a:pt x="339" y="264"/>
                    </a:lnTo>
                    <a:lnTo>
                      <a:pt x="347" y="260"/>
                    </a:lnTo>
                    <a:lnTo>
                      <a:pt x="361" y="270"/>
                    </a:lnTo>
                    <a:lnTo>
                      <a:pt x="369" y="283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7" name="Freeform 57"/>
              <p:cNvSpPr>
                <a:spLocks/>
              </p:cNvSpPr>
              <p:nvPr/>
            </p:nvSpPr>
            <p:spPr bwMode="auto">
              <a:xfrm>
                <a:off x="1820862" y="3863975"/>
                <a:ext cx="166688" cy="207963"/>
              </a:xfrm>
              <a:custGeom>
                <a:avLst/>
                <a:gdLst>
                  <a:gd name="T0" fmla="*/ 13 w 105"/>
                  <a:gd name="T1" fmla="*/ 99 h 131"/>
                  <a:gd name="T2" fmla="*/ 22 w 105"/>
                  <a:gd name="T3" fmla="*/ 84 h 131"/>
                  <a:gd name="T4" fmla="*/ 18 w 105"/>
                  <a:gd name="T5" fmla="*/ 75 h 131"/>
                  <a:gd name="T6" fmla="*/ 11 w 105"/>
                  <a:gd name="T7" fmla="*/ 84 h 131"/>
                  <a:gd name="T8" fmla="*/ 0 w 105"/>
                  <a:gd name="T9" fmla="*/ 75 h 131"/>
                  <a:gd name="T10" fmla="*/ 4 w 105"/>
                  <a:gd name="T11" fmla="*/ 69 h 131"/>
                  <a:gd name="T12" fmla="*/ 0 w 105"/>
                  <a:gd name="T13" fmla="*/ 50 h 131"/>
                  <a:gd name="T14" fmla="*/ 7 w 105"/>
                  <a:gd name="T15" fmla="*/ 47 h 131"/>
                  <a:gd name="T16" fmla="*/ 10 w 105"/>
                  <a:gd name="T17" fmla="*/ 34 h 131"/>
                  <a:gd name="T18" fmla="*/ 17 w 105"/>
                  <a:gd name="T19" fmla="*/ 21 h 131"/>
                  <a:gd name="T20" fmla="*/ 16 w 105"/>
                  <a:gd name="T21" fmla="*/ 12 h 131"/>
                  <a:gd name="T22" fmla="*/ 26 w 105"/>
                  <a:gd name="T23" fmla="*/ 8 h 131"/>
                  <a:gd name="T24" fmla="*/ 39 w 105"/>
                  <a:gd name="T25" fmla="*/ 0 h 131"/>
                  <a:gd name="T26" fmla="*/ 57 w 105"/>
                  <a:gd name="T27" fmla="*/ 12 h 131"/>
                  <a:gd name="T28" fmla="*/ 60 w 105"/>
                  <a:gd name="T29" fmla="*/ 11 h 131"/>
                  <a:gd name="T30" fmla="*/ 65 w 105"/>
                  <a:gd name="T31" fmla="*/ 20 h 131"/>
                  <a:gd name="T32" fmla="*/ 80 w 105"/>
                  <a:gd name="T33" fmla="*/ 23 h 131"/>
                  <a:gd name="T34" fmla="*/ 86 w 105"/>
                  <a:gd name="T35" fmla="*/ 20 h 131"/>
                  <a:gd name="T36" fmla="*/ 95 w 105"/>
                  <a:gd name="T37" fmla="*/ 27 h 131"/>
                  <a:gd name="T38" fmla="*/ 102 w 105"/>
                  <a:gd name="T39" fmla="*/ 31 h 131"/>
                  <a:gd name="T40" fmla="*/ 105 w 105"/>
                  <a:gd name="T41" fmla="*/ 47 h 131"/>
                  <a:gd name="T42" fmla="*/ 99 w 105"/>
                  <a:gd name="T43" fmla="*/ 61 h 131"/>
                  <a:gd name="T44" fmla="*/ 80 w 105"/>
                  <a:gd name="T45" fmla="*/ 83 h 131"/>
                  <a:gd name="T46" fmla="*/ 58 w 105"/>
                  <a:gd name="T47" fmla="*/ 91 h 131"/>
                  <a:gd name="T48" fmla="*/ 47 w 105"/>
                  <a:gd name="T49" fmla="*/ 109 h 131"/>
                  <a:gd name="T50" fmla="*/ 44 w 105"/>
                  <a:gd name="T51" fmla="*/ 123 h 131"/>
                  <a:gd name="T52" fmla="*/ 34 w 105"/>
                  <a:gd name="T53" fmla="*/ 131 h 131"/>
                  <a:gd name="T54" fmla="*/ 26 w 105"/>
                  <a:gd name="T55" fmla="*/ 121 h 131"/>
                  <a:gd name="T56" fmla="*/ 18 w 105"/>
                  <a:gd name="T57" fmla="*/ 119 h 131"/>
                  <a:gd name="T58" fmla="*/ 10 w 105"/>
                  <a:gd name="T59" fmla="*/ 120 h 131"/>
                  <a:gd name="T60" fmla="*/ 10 w 105"/>
                  <a:gd name="T61" fmla="*/ 113 h 131"/>
                  <a:gd name="T62" fmla="*/ 15 w 105"/>
                  <a:gd name="T63" fmla="*/ 108 h 131"/>
                  <a:gd name="T64" fmla="*/ 13 w 105"/>
                  <a:gd name="T65" fmla="*/ 99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5" h="131">
                    <a:moveTo>
                      <a:pt x="13" y="99"/>
                    </a:moveTo>
                    <a:lnTo>
                      <a:pt x="22" y="84"/>
                    </a:lnTo>
                    <a:lnTo>
                      <a:pt x="18" y="75"/>
                    </a:lnTo>
                    <a:lnTo>
                      <a:pt x="11" y="84"/>
                    </a:lnTo>
                    <a:lnTo>
                      <a:pt x="0" y="75"/>
                    </a:lnTo>
                    <a:lnTo>
                      <a:pt x="4" y="69"/>
                    </a:lnTo>
                    <a:lnTo>
                      <a:pt x="0" y="50"/>
                    </a:lnTo>
                    <a:lnTo>
                      <a:pt x="7" y="47"/>
                    </a:lnTo>
                    <a:lnTo>
                      <a:pt x="10" y="34"/>
                    </a:lnTo>
                    <a:lnTo>
                      <a:pt x="17" y="21"/>
                    </a:lnTo>
                    <a:lnTo>
                      <a:pt x="16" y="12"/>
                    </a:lnTo>
                    <a:lnTo>
                      <a:pt x="26" y="8"/>
                    </a:lnTo>
                    <a:lnTo>
                      <a:pt x="39" y="0"/>
                    </a:lnTo>
                    <a:lnTo>
                      <a:pt x="57" y="12"/>
                    </a:lnTo>
                    <a:lnTo>
                      <a:pt x="60" y="11"/>
                    </a:lnTo>
                    <a:lnTo>
                      <a:pt x="65" y="20"/>
                    </a:lnTo>
                    <a:lnTo>
                      <a:pt x="80" y="23"/>
                    </a:lnTo>
                    <a:lnTo>
                      <a:pt x="86" y="20"/>
                    </a:lnTo>
                    <a:lnTo>
                      <a:pt x="95" y="27"/>
                    </a:lnTo>
                    <a:lnTo>
                      <a:pt x="102" y="31"/>
                    </a:lnTo>
                    <a:lnTo>
                      <a:pt x="105" y="47"/>
                    </a:lnTo>
                    <a:lnTo>
                      <a:pt x="99" y="61"/>
                    </a:lnTo>
                    <a:lnTo>
                      <a:pt x="80" y="83"/>
                    </a:lnTo>
                    <a:lnTo>
                      <a:pt x="58" y="91"/>
                    </a:lnTo>
                    <a:lnTo>
                      <a:pt x="47" y="109"/>
                    </a:lnTo>
                    <a:lnTo>
                      <a:pt x="44" y="123"/>
                    </a:lnTo>
                    <a:lnTo>
                      <a:pt x="34" y="131"/>
                    </a:lnTo>
                    <a:lnTo>
                      <a:pt x="26" y="121"/>
                    </a:lnTo>
                    <a:lnTo>
                      <a:pt x="18" y="119"/>
                    </a:lnTo>
                    <a:lnTo>
                      <a:pt x="10" y="120"/>
                    </a:lnTo>
                    <a:lnTo>
                      <a:pt x="10" y="113"/>
                    </a:lnTo>
                    <a:lnTo>
                      <a:pt x="15" y="108"/>
                    </a:lnTo>
                    <a:lnTo>
                      <a:pt x="13" y="99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8" name="Freeform 58"/>
              <p:cNvSpPr>
                <a:spLocks/>
              </p:cNvSpPr>
              <p:nvPr/>
            </p:nvSpPr>
            <p:spPr bwMode="auto">
              <a:xfrm>
                <a:off x="4872037" y="2867025"/>
                <a:ext cx="361950" cy="315913"/>
              </a:xfrm>
              <a:custGeom>
                <a:avLst/>
                <a:gdLst>
                  <a:gd name="T0" fmla="*/ 181 w 228"/>
                  <a:gd name="T1" fmla="*/ 44 h 199"/>
                  <a:gd name="T2" fmla="*/ 177 w 228"/>
                  <a:gd name="T3" fmla="*/ 52 h 199"/>
                  <a:gd name="T4" fmla="*/ 175 w 228"/>
                  <a:gd name="T5" fmla="*/ 68 h 199"/>
                  <a:gd name="T6" fmla="*/ 171 w 228"/>
                  <a:gd name="T7" fmla="*/ 79 h 199"/>
                  <a:gd name="T8" fmla="*/ 167 w 228"/>
                  <a:gd name="T9" fmla="*/ 82 h 199"/>
                  <a:gd name="T10" fmla="*/ 160 w 228"/>
                  <a:gd name="T11" fmla="*/ 75 h 199"/>
                  <a:gd name="T12" fmla="*/ 152 w 228"/>
                  <a:gd name="T13" fmla="*/ 66 h 199"/>
                  <a:gd name="T14" fmla="*/ 137 w 228"/>
                  <a:gd name="T15" fmla="*/ 36 h 199"/>
                  <a:gd name="T16" fmla="*/ 135 w 228"/>
                  <a:gd name="T17" fmla="*/ 38 h 199"/>
                  <a:gd name="T18" fmla="*/ 144 w 228"/>
                  <a:gd name="T19" fmla="*/ 60 h 199"/>
                  <a:gd name="T20" fmla="*/ 157 w 228"/>
                  <a:gd name="T21" fmla="*/ 81 h 199"/>
                  <a:gd name="T22" fmla="*/ 173 w 228"/>
                  <a:gd name="T23" fmla="*/ 113 h 199"/>
                  <a:gd name="T24" fmla="*/ 180 w 228"/>
                  <a:gd name="T25" fmla="*/ 125 h 199"/>
                  <a:gd name="T26" fmla="*/ 187 w 228"/>
                  <a:gd name="T27" fmla="*/ 136 h 199"/>
                  <a:gd name="T28" fmla="*/ 204 w 228"/>
                  <a:gd name="T29" fmla="*/ 159 h 199"/>
                  <a:gd name="T30" fmla="*/ 201 w 228"/>
                  <a:gd name="T31" fmla="*/ 163 h 199"/>
                  <a:gd name="T32" fmla="*/ 203 w 228"/>
                  <a:gd name="T33" fmla="*/ 176 h 199"/>
                  <a:gd name="T34" fmla="*/ 225 w 228"/>
                  <a:gd name="T35" fmla="*/ 195 h 199"/>
                  <a:gd name="T36" fmla="*/ 228 w 228"/>
                  <a:gd name="T37" fmla="*/ 199 h 199"/>
                  <a:gd name="T38" fmla="*/ 157 w 228"/>
                  <a:gd name="T39" fmla="*/ 199 h 199"/>
                  <a:gd name="T40" fmla="*/ 87 w 228"/>
                  <a:gd name="T41" fmla="*/ 199 h 199"/>
                  <a:gd name="T42" fmla="*/ 15 w 228"/>
                  <a:gd name="T43" fmla="*/ 199 h 199"/>
                  <a:gd name="T44" fmla="*/ 11 w 228"/>
                  <a:gd name="T45" fmla="*/ 123 h 199"/>
                  <a:gd name="T46" fmla="*/ 6 w 228"/>
                  <a:gd name="T47" fmla="*/ 49 h 199"/>
                  <a:gd name="T48" fmla="*/ 0 w 228"/>
                  <a:gd name="T49" fmla="*/ 32 h 199"/>
                  <a:gd name="T50" fmla="*/ 4 w 228"/>
                  <a:gd name="T51" fmla="*/ 19 h 199"/>
                  <a:gd name="T52" fmla="*/ 1 w 228"/>
                  <a:gd name="T53" fmla="*/ 11 h 199"/>
                  <a:gd name="T54" fmla="*/ 6 w 228"/>
                  <a:gd name="T55" fmla="*/ 1 h 199"/>
                  <a:gd name="T56" fmla="*/ 29 w 228"/>
                  <a:gd name="T57" fmla="*/ 0 h 199"/>
                  <a:gd name="T58" fmla="*/ 47 w 228"/>
                  <a:gd name="T59" fmla="*/ 6 h 199"/>
                  <a:gd name="T60" fmla="*/ 65 w 228"/>
                  <a:gd name="T61" fmla="*/ 12 h 199"/>
                  <a:gd name="T62" fmla="*/ 73 w 228"/>
                  <a:gd name="T63" fmla="*/ 15 h 199"/>
                  <a:gd name="T64" fmla="*/ 86 w 228"/>
                  <a:gd name="T65" fmla="*/ 9 h 199"/>
                  <a:gd name="T66" fmla="*/ 93 w 228"/>
                  <a:gd name="T67" fmla="*/ 3 h 199"/>
                  <a:gd name="T68" fmla="*/ 108 w 228"/>
                  <a:gd name="T69" fmla="*/ 1 h 199"/>
                  <a:gd name="T70" fmla="*/ 121 w 228"/>
                  <a:gd name="T71" fmla="*/ 4 h 199"/>
                  <a:gd name="T72" fmla="*/ 126 w 228"/>
                  <a:gd name="T73" fmla="*/ 14 h 199"/>
                  <a:gd name="T74" fmla="*/ 130 w 228"/>
                  <a:gd name="T75" fmla="*/ 7 h 199"/>
                  <a:gd name="T76" fmla="*/ 144 w 228"/>
                  <a:gd name="T77" fmla="*/ 12 h 199"/>
                  <a:gd name="T78" fmla="*/ 158 w 228"/>
                  <a:gd name="T79" fmla="*/ 13 h 199"/>
                  <a:gd name="T80" fmla="*/ 166 w 228"/>
                  <a:gd name="T81" fmla="*/ 8 h 199"/>
                  <a:gd name="T82" fmla="*/ 181 w 228"/>
                  <a:gd name="T83" fmla="*/ 44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28" h="199">
                    <a:moveTo>
                      <a:pt x="181" y="44"/>
                    </a:moveTo>
                    <a:lnTo>
                      <a:pt x="177" y="52"/>
                    </a:lnTo>
                    <a:lnTo>
                      <a:pt x="175" y="68"/>
                    </a:lnTo>
                    <a:lnTo>
                      <a:pt x="171" y="79"/>
                    </a:lnTo>
                    <a:lnTo>
                      <a:pt x="167" y="82"/>
                    </a:lnTo>
                    <a:lnTo>
                      <a:pt x="160" y="75"/>
                    </a:lnTo>
                    <a:lnTo>
                      <a:pt x="152" y="66"/>
                    </a:lnTo>
                    <a:lnTo>
                      <a:pt x="137" y="36"/>
                    </a:lnTo>
                    <a:lnTo>
                      <a:pt x="135" y="38"/>
                    </a:lnTo>
                    <a:lnTo>
                      <a:pt x="144" y="60"/>
                    </a:lnTo>
                    <a:lnTo>
                      <a:pt x="157" y="81"/>
                    </a:lnTo>
                    <a:lnTo>
                      <a:pt x="173" y="113"/>
                    </a:lnTo>
                    <a:lnTo>
                      <a:pt x="180" y="125"/>
                    </a:lnTo>
                    <a:lnTo>
                      <a:pt x="187" y="136"/>
                    </a:lnTo>
                    <a:lnTo>
                      <a:pt x="204" y="159"/>
                    </a:lnTo>
                    <a:lnTo>
                      <a:pt x="201" y="163"/>
                    </a:lnTo>
                    <a:lnTo>
                      <a:pt x="203" y="176"/>
                    </a:lnTo>
                    <a:lnTo>
                      <a:pt x="225" y="195"/>
                    </a:lnTo>
                    <a:lnTo>
                      <a:pt x="228" y="199"/>
                    </a:lnTo>
                    <a:lnTo>
                      <a:pt x="157" y="199"/>
                    </a:lnTo>
                    <a:lnTo>
                      <a:pt x="87" y="199"/>
                    </a:lnTo>
                    <a:lnTo>
                      <a:pt x="15" y="199"/>
                    </a:lnTo>
                    <a:lnTo>
                      <a:pt x="11" y="123"/>
                    </a:lnTo>
                    <a:lnTo>
                      <a:pt x="6" y="49"/>
                    </a:lnTo>
                    <a:lnTo>
                      <a:pt x="0" y="32"/>
                    </a:lnTo>
                    <a:lnTo>
                      <a:pt x="4" y="19"/>
                    </a:lnTo>
                    <a:lnTo>
                      <a:pt x="1" y="11"/>
                    </a:lnTo>
                    <a:lnTo>
                      <a:pt x="6" y="1"/>
                    </a:lnTo>
                    <a:lnTo>
                      <a:pt x="29" y="0"/>
                    </a:lnTo>
                    <a:lnTo>
                      <a:pt x="47" y="6"/>
                    </a:lnTo>
                    <a:lnTo>
                      <a:pt x="65" y="12"/>
                    </a:lnTo>
                    <a:lnTo>
                      <a:pt x="73" y="15"/>
                    </a:lnTo>
                    <a:lnTo>
                      <a:pt x="86" y="9"/>
                    </a:lnTo>
                    <a:lnTo>
                      <a:pt x="93" y="3"/>
                    </a:lnTo>
                    <a:lnTo>
                      <a:pt x="108" y="1"/>
                    </a:lnTo>
                    <a:lnTo>
                      <a:pt x="121" y="4"/>
                    </a:lnTo>
                    <a:lnTo>
                      <a:pt x="126" y="14"/>
                    </a:lnTo>
                    <a:lnTo>
                      <a:pt x="130" y="7"/>
                    </a:lnTo>
                    <a:lnTo>
                      <a:pt x="144" y="12"/>
                    </a:lnTo>
                    <a:lnTo>
                      <a:pt x="158" y="13"/>
                    </a:lnTo>
                    <a:lnTo>
                      <a:pt x="166" y="8"/>
                    </a:lnTo>
                    <a:lnTo>
                      <a:pt x="181" y="44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69" name="Freeform 59"/>
              <p:cNvSpPr>
                <a:spLocks/>
              </p:cNvSpPr>
              <p:nvPr/>
            </p:nvSpPr>
            <p:spPr bwMode="auto">
              <a:xfrm>
                <a:off x="5230812" y="3316287"/>
                <a:ext cx="198438" cy="182563"/>
              </a:xfrm>
              <a:custGeom>
                <a:avLst/>
                <a:gdLst>
                  <a:gd name="T0" fmla="*/ 112 w 125"/>
                  <a:gd name="T1" fmla="*/ 113 h 115"/>
                  <a:gd name="T2" fmla="*/ 106 w 125"/>
                  <a:gd name="T3" fmla="*/ 106 h 115"/>
                  <a:gd name="T4" fmla="*/ 98 w 125"/>
                  <a:gd name="T5" fmla="*/ 94 h 115"/>
                  <a:gd name="T6" fmla="*/ 89 w 125"/>
                  <a:gd name="T7" fmla="*/ 87 h 115"/>
                  <a:gd name="T8" fmla="*/ 84 w 125"/>
                  <a:gd name="T9" fmla="*/ 80 h 115"/>
                  <a:gd name="T10" fmla="*/ 68 w 125"/>
                  <a:gd name="T11" fmla="*/ 72 h 115"/>
                  <a:gd name="T12" fmla="*/ 56 w 125"/>
                  <a:gd name="T13" fmla="*/ 71 h 115"/>
                  <a:gd name="T14" fmla="*/ 51 w 125"/>
                  <a:gd name="T15" fmla="*/ 67 h 115"/>
                  <a:gd name="T16" fmla="*/ 41 w 125"/>
                  <a:gd name="T17" fmla="*/ 72 h 115"/>
                  <a:gd name="T18" fmla="*/ 29 w 125"/>
                  <a:gd name="T19" fmla="*/ 63 h 115"/>
                  <a:gd name="T20" fmla="*/ 24 w 125"/>
                  <a:gd name="T21" fmla="*/ 78 h 115"/>
                  <a:gd name="T22" fmla="*/ 3 w 125"/>
                  <a:gd name="T23" fmla="*/ 74 h 115"/>
                  <a:gd name="T24" fmla="*/ 0 w 125"/>
                  <a:gd name="T25" fmla="*/ 65 h 115"/>
                  <a:gd name="T26" fmla="*/ 7 w 125"/>
                  <a:gd name="T27" fmla="*/ 35 h 115"/>
                  <a:gd name="T28" fmla="*/ 8 w 125"/>
                  <a:gd name="T29" fmla="*/ 21 h 115"/>
                  <a:gd name="T30" fmla="*/ 13 w 125"/>
                  <a:gd name="T31" fmla="*/ 15 h 115"/>
                  <a:gd name="T32" fmla="*/ 27 w 125"/>
                  <a:gd name="T33" fmla="*/ 11 h 115"/>
                  <a:gd name="T34" fmla="*/ 35 w 125"/>
                  <a:gd name="T35" fmla="*/ 0 h 115"/>
                  <a:gd name="T36" fmla="*/ 47 w 125"/>
                  <a:gd name="T37" fmla="*/ 23 h 115"/>
                  <a:gd name="T38" fmla="*/ 53 w 125"/>
                  <a:gd name="T39" fmla="*/ 43 h 115"/>
                  <a:gd name="T40" fmla="*/ 63 w 125"/>
                  <a:gd name="T41" fmla="*/ 53 h 115"/>
                  <a:gd name="T42" fmla="*/ 89 w 125"/>
                  <a:gd name="T43" fmla="*/ 72 h 115"/>
                  <a:gd name="T44" fmla="*/ 100 w 125"/>
                  <a:gd name="T45" fmla="*/ 84 h 115"/>
                  <a:gd name="T46" fmla="*/ 110 w 125"/>
                  <a:gd name="T47" fmla="*/ 96 h 115"/>
                  <a:gd name="T48" fmla="*/ 116 w 125"/>
                  <a:gd name="T49" fmla="*/ 103 h 115"/>
                  <a:gd name="T50" fmla="*/ 125 w 125"/>
                  <a:gd name="T51" fmla="*/ 110 h 115"/>
                  <a:gd name="T52" fmla="*/ 120 w 125"/>
                  <a:gd name="T53" fmla="*/ 115 h 115"/>
                  <a:gd name="T54" fmla="*/ 112 w 125"/>
                  <a:gd name="T55" fmla="*/ 113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5" h="115">
                    <a:moveTo>
                      <a:pt x="112" y="113"/>
                    </a:moveTo>
                    <a:lnTo>
                      <a:pt x="106" y="106"/>
                    </a:lnTo>
                    <a:lnTo>
                      <a:pt x="98" y="94"/>
                    </a:lnTo>
                    <a:lnTo>
                      <a:pt x="89" y="87"/>
                    </a:lnTo>
                    <a:lnTo>
                      <a:pt x="84" y="80"/>
                    </a:lnTo>
                    <a:lnTo>
                      <a:pt x="68" y="72"/>
                    </a:lnTo>
                    <a:lnTo>
                      <a:pt x="56" y="71"/>
                    </a:lnTo>
                    <a:lnTo>
                      <a:pt x="51" y="67"/>
                    </a:lnTo>
                    <a:lnTo>
                      <a:pt x="41" y="72"/>
                    </a:lnTo>
                    <a:lnTo>
                      <a:pt x="29" y="63"/>
                    </a:lnTo>
                    <a:lnTo>
                      <a:pt x="24" y="78"/>
                    </a:lnTo>
                    <a:lnTo>
                      <a:pt x="3" y="74"/>
                    </a:lnTo>
                    <a:lnTo>
                      <a:pt x="0" y="65"/>
                    </a:lnTo>
                    <a:lnTo>
                      <a:pt x="7" y="35"/>
                    </a:lnTo>
                    <a:lnTo>
                      <a:pt x="8" y="21"/>
                    </a:lnTo>
                    <a:lnTo>
                      <a:pt x="13" y="15"/>
                    </a:lnTo>
                    <a:lnTo>
                      <a:pt x="27" y="11"/>
                    </a:lnTo>
                    <a:lnTo>
                      <a:pt x="35" y="0"/>
                    </a:lnTo>
                    <a:lnTo>
                      <a:pt x="47" y="23"/>
                    </a:lnTo>
                    <a:lnTo>
                      <a:pt x="53" y="43"/>
                    </a:lnTo>
                    <a:lnTo>
                      <a:pt x="63" y="53"/>
                    </a:lnTo>
                    <a:lnTo>
                      <a:pt x="89" y="72"/>
                    </a:lnTo>
                    <a:lnTo>
                      <a:pt x="100" y="84"/>
                    </a:lnTo>
                    <a:lnTo>
                      <a:pt x="110" y="96"/>
                    </a:lnTo>
                    <a:lnTo>
                      <a:pt x="116" y="103"/>
                    </a:lnTo>
                    <a:lnTo>
                      <a:pt x="125" y="110"/>
                    </a:lnTo>
                    <a:lnTo>
                      <a:pt x="120" y="115"/>
                    </a:lnTo>
                    <a:lnTo>
                      <a:pt x="112" y="11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0" name="Freeform 60"/>
              <p:cNvSpPr>
                <a:spLocks/>
              </p:cNvSpPr>
              <p:nvPr/>
            </p:nvSpPr>
            <p:spPr bwMode="auto">
              <a:xfrm>
                <a:off x="3933825" y="2468562"/>
                <a:ext cx="328613" cy="255588"/>
              </a:xfrm>
              <a:custGeom>
                <a:avLst/>
                <a:gdLst>
                  <a:gd name="T0" fmla="*/ 5 w 207"/>
                  <a:gd name="T1" fmla="*/ 39 h 161"/>
                  <a:gd name="T2" fmla="*/ 6 w 207"/>
                  <a:gd name="T3" fmla="*/ 24 h 161"/>
                  <a:gd name="T4" fmla="*/ 0 w 207"/>
                  <a:gd name="T5" fmla="*/ 15 h 161"/>
                  <a:gd name="T6" fmla="*/ 24 w 207"/>
                  <a:gd name="T7" fmla="*/ 0 h 161"/>
                  <a:gd name="T8" fmla="*/ 44 w 207"/>
                  <a:gd name="T9" fmla="*/ 4 h 161"/>
                  <a:gd name="T10" fmla="*/ 66 w 207"/>
                  <a:gd name="T11" fmla="*/ 4 h 161"/>
                  <a:gd name="T12" fmla="*/ 84 w 207"/>
                  <a:gd name="T13" fmla="*/ 7 h 161"/>
                  <a:gd name="T14" fmla="*/ 98 w 207"/>
                  <a:gd name="T15" fmla="*/ 6 h 161"/>
                  <a:gd name="T16" fmla="*/ 125 w 207"/>
                  <a:gd name="T17" fmla="*/ 7 h 161"/>
                  <a:gd name="T18" fmla="*/ 131 w 207"/>
                  <a:gd name="T19" fmla="*/ 15 h 161"/>
                  <a:gd name="T20" fmla="*/ 162 w 207"/>
                  <a:gd name="T21" fmla="*/ 24 h 161"/>
                  <a:gd name="T22" fmla="*/ 168 w 207"/>
                  <a:gd name="T23" fmla="*/ 20 h 161"/>
                  <a:gd name="T24" fmla="*/ 187 w 207"/>
                  <a:gd name="T25" fmla="*/ 29 h 161"/>
                  <a:gd name="T26" fmla="*/ 206 w 207"/>
                  <a:gd name="T27" fmla="*/ 27 h 161"/>
                  <a:gd name="T28" fmla="*/ 207 w 207"/>
                  <a:gd name="T29" fmla="*/ 38 h 161"/>
                  <a:gd name="T30" fmla="*/ 191 w 207"/>
                  <a:gd name="T31" fmla="*/ 52 h 161"/>
                  <a:gd name="T32" fmla="*/ 170 w 207"/>
                  <a:gd name="T33" fmla="*/ 57 h 161"/>
                  <a:gd name="T34" fmla="*/ 169 w 207"/>
                  <a:gd name="T35" fmla="*/ 63 h 161"/>
                  <a:gd name="T36" fmla="*/ 158 w 207"/>
                  <a:gd name="T37" fmla="*/ 75 h 161"/>
                  <a:gd name="T38" fmla="*/ 152 w 207"/>
                  <a:gd name="T39" fmla="*/ 92 h 161"/>
                  <a:gd name="T40" fmla="*/ 158 w 207"/>
                  <a:gd name="T41" fmla="*/ 103 h 161"/>
                  <a:gd name="T42" fmla="*/ 148 w 207"/>
                  <a:gd name="T43" fmla="*/ 113 h 161"/>
                  <a:gd name="T44" fmla="*/ 145 w 207"/>
                  <a:gd name="T45" fmla="*/ 126 h 161"/>
                  <a:gd name="T46" fmla="*/ 132 w 207"/>
                  <a:gd name="T47" fmla="*/ 130 h 161"/>
                  <a:gd name="T48" fmla="*/ 119 w 207"/>
                  <a:gd name="T49" fmla="*/ 146 h 161"/>
                  <a:gd name="T50" fmla="*/ 98 w 207"/>
                  <a:gd name="T51" fmla="*/ 146 h 161"/>
                  <a:gd name="T52" fmla="*/ 81 w 207"/>
                  <a:gd name="T53" fmla="*/ 146 h 161"/>
                  <a:gd name="T54" fmla="*/ 70 w 207"/>
                  <a:gd name="T55" fmla="*/ 153 h 161"/>
                  <a:gd name="T56" fmla="*/ 64 w 207"/>
                  <a:gd name="T57" fmla="*/ 161 h 161"/>
                  <a:gd name="T58" fmla="*/ 55 w 207"/>
                  <a:gd name="T59" fmla="*/ 159 h 161"/>
                  <a:gd name="T60" fmla="*/ 49 w 207"/>
                  <a:gd name="T61" fmla="*/ 152 h 161"/>
                  <a:gd name="T62" fmla="*/ 44 w 207"/>
                  <a:gd name="T63" fmla="*/ 140 h 161"/>
                  <a:gd name="T64" fmla="*/ 29 w 207"/>
                  <a:gd name="T65" fmla="*/ 137 h 161"/>
                  <a:gd name="T66" fmla="*/ 27 w 207"/>
                  <a:gd name="T67" fmla="*/ 130 h 161"/>
                  <a:gd name="T68" fmla="*/ 34 w 207"/>
                  <a:gd name="T69" fmla="*/ 123 h 161"/>
                  <a:gd name="T70" fmla="*/ 36 w 207"/>
                  <a:gd name="T71" fmla="*/ 117 h 161"/>
                  <a:gd name="T72" fmla="*/ 31 w 207"/>
                  <a:gd name="T73" fmla="*/ 111 h 161"/>
                  <a:gd name="T74" fmla="*/ 36 w 207"/>
                  <a:gd name="T75" fmla="*/ 98 h 161"/>
                  <a:gd name="T76" fmla="*/ 29 w 207"/>
                  <a:gd name="T77" fmla="*/ 85 h 161"/>
                  <a:gd name="T78" fmla="*/ 37 w 207"/>
                  <a:gd name="T79" fmla="*/ 83 h 161"/>
                  <a:gd name="T80" fmla="*/ 37 w 207"/>
                  <a:gd name="T81" fmla="*/ 74 h 161"/>
                  <a:gd name="T82" fmla="*/ 40 w 207"/>
                  <a:gd name="T83" fmla="*/ 71 h 161"/>
                  <a:gd name="T84" fmla="*/ 41 w 207"/>
                  <a:gd name="T85" fmla="*/ 55 h 161"/>
                  <a:gd name="T86" fmla="*/ 49 w 207"/>
                  <a:gd name="T87" fmla="*/ 49 h 161"/>
                  <a:gd name="T88" fmla="*/ 44 w 207"/>
                  <a:gd name="T89" fmla="*/ 39 h 161"/>
                  <a:gd name="T90" fmla="*/ 35 w 207"/>
                  <a:gd name="T91" fmla="*/ 38 h 161"/>
                  <a:gd name="T92" fmla="*/ 32 w 207"/>
                  <a:gd name="T93" fmla="*/ 40 h 161"/>
                  <a:gd name="T94" fmla="*/ 22 w 207"/>
                  <a:gd name="T95" fmla="*/ 40 h 161"/>
                  <a:gd name="T96" fmla="*/ 18 w 207"/>
                  <a:gd name="T97" fmla="*/ 30 h 161"/>
                  <a:gd name="T98" fmla="*/ 11 w 207"/>
                  <a:gd name="T99" fmla="*/ 33 h 161"/>
                  <a:gd name="T100" fmla="*/ 5 w 207"/>
                  <a:gd name="T101" fmla="*/ 39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07" h="161">
                    <a:moveTo>
                      <a:pt x="5" y="39"/>
                    </a:moveTo>
                    <a:lnTo>
                      <a:pt x="6" y="24"/>
                    </a:lnTo>
                    <a:lnTo>
                      <a:pt x="0" y="15"/>
                    </a:lnTo>
                    <a:lnTo>
                      <a:pt x="24" y="0"/>
                    </a:lnTo>
                    <a:lnTo>
                      <a:pt x="44" y="4"/>
                    </a:lnTo>
                    <a:lnTo>
                      <a:pt x="66" y="4"/>
                    </a:lnTo>
                    <a:lnTo>
                      <a:pt x="84" y="7"/>
                    </a:lnTo>
                    <a:lnTo>
                      <a:pt x="98" y="6"/>
                    </a:lnTo>
                    <a:lnTo>
                      <a:pt x="125" y="7"/>
                    </a:lnTo>
                    <a:lnTo>
                      <a:pt x="131" y="15"/>
                    </a:lnTo>
                    <a:lnTo>
                      <a:pt x="162" y="24"/>
                    </a:lnTo>
                    <a:lnTo>
                      <a:pt x="168" y="20"/>
                    </a:lnTo>
                    <a:lnTo>
                      <a:pt x="187" y="29"/>
                    </a:lnTo>
                    <a:lnTo>
                      <a:pt x="206" y="27"/>
                    </a:lnTo>
                    <a:lnTo>
                      <a:pt x="207" y="38"/>
                    </a:lnTo>
                    <a:lnTo>
                      <a:pt x="191" y="52"/>
                    </a:lnTo>
                    <a:lnTo>
                      <a:pt x="170" y="57"/>
                    </a:lnTo>
                    <a:lnTo>
                      <a:pt x="169" y="63"/>
                    </a:lnTo>
                    <a:lnTo>
                      <a:pt x="158" y="75"/>
                    </a:lnTo>
                    <a:lnTo>
                      <a:pt x="152" y="92"/>
                    </a:lnTo>
                    <a:lnTo>
                      <a:pt x="158" y="103"/>
                    </a:lnTo>
                    <a:lnTo>
                      <a:pt x="148" y="113"/>
                    </a:lnTo>
                    <a:lnTo>
                      <a:pt x="145" y="126"/>
                    </a:lnTo>
                    <a:lnTo>
                      <a:pt x="132" y="130"/>
                    </a:lnTo>
                    <a:lnTo>
                      <a:pt x="119" y="146"/>
                    </a:lnTo>
                    <a:lnTo>
                      <a:pt x="98" y="146"/>
                    </a:lnTo>
                    <a:lnTo>
                      <a:pt x="81" y="146"/>
                    </a:lnTo>
                    <a:lnTo>
                      <a:pt x="70" y="153"/>
                    </a:lnTo>
                    <a:lnTo>
                      <a:pt x="64" y="161"/>
                    </a:lnTo>
                    <a:lnTo>
                      <a:pt x="55" y="159"/>
                    </a:lnTo>
                    <a:lnTo>
                      <a:pt x="49" y="152"/>
                    </a:lnTo>
                    <a:lnTo>
                      <a:pt x="44" y="140"/>
                    </a:lnTo>
                    <a:lnTo>
                      <a:pt x="29" y="137"/>
                    </a:lnTo>
                    <a:lnTo>
                      <a:pt x="27" y="130"/>
                    </a:lnTo>
                    <a:lnTo>
                      <a:pt x="34" y="123"/>
                    </a:lnTo>
                    <a:lnTo>
                      <a:pt x="36" y="117"/>
                    </a:lnTo>
                    <a:lnTo>
                      <a:pt x="31" y="111"/>
                    </a:lnTo>
                    <a:lnTo>
                      <a:pt x="36" y="98"/>
                    </a:lnTo>
                    <a:lnTo>
                      <a:pt x="29" y="85"/>
                    </a:lnTo>
                    <a:lnTo>
                      <a:pt x="37" y="83"/>
                    </a:lnTo>
                    <a:lnTo>
                      <a:pt x="37" y="74"/>
                    </a:lnTo>
                    <a:lnTo>
                      <a:pt x="40" y="71"/>
                    </a:lnTo>
                    <a:lnTo>
                      <a:pt x="41" y="55"/>
                    </a:lnTo>
                    <a:lnTo>
                      <a:pt x="49" y="49"/>
                    </a:lnTo>
                    <a:lnTo>
                      <a:pt x="44" y="39"/>
                    </a:lnTo>
                    <a:lnTo>
                      <a:pt x="35" y="38"/>
                    </a:lnTo>
                    <a:lnTo>
                      <a:pt x="32" y="40"/>
                    </a:lnTo>
                    <a:lnTo>
                      <a:pt x="22" y="40"/>
                    </a:lnTo>
                    <a:lnTo>
                      <a:pt x="18" y="30"/>
                    </a:lnTo>
                    <a:lnTo>
                      <a:pt x="11" y="33"/>
                    </a:lnTo>
                    <a:lnTo>
                      <a:pt x="5" y="3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1" name="Freeform 61"/>
              <p:cNvSpPr>
                <a:spLocks/>
              </p:cNvSpPr>
              <p:nvPr/>
            </p:nvSpPr>
            <p:spPr bwMode="auto">
              <a:xfrm>
                <a:off x="4730750" y="1963737"/>
                <a:ext cx="112713" cy="66675"/>
              </a:xfrm>
              <a:custGeom>
                <a:avLst/>
                <a:gdLst>
                  <a:gd name="T0" fmla="*/ 19 w 71"/>
                  <a:gd name="T1" fmla="*/ 36 h 42"/>
                  <a:gd name="T2" fmla="*/ 19 w 71"/>
                  <a:gd name="T3" fmla="*/ 24 h 42"/>
                  <a:gd name="T4" fmla="*/ 14 w 71"/>
                  <a:gd name="T5" fmla="*/ 27 h 42"/>
                  <a:gd name="T6" fmla="*/ 3 w 71"/>
                  <a:gd name="T7" fmla="*/ 20 h 42"/>
                  <a:gd name="T8" fmla="*/ 0 w 71"/>
                  <a:gd name="T9" fmla="*/ 9 h 42"/>
                  <a:gd name="T10" fmla="*/ 18 w 71"/>
                  <a:gd name="T11" fmla="*/ 3 h 42"/>
                  <a:gd name="T12" fmla="*/ 36 w 71"/>
                  <a:gd name="T13" fmla="*/ 0 h 42"/>
                  <a:gd name="T14" fmla="*/ 53 w 71"/>
                  <a:gd name="T15" fmla="*/ 4 h 42"/>
                  <a:gd name="T16" fmla="*/ 68 w 71"/>
                  <a:gd name="T17" fmla="*/ 3 h 42"/>
                  <a:gd name="T18" fmla="*/ 71 w 71"/>
                  <a:gd name="T19" fmla="*/ 7 h 42"/>
                  <a:gd name="T20" fmla="*/ 62 w 71"/>
                  <a:gd name="T21" fmla="*/ 18 h 42"/>
                  <a:gd name="T22" fmla="*/ 70 w 71"/>
                  <a:gd name="T23" fmla="*/ 36 h 42"/>
                  <a:gd name="T24" fmla="*/ 65 w 71"/>
                  <a:gd name="T25" fmla="*/ 42 h 42"/>
                  <a:gd name="T26" fmla="*/ 53 w 71"/>
                  <a:gd name="T27" fmla="*/ 42 h 42"/>
                  <a:gd name="T28" fmla="*/ 38 w 71"/>
                  <a:gd name="T29" fmla="*/ 35 h 42"/>
                  <a:gd name="T30" fmla="*/ 31 w 71"/>
                  <a:gd name="T31" fmla="*/ 32 h 42"/>
                  <a:gd name="T32" fmla="*/ 19 w 71"/>
                  <a:gd name="T33" fmla="*/ 3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1" h="42">
                    <a:moveTo>
                      <a:pt x="19" y="36"/>
                    </a:moveTo>
                    <a:lnTo>
                      <a:pt x="19" y="24"/>
                    </a:lnTo>
                    <a:lnTo>
                      <a:pt x="14" y="27"/>
                    </a:lnTo>
                    <a:lnTo>
                      <a:pt x="3" y="20"/>
                    </a:lnTo>
                    <a:lnTo>
                      <a:pt x="0" y="9"/>
                    </a:lnTo>
                    <a:lnTo>
                      <a:pt x="18" y="3"/>
                    </a:lnTo>
                    <a:lnTo>
                      <a:pt x="36" y="0"/>
                    </a:lnTo>
                    <a:lnTo>
                      <a:pt x="53" y="4"/>
                    </a:lnTo>
                    <a:lnTo>
                      <a:pt x="68" y="3"/>
                    </a:lnTo>
                    <a:lnTo>
                      <a:pt x="71" y="7"/>
                    </a:lnTo>
                    <a:lnTo>
                      <a:pt x="62" y="18"/>
                    </a:lnTo>
                    <a:lnTo>
                      <a:pt x="70" y="36"/>
                    </a:lnTo>
                    <a:lnTo>
                      <a:pt x="65" y="42"/>
                    </a:lnTo>
                    <a:lnTo>
                      <a:pt x="53" y="42"/>
                    </a:lnTo>
                    <a:lnTo>
                      <a:pt x="38" y="35"/>
                    </a:lnTo>
                    <a:lnTo>
                      <a:pt x="31" y="32"/>
                    </a:lnTo>
                    <a:lnTo>
                      <a:pt x="19" y="3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2" name="Freeform 62"/>
              <p:cNvSpPr>
                <a:spLocks/>
              </p:cNvSpPr>
              <p:nvPr/>
            </p:nvSpPr>
            <p:spPr bwMode="auto">
              <a:xfrm>
                <a:off x="5140325" y="3416300"/>
                <a:ext cx="431800" cy="379413"/>
              </a:xfrm>
              <a:custGeom>
                <a:avLst/>
                <a:gdLst>
                  <a:gd name="T0" fmla="*/ 86 w 272"/>
                  <a:gd name="T1" fmla="*/ 0 h 239"/>
                  <a:gd name="T2" fmla="*/ 98 w 272"/>
                  <a:gd name="T3" fmla="*/ 9 h 239"/>
                  <a:gd name="T4" fmla="*/ 108 w 272"/>
                  <a:gd name="T5" fmla="*/ 4 h 239"/>
                  <a:gd name="T6" fmla="*/ 113 w 272"/>
                  <a:gd name="T7" fmla="*/ 8 h 239"/>
                  <a:gd name="T8" fmla="*/ 125 w 272"/>
                  <a:gd name="T9" fmla="*/ 9 h 239"/>
                  <a:gd name="T10" fmla="*/ 141 w 272"/>
                  <a:gd name="T11" fmla="*/ 17 h 239"/>
                  <a:gd name="T12" fmla="*/ 146 w 272"/>
                  <a:gd name="T13" fmla="*/ 24 h 239"/>
                  <a:gd name="T14" fmla="*/ 155 w 272"/>
                  <a:gd name="T15" fmla="*/ 31 h 239"/>
                  <a:gd name="T16" fmla="*/ 163 w 272"/>
                  <a:gd name="T17" fmla="*/ 43 h 239"/>
                  <a:gd name="T18" fmla="*/ 169 w 272"/>
                  <a:gd name="T19" fmla="*/ 50 h 239"/>
                  <a:gd name="T20" fmla="*/ 163 w 272"/>
                  <a:gd name="T21" fmla="*/ 59 h 239"/>
                  <a:gd name="T22" fmla="*/ 157 w 272"/>
                  <a:gd name="T23" fmla="*/ 69 h 239"/>
                  <a:gd name="T24" fmla="*/ 159 w 272"/>
                  <a:gd name="T25" fmla="*/ 75 h 239"/>
                  <a:gd name="T26" fmla="*/ 160 w 272"/>
                  <a:gd name="T27" fmla="*/ 81 h 239"/>
                  <a:gd name="T28" fmla="*/ 170 w 272"/>
                  <a:gd name="T29" fmla="*/ 81 h 239"/>
                  <a:gd name="T30" fmla="*/ 174 w 272"/>
                  <a:gd name="T31" fmla="*/ 80 h 239"/>
                  <a:gd name="T32" fmla="*/ 178 w 272"/>
                  <a:gd name="T33" fmla="*/ 83 h 239"/>
                  <a:gd name="T34" fmla="*/ 175 w 272"/>
                  <a:gd name="T35" fmla="*/ 91 h 239"/>
                  <a:gd name="T36" fmla="*/ 182 w 272"/>
                  <a:gd name="T37" fmla="*/ 102 h 239"/>
                  <a:gd name="T38" fmla="*/ 189 w 272"/>
                  <a:gd name="T39" fmla="*/ 112 h 239"/>
                  <a:gd name="T40" fmla="*/ 196 w 272"/>
                  <a:gd name="T41" fmla="*/ 119 h 239"/>
                  <a:gd name="T42" fmla="*/ 257 w 272"/>
                  <a:gd name="T43" fmla="*/ 144 h 239"/>
                  <a:gd name="T44" fmla="*/ 272 w 272"/>
                  <a:gd name="T45" fmla="*/ 144 h 239"/>
                  <a:gd name="T46" fmla="*/ 222 w 272"/>
                  <a:gd name="T47" fmla="*/ 207 h 239"/>
                  <a:gd name="T48" fmla="*/ 198 w 272"/>
                  <a:gd name="T49" fmla="*/ 207 h 239"/>
                  <a:gd name="T50" fmla="*/ 182 w 272"/>
                  <a:gd name="T51" fmla="*/ 222 h 239"/>
                  <a:gd name="T52" fmla="*/ 170 w 272"/>
                  <a:gd name="T53" fmla="*/ 222 h 239"/>
                  <a:gd name="T54" fmla="*/ 165 w 272"/>
                  <a:gd name="T55" fmla="*/ 229 h 239"/>
                  <a:gd name="T56" fmla="*/ 152 w 272"/>
                  <a:gd name="T57" fmla="*/ 229 h 239"/>
                  <a:gd name="T58" fmla="*/ 145 w 272"/>
                  <a:gd name="T59" fmla="*/ 222 h 239"/>
                  <a:gd name="T60" fmla="*/ 128 w 272"/>
                  <a:gd name="T61" fmla="*/ 231 h 239"/>
                  <a:gd name="T62" fmla="*/ 123 w 272"/>
                  <a:gd name="T63" fmla="*/ 239 h 239"/>
                  <a:gd name="T64" fmla="*/ 111 w 272"/>
                  <a:gd name="T65" fmla="*/ 238 h 239"/>
                  <a:gd name="T66" fmla="*/ 107 w 272"/>
                  <a:gd name="T67" fmla="*/ 235 h 239"/>
                  <a:gd name="T68" fmla="*/ 102 w 272"/>
                  <a:gd name="T69" fmla="*/ 236 h 239"/>
                  <a:gd name="T70" fmla="*/ 96 w 272"/>
                  <a:gd name="T71" fmla="*/ 236 h 239"/>
                  <a:gd name="T72" fmla="*/ 73 w 272"/>
                  <a:gd name="T73" fmla="*/ 218 h 239"/>
                  <a:gd name="T74" fmla="*/ 60 w 272"/>
                  <a:gd name="T75" fmla="*/ 218 h 239"/>
                  <a:gd name="T76" fmla="*/ 54 w 272"/>
                  <a:gd name="T77" fmla="*/ 211 h 239"/>
                  <a:gd name="T78" fmla="*/ 54 w 272"/>
                  <a:gd name="T79" fmla="*/ 200 h 239"/>
                  <a:gd name="T80" fmla="*/ 44 w 272"/>
                  <a:gd name="T81" fmla="*/ 196 h 239"/>
                  <a:gd name="T82" fmla="*/ 33 w 272"/>
                  <a:gd name="T83" fmla="*/ 173 h 239"/>
                  <a:gd name="T84" fmla="*/ 25 w 272"/>
                  <a:gd name="T85" fmla="*/ 169 h 239"/>
                  <a:gd name="T86" fmla="*/ 21 w 272"/>
                  <a:gd name="T87" fmla="*/ 160 h 239"/>
                  <a:gd name="T88" fmla="*/ 12 w 272"/>
                  <a:gd name="T89" fmla="*/ 150 h 239"/>
                  <a:gd name="T90" fmla="*/ 0 w 272"/>
                  <a:gd name="T91" fmla="*/ 149 h 239"/>
                  <a:gd name="T92" fmla="*/ 6 w 272"/>
                  <a:gd name="T93" fmla="*/ 137 h 239"/>
                  <a:gd name="T94" fmla="*/ 16 w 272"/>
                  <a:gd name="T95" fmla="*/ 136 h 239"/>
                  <a:gd name="T96" fmla="*/ 19 w 272"/>
                  <a:gd name="T97" fmla="*/ 130 h 239"/>
                  <a:gd name="T98" fmla="*/ 18 w 272"/>
                  <a:gd name="T99" fmla="*/ 111 h 239"/>
                  <a:gd name="T100" fmla="*/ 23 w 272"/>
                  <a:gd name="T101" fmla="*/ 89 h 239"/>
                  <a:gd name="T102" fmla="*/ 31 w 272"/>
                  <a:gd name="T103" fmla="*/ 84 h 239"/>
                  <a:gd name="T104" fmla="*/ 33 w 272"/>
                  <a:gd name="T105" fmla="*/ 75 h 239"/>
                  <a:gd name="T106" fmla="*/ 40 w 272"/>
                  <a:gd name="T107" fmla="*/ 59 h 239"/>
                  <a:gd name="T108" fmla="*/ 51 w 272"/>
                  <a:gd name="T109" fmla="*/ 49 h 239"/>
                  <a:gd name="T110" fmla="*/ 57 w 272"/>
                  <a:gd name="T111" fmla="*/ 28 h 239"/>
                  <a:gd name="T112" fmla="*/ 60 w 272"/>
                  <a:gd name="T113" fmla="*/ 11 h 239"/>
                  <a:gd name="T114" fmla="*/ 81 w 272"/>
                  <a:gd name="T115" fmla="*/ 15 h 239"/>
                  <a:gd name="T116" fmla="*/ 86 w 272"/>
                  <a:gd name="T117" fmla="*/ 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39">
                    <a:moveTo>
                      <a:pt x="86" y="0"/>
                    </a:moveTo>
                    <a:lnTo>
                      <a:pt x="98" y="9"/>
                    </a:lnTo>
                    <a:lnTo>
                      <a:pt x="108" y="4"/>
                    </a:lnTo>
                    <a:lnTo>
                      <a:pt x="113" y="8"/>
                    </a:lnTo>
                    <a:lnTo>
                      <a:pt x="125" y="9"/>
                    </a:lnTo>
                    <a:lnTo>
                      <a:pt x="141" y="17"/>
                    </a:lnTo>
                    <a:lnTo>
                      <a:pt x="146" y="24"/>
                    </a:lnTo>
                    <a:lnTo>
                      <a:pt x="155" y="31"/>
                    </a:lnTo>
                    <a:lnTo>
                      <a:pt x="163" y="43"/>
                    </a:lnTo>
                    <a:lnTo>
                      <a:pt x="169" y="50"/>
                    </a:lnTo>
                    <a:lnTo>
                      <a:pt x="163" y="59"/>
                    </a:lnTo>
                    <a:lnTo>
                      <a:pt x="157" y="69"/>
                    </a:lnTo>
                    <a:lnTo>
                      <a:pt x="159" y="75"/>
                    </a:lnTo>
                    <a:lnTo>
                      <a:pt x="160" y="81"/>
                    </a:lnTo>
                    <a:lnTo>
                      <a:pt x="170" y="81"/>
                    </a:lnTo>
                    <a:lnTo>
                      <a:pt x="174" y="80"/>
                    </a:lnTo>
                    <a:lnTo>
                      <a:pt x="178" y="83"/>
                    </a:lnTo>
                    <a:lnTo>
                      <a:pt x="175" y="91"/>
                    </a:lnTo>
                    <a:lnTo>
                      <a:pt x="182" y="102"/>
                    </a:lnTo>
                    <a:lnTo>
                      <a:pt x="189" y="112"/>
                    </a:lnTo>
                    <a:lnTo>
                      <a:pt x="196" y="119"/>
                    </a:lnTo>
                    <a:lnTo>
                      <a:pt x="257" y="144"/>
                    </a:lnTo>
                    <a:lnTo>
                      <a:pt x="272" y="144"/>
                    </a:lnTo>
                    <a:lnTo>
                      <a:pt x="222" y="207"/>
                    </a:lnTo>
                    <a:lnTo>
                      <a:pt x="198" y="207"/>
                    </a:lnTo>
                    <a:lnTo>
                      <a:pt x="182" y="222"/>
                    </a:lnTo>
                    <a:lnTo>
                      <a:pt x="170" y="222"/>
                    </a:lnTo>
                    <a:lnTo>
                      <a:pt x="165" y="229"/>
                    </a:lnTo>
                    <a:lnTo>
                      <a:pt x="152" y="229"/>
                    </a:lnTo>
                    <a:lnTo>
                      <a:pt x="145" y="222"/>
                    </a:lnTo>
                    <a:lnTo>
                      <a:pt x="128" y="231"/>
                    </a:lnTo>
                    <a:lnTo>
                      <a:pt x="123" y="239"/>
                    </a:lnTo>
                    <a:lnTo>
                      <a:pt x="111" y="238"/>
                    </a:lnTo>
                    <a:lnTo>
                      <a:pt x="107" y="235"/>
                    </a:lnTo>
                    <a:lnTo>
                      <a:pt x="102" y="236"/>
                    </a:lnTo>
                    <a:lnTo>
                      <a:pt x="96" y="236"/>
                    </a:lnTo>
                    <a:lnTo>
                      <a:pt x="73" y="218"/>
                    </a:lnTo>
                    <a:lnTo>
                      <a:pt x="60" y="218"/>
                    </a:lnTo>
                    <a:lnTo>
                      <a:pt x="54" y="211"/>
                    </a:lnTo>
                    <a:lnTo>
                      <a:pt x="54" y="200"/>
                    </a:lnTo>
                    <a:lnTo>
                      <a:pt x="44" y="196"/>
                    </a:lnTo>
                    <a:lnTo>
                      <a:pt x="33" y="173"/>
                    </a:lnTo>
                    <a:lnTo>
                      <a:pt x="25" y="169"/>
                    </a:lnTo>
                    <a:lnTo>
                      <a:pt x="21" y="160"/>
                    </a:lnTo>
                    <a:lnTo>
                      <a:pt x="12" y="150"/>
                    </a:lnTo>
                    <a:lnTo>
                      <a:pt x="0" y="149"/>
                    </a:lnTo>
                    <a:lnTo>
                      <a:pt x="6" y="137"/>
                    </a:lnTo>
                    <a:lnTo>
                      <a:pt x="16" y="136"/>
                    </a:lnTo>
                    <a:lnTo>
                      <a:pt x="19" y="130"/>
                    </a:lnTo>
                    <a:lnTo>
                      <a:pt x="18" y="111"/>
                    </a:lnTo>
                    <a:lnTo>
                      <a:pt x="23" y="89"/>
                    </a:lnTo>
                    <a:lnTo>
                      <a:pt x="31" y="84"/>
                    </a:lnTo>
                    <a:lnTo>
                      <a:pt x="33" y="75"/>
                    </a:lnTo>
                    <a:lnTo>
                      <a:pt x="40" y="59"/>
                    </a:lnTo>
                    <a:lnTo>
                      <a:pt x="51" y="49"/>
                    </a:lnTo>
                    <a:lnTo>
                      <a:pt x="57" y="28"/>
                    </a:lnTo>
                    <a:lnTo>
                      <a:pt x="60" y="11"/>
                    </a:lnTo>
                    <a:lnTo>
                      <a:pt x="81" y="15"/>
                    </a:lnTo>
                    <a:lnTo>
                      <a:pt x="86" y="0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3" name="Freeform 63"/>
              <p:cNvSpPr>
                <a:spLocks/>
              </p:cNvSpPr>
              <p:nvPr/>
            </p:nvSpPr>
            <p:spPr bwMode="auto">
              <a:xfrm>
                <a:off x="4618037" y="1657350"/>
                <a:ext cx="279400" cy="300038"/>
              </a:xfrm>
              <a:custGeom>
                <a:avLst/>
                <a:gdLst>
                  <a:gd name="T0" fmla="*/ 106 w 176"/>
                  <a:gd name="T1" fmla="*/ 19 h 189"/>
                  <a:gd name="T2" fmla="*/ 107 w 176"/>
                  <a:gd name="T3" fmla="*/ 31 h 189"/>
                  <a:gd name="T4" fmla="*/ 131 w 176"/>
                  <a:gd name="T5" fmla="*/ 43 h 189"/>
                  <a:gd name="T6" fmla="*/ 122 w 176"/>
                  <a:gd name="T7" fmla="*/ 56 h 189"/>
                  <a:gd name="T8" fmla="*/ 144 w 176"/>
                  <a:gd name="T9" fmla="*/ 77 h 189"/>
                  <a:gd name="T10" fmla="*/ 138 w 176"/>
                  <a:gd name="T11" fmla="*/ 93 h 189"/>
                  <a:gd name="T12" fmla="*/ 154 w 176"/>
                  <a:gd name="T13" fmla="*/ 106 h 189"/>
                  <a:gd name="T14" fmla="*/ 151 w 176"/>
                  <a:gd name="T15" fmla="*/ 119 h 189"/>
                  <a:gd name="T16" fmla="*/ 176 w 176"/>
                  <a:gd name="T17" fmla="*/ 132 h 189"/>
                  <a:gd name="T18" fmla="*/ 173 w 176"/>
                  <a:gd name="T19" fmla="*/ 141 h 189"/>
                  <a:gd name="T20" fmla="*/ 162 w 176"/>
                  <a:gd name="T21" fmla="*/ 152 h 189"/>
                  <a:gd name="T22" fmla="*/ 136 w 176"/>
                  <a:gd name="T23" fmla="*/ 176 h 189"/>
                  <a:gd name="T24" fmla="*/ 110 w 176"/>
                  <a:gd name="T25" fmla="*/ 178 h 189"/>
                  <a:gd name="T26" fmla="*/ 85 w 176"/>
                  <a:gd name="T27" fmla="*/ 185 h 189"/>
                  <a:gd name="T28" fmla="*/ 62 w 176"/>
                  <a:gd name="T29" fmla="*/ 189 h 189"/>
                  <a:gd name="T30" fmla="*/ 52 w 176"/>
                  <a:gd name="T31" fmla="*/ 179 h 189"/>
                  <a:gd name="T32" fmla="*/ 37 w 176"/>
                  <a:gd name="T33" fmla="*/ 172 h 189"/>
                  <a:gd name="T34" fmla="*/ 37 w 176"/>
                  <a:gd name="T35" fmla="*/ 153 h 189"/>
                  <a:gd name="T36" fmla="*/ 27 w 176"/>
                  <a:gd name="T37" fmla="*/ 136 h 189"/>
                  <a:gd name="T38" fmla="*/ 32 w 176"/>
                  <a:gd name="T39" fmla="*/ 125 h 189"/>
                  <a:gd name="T40" fmla="*/ 43 w 176"/>
                  <a:gd name="T41" fmla="*/ 114 h 189"/>
                  <a:gd name="T42" fmla="*/ 71 w 176"/>
                  <a:gd name="T43" fmla="*/ 93 h 189"/>
                  <a:gd name="T44" fmla="*/ 80 w 176"/>
                  <a:gd name="T45" fmla="*/ 90 h 189"/>
                  <a:gd name="T46" fmla="*/ 76 w 176"/>
                  <a:gd name="T47" fmla="*/ 82 h 189"/>
                  <a:gd name="T48" fmla="*/ 55 w 176"/>
                  <a:gd name="T49" fmla="*/ 73 h 189"/>
                  <a:gd name="T50" fmla="*/ 49 w 176"/>
                  <a:gd name="T51" fmla="*/ 66 h 189"/>
                  <a:gd name="T52" fmla="*/ 43 w 176"/>
                  <a:gd name="T53" fmla="*/ 39 h 189"/>
                  <a:gd name="T54" fmla="*/ 20 w 176"/>
                  <a:gd name="T55" fmla="*/ 27 h 189"/>
                  <a:gd name="T56" fmla="*/ 0 w 176"/>
                  <a:gd name="T57" fmla="*/ 18 h 189"/>
                  <a:gd name="T58" fmla="*/ 7 w 176"/>
                  <a:gd name="T59" fmla="*/ 13 h 189"/>
                  <a:gd name="T60" fmla="*/ 24 w 176"/>
                  <a:gd name="T61" fmla="*/ 22 h 189"/>
                  <a:gd name="T62" fmla="*/ 41 w 176"/>
                  <a:gd name="T63" fmla="*/ 22 h 189"/>
                  <a:gd name="T64" fmla="*/ 56 w 176"/>
                  <a:gd name="T65" fmla="*/ 26 h 189"/>
                  <a:gd name="T66" fmla="*/ 67 w 176"/>
                  <a:gd name="T67" fmla="*/ 18 h 189"/>
                  <a:gd name="T68" fmla="*/ 71 w 176"/>
                  <a:gd name="T69" fmla="*/ 5 h 189"/>
                  <a:gd name="T70" fmla="*/ 90 w 176"/>
                  <a:gd name="T71" fmla="*/ 0 h 189"/>
                  <a:gd name="T72" fmla="*/ 108 w 176"/>
                  <a:gd name="T73" fmla="*/ 6 h 189"/>
                  <a:gd name="T74" fmla="*/ 106 w 176"/>
                  <a:gd name="T75" fmla="*/ 19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6" h="189">
                    <a:moveTo>
                      <a:pt x="106" y="19"/>
                    </a:moveTo>
                    <a:lnTo>
                      <a:pt x="107" y="31"/>
                    </a:lnTo>
                    <a:lnTo>
                      <a:pt x="131" y="43"/>
                    </a:lnTo>
                    <a:lnTo>
                      <a:pt x="122" y="56"/>
                    </a:lnTo>
                    <a:lnTo>
                      <a:pt x="144" y="77"/>
                    </a:lnTo>
                    <a:lnTo>
                      <a:pt x="138" y="93"/>
                    </a:lnTo>
                    <a:lnTo>
                      <a:pt x="154" y="106"/>
                    </a:lnTo>
                    <a:lnTo>
                      <a:pt x="151" y="119"/>
                    </a:lnTo>
                    <a:lnTo>
                      <a:pt x="176" y="132"/>
                    </a:lnTo>
                    <a:lnTo>
                      <a:pt x="173" y="141"/>
                    </a:lnTo>
                    <a:lnTo>
                      <a:pt x="162" y="152"/>
                    </a:lnTo>
                    <a:lnTo>
                      <a:pt x="136" y="176"/>
                    </a:lnTo>
                    <a:lnTo>
                      <a:pt x="110" y="178"/>
                    </a:lnTo>
                    <a:lnTo>
                      <a:pt x="85" y="185"/>
                    </a:lnTo>
                    <a:lnTo>
                      <a:pt x="62" y="189"/>
                    </a:lnTo>
                    <a:lnTo>
                      <a:pt x="52" y="179"/>
                    </a:lnTo>
                    <a:lnTo>
                      <a:pt x="37" y="172"/>
                    </a:lnTo>
                    <a:lnTo>
                      <a:pt x="37" y="153"/>
                    </a:lnTo>
                    <a:lnTo>
                      <a:pt x="27" y="136"/>
                    </a:lnTo>
                    <a:lnTo>
                      <a:pt x="32" y="125"/>
                    </a:lnTo>
                    <a:lnTo>
                      <a:pt x="43" y="114"/>
                    </a:lnTo>
                    <a:lnTo>
                      <a:pt x="71" y="93"/>
                    </a:lnTo>
                    <a:lnTo>
                      <a:pt x="80" y="90"/>
                    </a:lnTo>
                    <a:lnTo>
                      <a:pt x="76" y="82"/>
                    </a:lnTo>
                    <a:lnTo>
                      <a:pt x="55" y="73"/>
                    </a:lnTo>
                    <a:lnTo>
                      <a:pt x="49" y="66"/>
                    </a:lnTo>
                    <a:lnTo>
                      <a:pt x="43" y="39"/>
                    </a:lnTo>
                    <a:lnTo>
                      <a:pt x="20" y="27"/>
                    </a:lnTo>
                    <a:lnTo>
                      <a:pt x="0" y="18"/>
                    </a:lnTo>
                    <a:lnTo>
                      <a:pt x="7" y="13"/>
                    </a:lnTo>
                    <a:lnTo>
                      <a:pt x="24" y="22"/>
                    </a:lnTo>
                    <a:lnTo>
                      <a:pt x="41" y="22"/>
                    </a:lnTo>
                    <a:lnTo>
                      <a:pt x="56" y="26"/>
                    </a:lnTo>
                    <a:lnTo>
                      <a:pt x="67" y="18"/>
                    </a:lnTo>
                    <a:lnTo>
                      <a:pt x="71" y="5"/>
                    </a:lnTo>
                    <a:lnTo>
                      <a:pt x="90" y="0"/>
                    </a:lnTo>
                    <a:lnTo>
                      <a:pt x="108" y="6"/>
                    </a:lnTo>
                    <a:lnTo>
                      <a:pt x="106" y="1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4" name="Freeform 64"/>
              <p:cNvSpPr>
                <a:spLocks/>
              </p:cNvSpPr>
              <p:nvPr/>
            </p:nvSpPr>
            <p:spPr bwMode="auto">
              <a:xfrm>
                <a:off x="2651125" y="5586413"/>
                <a:ext cx="84138" cy="38100"/>
              </a:xfrm>
              <a:custGeom>
                <a:avLst/>
                <a:gdLst>
                  <a:gd name="T0" fmla="*/ 0 w 53"/>
                  <a:gd name="T1" fmla="*/ 15 h 24"/>
                  <a:gd name="T2" fmla="*/ 15 w 53"/>
                  <a:gd name="T3" fmla="*/ 3 h 24"/>
                  <a:gd name="T4" fmla="*/ 30 w 53"/>
                  <a:gd name="T5" fmla="*/ 8 h 24"/>
                  <a:gd name="T6" fmla="*/ 37 w 53"/>
                  <a:gd name="T7" fmla="*/ 0 h 24"/>
                  <a:gd name="T8" fmla="*/ 53 w 53"/>
                  <a:gd name="T9" fmla="*/ 9 h 24"/>
                  <a:gd name="T10" fmla="*/ 50 w 53"/>
                  <a:gd name="T11" fmla="*/ 16 h 24"/>
                  <a:gd name="T12" fmla="*/ 31 w 53"/>
                  <a:gd name="T13" fmla="*/ 22 h 24"/>
                  <a:gd name="T14" fmla="*/ 21 w 53"/>
                  <a:gd name="T15" fmla="*/ 15 h 24"/>
                  <a:gd name="T16" fmla="*/ 11 w 53"/>
                  <a:gd name="T17" fmla="*/ 24 h 24"/>
                  <a:gd name="T18" fmla="*/ 0 w 53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24">
                    <a:moveTo>
                      <a:pt x="0" y="15"/>
                    </a:moveTo>
                    <a:lnTo>
                      <a:pt x="15" y="3"/>
                    </a:lnTo>
                    <a:lnTo>
                      <a:pt x="30" y="8"/>
                    </a:lnTo>
                    <a:lnTo>
                      <a:pt x="37" y="0"/>
                    </a:lnTo>
                    <a:lnTo>
                      <a:pt x="53" y="9"/>
                    </a:lnTo>
                    <a:lnTo>
                      <a:pt x="50" y="16"/>
                    </a:lnTo>
                    <a:lnTo>
                      <a:pt x="31" y="22"/>
                    </a:lnTo>
                    <a:lnTo>
                      <a:pt x="21" y="15"/>
                    </a:lnTo>
                    <a:lnTo>
                      <a:pt x="11" y="24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5" name="Freeform 65"/>
              <p:cNvSpPr>
                <a:spLocks/>
              </p:cNvSpPr>
              <p:nvPr/>
            </p:nvSpPr>
            <p:spPr bwMode="auto">
              <a:xfrm>
                <a:off x="2592387" y="3719513"/>
                <a:ext cx="84138" cy="122238"/>
              </a:xfrm>
              <a:custGeom>
                <a:avLst/>
                <a:gdLst>
                  <a:gd name="T0" fmla="*/ 36 w 53"/>
                  <a:gd name="T1" fmla="*/ 67 h 77"/>
                  <a:gd name="T2" fmla="*/ 29 w 53"/>
                  <a:gd name="T3" fmla="*/ 75 h 77"/>
                  <a:gd name="T4" fmla="*/ 20 w 53"/>
                  <a:gd name="T5" fmla="*/ 77 h 77"/>
                  <a:gd name="T6" fmla="*/ 18 w 53"/>
                  <a:gd name="T7" fmla="*/ 71 h 77"/>
                  <a:gd name="T8" fmla="*/ 13 w 53"/>
                  <a:gd name="T9" fmla="*/ 70 h 77"/>
                  <a:gd name="T10" fmla="*/ 8 w 53"/>
                  <a:gd name="T11" fmla="*/ 76 h 77"/>
                  <a:gd name="T12" fmla="*/ 0 w 53"/>
                  <a:gd name="T13" fmla="*/ 71 h 77"/>
                  <a:gd name="T14" fmla="*/ 4 w 53"/>
                  <a:gd name="T15" fmla="*/ 62 h 77"/>
                  <a:gd name="T16" fmla="*/ 6 w 53"/>
                  <a:gd name="T17" fmla="*/ 53 h 77"/>
                  <a:gd name="T18" fmla="*/ 10 w 53"/>
                  <a:gd name="T19" fmla="*/ 44 h 77"/>
                  <a:gd name="T20" fmla="*/ 2 w 53"/>
                  <a:gd name="T21" fmla="*/ 32 h 77"/>
                  <a:gd name="T22" fmla="*/ 1 w 53"/>
                  <a:gd name="T23" fmla="*/ 18 h 77"/>
                  <a:gd name="T24" fmla="*/ 11 w 53"/>
                  <a:gd name="T25" fmla="*/ 0 h 77"/>
                  <a:gd name="T26" fmla="*/ 17 w 53"/>
                  <a:gd name="T27" fmla="*/ 2 h 77"/>
                  <a:gd name="T28" fmla="*/ 31 w 53"/>
                  <a:gd name="T29" fmla="*/ 7 h 77"/>
                  <a:gd name="T30" fmla="*/ 50 w 53"/>
                  <a:gd name="T31" fmla="*/ 25 h 77"/>
                  <a:gd name="T32" fmla="*/ 53 w 53"/>
                  <a:gd name="T33" fmla="*/ 33 h 77"/>
                  <a:gd name="T34" fmla="*/ 42 w 53"/>
                  <a:gd name="T35" fmla="*/ 52 h 77"/>
                  <a:gd name="T36" fmla="*/ 36 w 53"/>
                  <a:gd name="T37" fmla="*/ 67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3" h="77">
                    <a:moveTo>
                      <a:pt x="36" y="67"/>
                    </a:moveTo>
                    <a:lnTo>
                      <a:pt x="29" y="75"/>
                    </a:lnTo>
                    <a:lnTo>
                      <a:pt x="20" y="77"/>
                    </a:lnTo>
                    <a:lnTo>
                      <a:pt x="18" y="71"/>
                    </a:lnTo>
                    <a:lnTo>
                      <a:pt x="13" y="70"/>
                    </a:lnTo>
                    <a:lnTo>
                      <a:pt x="8" y="76"/>
                    </a:lnTo>
                    <a:lnTo>
                      <a:pt x="0" y="71"/>
                    </a:lnTo>
                    <a:lnTo>
                      <a:pt x="4" y="62"/>
                    </a:lnTo>
                    <a:lnTo>
                      <a:pt x="6" y="53"/>
                    </a:lnTo>
                    <a:lnTo>
                      <a:pt x="10" y="44"/>
                    </a:lnTo>
                    <a:lnTo>
                      <a:pt x="2" y="32"/>
                    </a:lnTo>
                    <a:lnTo>
                      <a:pt x="1" y="18"/>
                    </a:lnTo>
                    <a:lnTo>
                      <a:pt x="11" y="0"/>
                    </a:lnTo>
                    <a:lnTo>
                      <a:pt x="17" y="2"/>
                    </a:lnTo>
                    <a:lnTo>
                      <a:pt x="31" y="7"/>
                    </a:lnTo>
                    <a:lnTo>
                      <a:pt x="50" y="25"/>
                    </a:lnTo>
                    <a:lnTo>
                      <a:pt x="53" y="33"/>
                    </a:lnTo>
                    <a:lnTo>
                      <a:pt x="42" y="52"/>
                    </a:lnTo>
                    <a:lnTo>
                      <a:pt x="36" y="6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6" name="Freeform 66"/>
              <p:cNvSpPr>
                <a:spLocks/>
              </p:cNvSpPr>
              <p:nvPr/>
            </p:nvSpPr>
            <p:spPr bwMode="auto">
              <a:xfrm>
                <a:off x="4408487" y="2493962"/>
                <a:ext cx="26988" cy="52388"/>
              </a:xfrm>
              <a:custGeom>
                <a:avLst/>
                <a:gdLst>
                  <a:gd name="T0" fmla="*/ 17 w 17"/>
                  <a:gd name="T1" fmla="*/ 17 h 33"/>
                  <a:gd name="T2" fmla="*/ 13 w 17"/>
                  <a:gd name="T3" fmla="*/ 33 h 33"/>
                  <a:gd name="T4" fmla="*/ 5 w 17"/>
                  <a:gd name="T5" fmla="*/ 29 h 33"/>
                  <a:gd name="T6" fmla="*/ 0 w 17"/>
                  <a:gd name="T7" fmla="*/ 15 h 33"/>
                  <a:gd name="T8" fmla="*/ 3 w 17"/>
                  <a:gd name="T9" fmla="*/ 7 h 33"/>
                  <a:gd name="T10" fmla="*/ 14 w 17"/>
                  <a:gd name="T11" fmla="*/ 0 h 33"/>
                  <a:gd name="T12" fmla="*/ 17 w 17"/>
                  <a:gd name="T13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33">
                    <a:moveTo>
                      <a:pt x="17" y="17"/>
                    </a:moveTo>
                    <a:lnTo>
                      <a:pt x="13" y="33"/>
                    </a:lnTo>
                    <a:lnTo>
                      <a:pt x="5" y="29"/>
                    </a:lnTo>
                    <a:lnTo>
                      <a:pt x="0" y="15"/>
                    </a:lnTo>
                    <a:lnTo>
                      <a:pt x="3" y="7"/>
                    </a:lnTo>
                    <a:lnTo>
                      <a:pt x="14" y="0"/>
                    </a:lnTo>
                    <a:lnTo>
                      <a:pt x="17" y="1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7" name="Freeform 67"/>
              <p:cNvSpPr>
                <a:spLocks/>
              </p:cNvSpPr>
              <p:nvPr/>
            </p:nvSpPr>
            <p:spPr bwMode="auto">
              <a:xfrm>
                <a:off x="4064000" y="2230437"/>
                <a:ext cx="323850" cy="284163"/>
              </a:xfrm>
              <a:custGeom>
                <a:avLst/>
                <a:gdLst>
                  <a:gd name="T0" fmla="*/ 131 w 204"/>
                  <a:gd name="T1" fmla="*/ 15 h 179"/>
                  <a:gd name="T2" fmla="*/ 143 w 204"/>
                  <a:gd name="T3" fmla="*/ 25 h 179"/>
                  <a:gd name="T4" fmla="*/ 151 w 204"/>
                  <a:gd name="T5" fmla="*/ 23 h 179"/>
                  <a:gd name="T6" fmla="*/ 165 w 204"/>
                  <a:gd name="T7" fmla="*/ 33 h 179"/>
                  <a:gd name="T8" fmla="*/ 169 w 204"/>
                  <a:gd name="T9" fmla="*/ 34 h 179"/>
                  <a:gd name="T10" fmla="*/ 173 w 204"/>
                  <a:gd name="T11" fmla="*/ 34 h 179"/>
                  <a:gd name="T12" fmla="*/ 181 w 204"/>
                  <a:gd name="T13" fmla="*/ 39 h 179"/>
                  <a:gd name="T14" fmla="*/ 204 w 204"/>
                  <a:gd name="T15" fmla="*/ 43 h 179"/>
                  <a:gd name="T16" fmla="*/ 197 w 204"/>
                  <a:gd name="T17" fmla="*/ 57 h 179"/>
                  <a:gd name="T18" fmla="*/ 195 w 204"/>
                  <a:gd name="T19" fmla="*/ 71 h 179"/>
                  <a:gd name="T20" fmla="*/ 191 w 204"/>
                  <a:gd name="T21" fmla="*/ 75 h 179"/>
                  <a:gd name="T22" fmla="*/ 184 w 204"/>
                  <a:gd name="T23" fmla="*/ 73 h 179"/>
                  <a:gd name="T24" fmla="*/ 184 w 204"/>
                  <a:gd name="T25" fmla="*/ 78 h 179"/>
                  <a:gd name="T26" fmla="*/ 173 w 204"/>
                  <a:gd name="T27" fmla="*/ 89 h 179"/>
                  <a:gd name="T28" fmla="*/ 173 w 204"/>
                  <a:gd name="T29" fmla="*/ 99 h 179"/>
                  <a:gd name="T30" fmla="*/ 181 w 204"/>
                  <a:gd name="T31" fmla="*/ 96 h 179"/>
                  <a:gd name="T32" fmla="*/ 186 w 204"/>
                  <a:gd name="T33" fmla="*/ 105 h 179"/>
                  <a:gd name="T34" fmla="*/ 186 w 204"/>
                  <a:gd name="T35" fmla="*/ 110 h 179"/>
                  <a:gd name="T36" fmla="*/ 191 w 204"/>
                  <a:gd name="T37" fmla="*/ 118 h 179"/>
                  <a:gd name="T38" fmla="*/ 186 w 204"/>
                  <a:gd name="T39" fmla="*/ 124 h 179"/>
                  <a:gd name="T40" fmla="*/ 190 w 204"/>
                  <a:gd name="T41" fmla="*/ 140 h 179"/>
                  <a:gd name="T42" fmla="*/ 199 w 204"/>
                  <a:gd name="T43" fmla="*/ 143 h 179"/>
                  <a:gd name="T44" fmla="*/ 198 w 204"/>
                  <a:gd name="T45" fmla="*/ 151 h 179"/>
                  <a:gd name="T46" fmla="*/ 183 w 204"/>
                  <a:gd name="T47" fmla="*/ 163 h 179"/>
                  <a:gd name="T48" fmla="*/ 150 w 204"/>
                  <a:gd name="T49" fmla="*/ 157 h 179"/>
                  <a:gd name="T50" fmla="*/ 126 w 204"/>
                  <a:gd name="T51" fmla="*/ 164 h 179"/>
                  <a:gd name="T52" fmla="*/ 124 w 204"/>
                  <a:gd name="T53" fmla="*/ 177 h 179"/>
                  <a:gd name="T54" fmla="*/ 105 w 204"/>
                  <a:gd name="T55" fmla="*/ 179 h 179"/>
                  <a:gd name="T56" fmla="*/ 86 w 204"/>
                  <a:gd name="T57" fmla="*/ 170 h 179"/>
                  <a:gd name="T58" fmla="*/ 80 w 204"/>
                  <a:gd name="T59" fmla="*/ 174 h 179"/>
                  <a:gd name="T60" fmla="*/ 49 w 204"/>
                  <a:gd name="T61" fmla="*/ 165 h 179"/>
                  <a:gd name="T62" fmla="*/ 43 w 204"/>
                  <a:gd name="T63" fmla="*/ 157 h 179"/>
                  <a:gd name="T64" fmla="*/ 51 w 204"/>
                  <a:gd name="T65" fmla="*/ 145 h 179"/>
                  <a:gd name="T66" fmla="*/ 55 w 204"/>
                  <a:gd name="T67" fmla="*/ 104 h 179"/>
                  <a:gd name="T68" fmla="*/ 38 w 204"/>
                  <a:gd name="T69" fmla="*/ 83 h 179"/>
                  <a:gd name="T70" fmla="*/ 26 w 204"/>
                  <a:gd name="T71" fmla="*/ 72 h 179"/>
                  <a:gd name="T72" fmla="*/ 2 w 204"/>
                  <a:gd name="T73" fmla="*/ 65 h 179"/>
                  <a:gd name="T74" fmla="*/ 0 w 204"/>
                  <a:gd name="T75" fmla="*/ 50 h 179"/>
                  <a:gd name="T76" fmla="*/ 21 w 204"/>
                  <a:gd name="T77" fmla="*/ 45 h 179"/>
                  <a:gd name="T78" fmla="*/ 48 w 204"/>
                  <a:gd name="T79" fmla="*/ 50 h 179"/>
                  <a:gd name="T80" fmla="*/ 44 w 204"/>
                  <a:gd name="T81" fmla="*/ 27 h 179"/>
                  <a:gd name="T82" fmla="*/ 58 w 204"/>
                  <a:gd name="T83" fmla="*/ 36 h 179"/>
                  <a:gd name="T84" fmla="*/ 96 w 204"/>
                  <a:gd name="T85" fmla="*/ 20 h 179"/>
                  <a:gd name="T86" fmla="*/ 100 w 204"/>
                  <a:gd name="T87" fmla="*/ 4 h 179"/>
                  <a:gd name="T88" fmla="*/ 114 w 204"/>
                  <a:gd name="T89" fmla="*/ 0 h 179"/>
                  <a:gd name="T90" fmla="*/ 117 w 204"/>
                  <a:gd name="T91" fmla="*/ 7 h 179"/>
                  <a:gd name="T92" fmla="*/ 124 w 204"/>
                  <a:gd name="T93" fmla="*/ 7 h 179"/>
                  <a:gd name="T94" fmla="*/ 131 w 204"/>
                  <a:gd name="T95" fmla="*/ 15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4" h="179">
                    <a:moveTo>
                      <a:pt x="131" y="15"/>
                    </a:moveTo>
                    <a:lnTo>
                      <a:pt x="143" y="25"/>
                    </a:lnTo>
                    <a:lnTo>
                      <a:pt x="151" y="23"/>
                    </a:lnTo>
                    <a:lnTo>
                      <a:pt x="165" y="33"/>
                    </a:lnTo>
                    <a:lnTo>
                      <a:pt x="169" y="34"/>
                    </a:lnTo>
                    <a:lnTo>
                      <a:pt x="173" y="34"/>
                    </a:lnTo>
                    <a:lnTo>
                      <a:pt x="181" y="39"/>
                    </a:lnTo>
                    <a:lnTo>
                      <a:pt x="204" y="43"/>
                    </a:lnTo>
                    <a:lnTo>
                      <a:pt x="197" y="57"/>
                    </a:lnTo>
                    <a:lnTo>
                      <a:pt x="195" y="71"/>
                    </a:lnTo>
                    <a:lnTo>
                      <a:pt x="191" y="75"/>
                    </a:lnTo>
                    <a:lnTo>
                      <a:pt x="184" y="73"/>
                    </a:lnTo>
                    <a:lnTo>
                      <a:pt x="184" y="78"/>
                    </a:lnTo>
                    <a:lnTo>
                      <a:pt x="173" y="89"/>
                    </a:lnTo>
                    <a:lnTo>
                      <a:pt x="173" y="99"/>
                    </a:lnTo>
                    <a:lnTo>
                      <a:pt x="181" y="96"/>
                    </a:lnTo>
                    <a:lnTo>
                      <a:pt x="186" y="105"/>
                    </a:lnTo>
                    <a:lnTo>
                      <a:pt x="186" y="110"/>
                    </a:lnTo>
                    <a:lnTo>
                      <a:pt x="191" y="118"/>
                    </a:lnTo>
                    <a:lnTo>
                      <a:pt x="186" y="124"/>
                    </a:lnTo>
                    <a:lnTo>
                      <a:pt x="190" y="140"/>
                    </a:lnTo>
                    <a:lnTo>
                      <a:pt x="199" y="143"/>
                    </a:lnTo>
                    <a:lnTo>
                      <a:pt x="198" y="151"/>
                    </a:lnTo>
                    <a:lnTo>
                      <a:pt x="183" y="163"/>
                    </a:lnTo>
                    <a:lnTo>
                      <a:pt x="150" y="157"/>
                    </a:lnTo>
                    <a:lnTo>
                      <a:pt x="126" y="164"/>
                    </a:lnTo>
                    <a:lnTo>
                      <a:pt x="124" y="177"/>
                    </a:lnTo>
                    <a:lnTo>
                      <a:pt x="105" y="179"/>
                    </a:lnTo>
                    <a:lnTo>
                      <a:pt x="86" y="170"/>
                    </a:lnTo>
                    <a:lnTo>
                      <a:pt x="80" y="174"/>
                    </a:lnTo>
                    <a:lnTo>
                      <a:pt x="49" y="165"/>
                    </a:lnTo>
                    <a:lnTo>
                      <a:pt x="43" y="157"/>
                    </a:lnTo>
                    <a:lnTo>
                      <a:pt x="51" y="145"/>
                    </a:lnTo>
                    <a:lnTo>
                      <a:pt x="55" y="104"/>
                    </a:lnTo>
                    <a:lnTo>
                      <a:pt x="38" y="83"/>
                    </a:lnTo>
                    <a:lnTo>
                      <a:pt x="26" y="72"/>
                    </a:lnTo>
                    <a:lnTo>
                      <a:pt x="2" y="65"/>
                    </a:lnTo>
                    <a:lnTo>
                      <a:pt x="0" y="50"/>
                    </a:lnTo>
                    <a:lnTo>
                      <a:pt x="21" y="45"/>
                    </a:lnTo>
                    <a:lnTo>
                      <a:pt x="48" y="50"/>
                    </a:lnTo>
                    <a:lnTo>
                      <a:pt x="44" y="27"/>
                    </a:lnTo>
                    <a:lnTo>
                      <a:pt x="58" y="36"/>
                    </a:lnTo>
                    <a:lnTo>
                      <a:pt x="96" y="20"/>
                    </a:lnTo>
                    <a:lnTo>
                      <a:pt x="100" y="4"/>
                    </a:lnTo>
                    <a:lnTo>
                      <a:pt x="114" y="0"/>
                    </a:lnTo>
                    <a:lnTo>
                      <a:pt x="117" y="7"/>
                    </a:lnTo>
                    <a:lnTo>
                      <a:pt x="124" y="7"/>
                    </a:lnTo>
                    <a:lnTo>
                      <a:pt x="131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8" name="Freeform 68"/>
              <p:cNvSpPr>
                <a:spLocks/>
              </p:cNvSpPr>
              <p:nvPr/>
            </p:nvSpPr>
            <p:spPr bwMode="auto">
              <a:xfrm>
                <a:off x="4438650" y="3832225"/>
                <a:ext cx="163513" cy="207963"/>
              </a:xfrm>
              <a:custGeom>
                <a:avLst/>
                <a:gdLst>
                  <a:gd name="T0" fmla="*/ 42 w 103"/>
                  <a:gd name="T1" fmla="*/ 131 h 131"/>
                  <a:gd name="T2" fmla="*/ 23 w 103"/>
                  <a:gd name="T3" fmla="*/ 110 h 131"/>
                  <a:gd name="T4" fmla="*/ 11 w 103"/>
                  <a:gd name="T5" fmla="*/ 93 h 131"/>
                  <a:gd name="T6" fmla="*/ 0 w 103"/>
                  <a:gd name="T7" fmla="*/ 71 h 131"/>
                  <a:gd name="T8" fmla="*/ 1 w 103"/>
                  <a:gd name="T9" fmla="*/ 65 h 131"/>
                  <a:gd name="T10" fmla="*/ 5 w 103"/>
                  <a:gd name="T11" fmla="*/ 58 h 131"/>
                  <a:gd name="T12" fmla="*/ 9 w 103"/>
                  <a:gd name="T13" fmla="*/ 43 h 131"/>
                  <a:gd name="T14" fmla="*/ 13 w 103"/>
                  <a:gd name="T15" fmla="*/ 27 h 131"/>
                  <a:gd name="T16" fmla="*/ 19 w 103"/>
                  <a:gd name="T17" fmla="*/ 26 h 131"/>
                  <a:gd name="T18" fmla="*/ 46 w 103"/>
                  <a:gd name="T19" fmla="*/ 26 h 131"/>
                  <a:gd name="T20" fmla="*/ 46 w 103"/>
                  <a:gd name="T21" fmla="*/ 1 h 131"/>
                  <a:gd name="T22" fmla="*/ 54 w 103"/>
                  <a:gd name="T23" fmla="*/ 0 h 131"/>
                  <a:gd name="T24" fmla="*/ 65 w 103"/>
                  <a:gd name="T25" fmla="*/ 3 h 131"/>
                  <a:gd name="T26" fmla="*/ 76 w 103"/>
                  <a:gd name="T27" fmla="*/ 0 h 131"/>
                  <a:gd name="T28" fmla="*/ 79 w 103"/>
                  <a:gd name="T29" fmla="*/ 1 h 131"/>
                  <a:gd name="T30" fmla="*/ 77 w 103"/>
                  <a:gd name="T31" fmla="*/ 10 h 131"/>
                  <a:gd name="T32" fmla="*/ 82 w 103"/>
                  <a:gd name="T33" fmla="*/ 21 h 131"/>
                  <a:gd name="T34" fmla="*/ 96 w 103"/>
                  <a:gd name="T35" fmla="*/ 19 h 131"/>
                  <a:gd name="T36" fmla="*/ 101 w 103"/>
                  <a:gd name="T37" fmla="*/ 24 h 131"/>
                  <a:gd name="T38" fmla="*/ 93 w 103"/>
                  <a:gd name="T39" fmla="*/ 48 h 131"/>
                  <a:gd name="T40" fmla="*/ 102 w 103"/>
                  <a:gd name="T41" fmla="*/ 60 h 131"/>
                  <a:gd name="T42" fmla="*/ 103 w 103"/>
                  <a:gd name="T43" fmla="*/ 76 h 131"/>
                  <a:gd name="T44" fmla="*/ 101 w 103"/>
                  <a:gd name="T45" fmla="*/ 90 h 131"/>
                  <a:gd name="T46" fmla="*/ 95 w 103"/>
                  <a:gd name="T47" fmla="*/ 100 h 131"/>
                  <a:gd name="T48" fmla="*/ 79 w 103"/>
                  <a:gd name="T49" fmla="*/ 99 h 131"/>
                  <a:gd name="T50" fmla="*/ 69 w 103"/>
                  <a:gd name="T51" fmla="*/ 89 h 131"/>
                  <a:gd name="T52" fmla="*/ 68 w 103"/>
                  <a:gd name="T53" fmla="*/ 98 h 131"/>
                  <a:gd name="T54" fmla="*/ 56 w 103"/>
                  <a:gd name="T55" fmla="*/ 101 h 131"/>
                  <a:gd name="T56" fmla="*/ 49 w 103"/>
                  <a:gd name="T57" fmla="*/ 106 h 131"/>
                  <a:gd name="T58" fmla="*/ 56 w 103"/>
                  <a:gd name="T59" fmla="*/ 120 h 131"/>
                  <a:gd name="T60" fmla="*/ 42 w 103"/>
                  <a:gd name="T61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3" h="131">
                    <a:moveTo>
                      <a:pt x="42" y="131"/>
                    </a:moveTo>
                    <a:lnTo>
                      <a:pt x="23" y="110"/>
                    </a:lnTo>
                    <a:lnTo>
                      <a:pt x="11" y="93"/>
                    </a:lnTo>
                    <a:lnTo>
                      <a:pt x="0" y="71"/>
                    </a:lnTo>
                    <a:lnTo>
                      <a:pt x="1" y="65"/>
                    </a:lnTo>
                    <a:lnTo>
                      <a:pt x="5" y="58"/>
                    </a:lnTo>
                    <a:lnTo>
                      <a:pt x="9" y="43"/>
                    </a:lnTo>
                    <a:lnTo>
                      <a:pt x="13" y="27"/>
                    </a:lnTo>
                    <a:lnTo>
                      <a:pt x="19" y="26"/>
                    </a:lnTo>
                    <a:lnTo>
                      <a:pt x="46" y="26"/>
                    </a:lnTo>
                    <a:lnTo>
                      <a:pt x="46" y="1"/>
                    </a:lnTo>
                    <a:lnTo>
                      <a:pt x="54" y="0"/>
                    </a:lnTo>
                    <a:lnTo>
                      <a:pt x="65" y="3"/>
                    </a:lnTo>
                    <a:lnTo>
                      <a:pt x="76" y="0"/>
                    </a:lnTo>
                    <a:lnTo>
                      <a:pt x="79" y="1"/>
                    </a:lnTo>
                    <a:lnTo>
                      <a:pt x="77" y="10"/>
                    </a:lnTo>
                    <a:lnTo>
                      <a:pt x="82" y="21"/>
                    </a:lnTo>
                    <a:lnTo>
                      <a:pt x="96" y="19"/>
                    </a:lnTo>
                    <a:lnTo>
                      <a:pt x="101" y="24"/>
                    </a:lnTo>
                    <a:lnTo>
                      <a:pt x="93" y="48"/>
                    </a:lnTo>
                    <a:lnTo>
                      <a:pt x="102" y="60"/>
                    </a:lnTo>
                    <a:lnTo>
                      <a:pt x="103" y="76"/>
                    </a:lnTo>
                    <a:lnTo>
                      <a:pt x="101" y="90"/>
                    </a:lnTo>
                    <a:lnTo>
                      <a:pt x="95" y="100"/>
                    </a:lnTo>
                    <a:lnTo>
                      <a:pt x="79" y="99"/>
                    </a:lnTo>
                    <a:lnTo>
                      <a:pt x="69" y="89"/>
                    </a:lnTo>
                    <a:lnTo>
                      <a:pt x="68" y="98"/>
                    </a:lnTo>
                    <a:lnTo>
                      <a:pt x="56" y="101"/>
                    </a:lnTo>
                    <a:lnTo>
                      <a:pt x="49" y="106"/>
                    </a:lnTo>
                    <a:lnTo>
                      <a:pt x="56" y="120"/>
                    </a:lnTo>
                    <a:lnTo>
                      <a:pt x="42" y="131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79" name="Freeform 69"/>
              <p:cNvSpPr>
                <a:spLocks/>
              </p:cNvSpPr>
              <p:nvPr/>
            </p:nvSpPr>
            <p:spPr bwMode="auto">
              <a:xfrm>
                <a:off x="3995737" y="2101850"/>
                <a:ext cx="47625" cy="41275"/>
              </a:xfrm>
              <a:custGeom>
                <a:avLst/>
                <a:gdLst>
                  <a:gd name="T0" fmla="*/ 30 w 30"/>
                  <a:gd name="T1" fmla="*/ 13 h 26"/>
                  <a:gd name="T2" fmla="*/ 21 w 30"/>
                  <a:gd name="T3" fmla="*/ 26 h 26"/>
                  <a:gd name="T4" fmla="*/ 10 w 30"/>
                  <a:gd name="T5" fmla="*/ 22 h 26"/>
                  <a:gd name="T6" fmla="*/ 0 w 30"/>
                  <a:gd name="T7" fmla="*/ 23 h 26"/>
                  <a:gd name="T8" fmla="*/ 4 w 30"/>
                  <a:gd name="T9" fmla="*/ 12 h 26"/>
                  <a:gd name="T10" fmla="*/ 1 w 30"/>
                  <a:gd name="T11" fmla="*/ 1 h 26"/>
                  <a:gd name="T12" fmla="*/ 14 w 30"/>
                  <a:gd name="T13" fmla="*/ 0 h 26"/>
                  <a:gd name="T14" fmla="*/ 30 w 30"/>
                  <a:gd name="T15" fmla="*/ 1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6">
                    <a:moveTo>
                      <a:pt x="30" y="13"/>
                    </a:moveTo>
                    <a:lnTo>
                      <a:pt x="21" y="26"/>
                    </a:lnTo>
                    <a:lnTo>
                      <a:pt x="10" y="22"/>
                    </a:lnTo>
                    <a:lnTo>
                      <a:pt x="0" y="23"/>
                    </a:lnTo>
                    <a:lnTo>
                      <a:pt x="4" y="12"/>
                    </a:lnTo>
                    <a:lnTo>
                      <a:pt x="1" y="1"/>
                    </a:lnTo>
                    <a:lnTo>
                      <a:pt x="14" y="0"/>
                    </a:lnTo>
                    <a:lnTo>
                      <a:pt x="30" y="1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0" name="Freeform 70"/>
              <p:cNvSpPr>
                <a:spLocks/>
              </p:cNvSpPr>
              <p:nvPr/>
            </p:nvSpPr>
            <p:spPr bwMode="auto">
              <a:xfrm>
                <a:off x="4033837" y="1995487"/>
                <a:ext cx="190500" cy="273050"/>
              </a:xfrm>
              <a:custGeom>
                <a:avLst/>
                <a:gdLst>
                  <a:gd name="T0" fmla="*/ 49 w 120"/>
                  <a:gd name="T1" fmla="*/ 0 h 172"/>
                  <a:gd name="T2" fmla="*/ 32 w 120"/>
                  <a:gd name="T3" fmla="*/ 21 h 172"/>
                  <a:gd name="T4" fmla="*/ 47 w 120"/>
                  <a:gd name="T5" fmla="*/ 18 h 172"/>
                  <a:gd name="T6" fmla="*/ 64 w 120"/>
                  <a:gd name="T7" fmla="*/ 18 h 172"/>
                  <a:gd name="T8" fmla="*/ 60 w 120"/>
                  <a:gd name="T9" fmla="*/ 34 h 172"/>
                  <a:gd name="T10" fmla="*/ 46 w 120"/>
                  <a:gd name="T11" fmla="*/ 51 h 172"/>
                  <a:gd name="T12" fmla="*/ 62 w 120"/>
                  <a:gd name="T13" fmla="*/ 53 h 172"/>
                  <a:gd name="T14" fmla="*/ 63 w 120"/>
                  <a:gd name="T15" fmla="*/ 55 h 172"/>
                  <a:gd name="T16" fmla="*/ 76 w 120"/>
                  <a:gd name="T17" fmla="*/ 78 h 172"/>
                  <a:gd name="T18" fmla="*/ 87 w 120"/>
                  <a:gd name="T19" fmla="*/ 82 h 172"/>
                  <a:gd name="T20" fmla="*/ 96 w 120"/>
                  <a:gd name="T21" fmla="*/ 104 h 172"/>
                  <a:gd name="T22" fmla="*/ 101 w 120"/>
                  <a:gd name="T23" fmla="*/ 112 h 172"/>
                  <a:gd name="T24" fmla="*/ 120 w 120"/>
                  <a:gd name="T25" fmla="*/ 116 h 172"/>
                  <a:gd name="T26" fmla="*/ 118 w 120"/>
                  <a:gd name="T27" fmla="*/ 129 h 172"/>
                  <a:gd name="T28" fmla="*/ 110 w 120"/>
                  <a:gd name="T29" fmla="*/ 135 h 172"/>
                  <a:gd name="T30" fmla="*/ 116 w 120"/>
                  <a:gd name="T31" fmla="*/ 145 h 172"/>
                  <a:gd name="T32" fmla="*/ 102 w 120"/>
                  <a:gd name="T33" fmla="*/ 155 h 172"/>
                  <a:gd name="T34" fmla="*/ 81 w 120"/>
                  <a:gd name="T35" fmla="*/ 155 h 172"/>
                  <a:gd name="T36" fmla="*/ 54 w 120"/>
                  <a:gd name="T37" fmla="*/ 161 h 172"/>
                  <a:gd name="T38" fmla="*/ 46 w 120"/>
                  <a:gd name="T39" fmla="*/ 157 h 172"/>
                  <a:gd name="T40" fmla="*/ 36 w 120"/>
                  <a:gd name="T41" fmla="*/ 166 h 172"/>
                  <a:gd name="T42" fmla="*/ 21 w 120"/>
                  <a:gd name="T43" fmla="*/ 164 h 172"/>
                  <a:gd name="T44" fmla="*/ 10 w 120"/>
                  <a:gd name="T45" fmla="*/ 172 h 172"/>
                  <a:gd name="T46" fmla="*/ 1 w 120"/>
                  <a:gd name="T47" fmla="*/ 168 h 172"/>
                  <a:gd name="T48" fmla="*/ 25 w 120"/>
                  <a:gd name="T49" fmla="*/ 147 h 172"/>
                  <a:gd name="T50" fmla="*/ 39 w 120"/>
                  <a:gd name="T51" fmla="*/ 142 h 172"/>
                  <a:gd name="T52" fmla="*/ 39 w 120"/>
                  <a:gd name="T53" fmla="*/ 142 h 172"/>
                  <a:gd name="T54" fmla="*/ 15 w 120"/>
                  <a:gd name="T55" fmla="*/ 139 h 172"/>
                  <a:gd name="T56" fmla="*/ 11 w 120"/>
                  <a:gd name="T57" fmla="*/ 131 h 172"/>
                  <a:gd name="T58" fmla="*/ 27 w 120"/>
                  <a:gd name="T59" fmla="*/ 125 h 172"/>
                  <a:gd name="T60" fmla="*/ 19 w 120"/>
                  <a:gd name="T61" fmla="*/ 114 h 172"/>
                  <a:gd name="T62" fmla="*/ 22 w 120"/>
                  <a:gd name="T63" fmla="*/ 101 h 172"/>
                  <a:gd name="T64" fmla="*/ 45 w 120"/>
                  <a:gd name="T65" fmla="*/ 102 h 172"/>
                  <a:gd name="T66" fmla="*/ 45 w 120"/>
                  <a:gd name="T67" fmla="*/ 102 h 172"/>
                  <a:gd name="T68" fmla="*/ 48 w 120"/>
                  <a:gd name="T69" fmla="*/ 91 h 172"/>
                  <a:gd name="T70" fmla="*/ 38 w 120"/>
                  <a:gd name="T71" fmla="*/ 79 h 172"/>
                  <a:gd name="T72" fmla="*/ 37 w 120"/>
                  <a:gd name="T73" fmla="*/ 79 h 172"/>
                  <a:gd name="T74" fmla="*/ 19 w 120"/>
                  <a:gd name="T75" fmla="*/ 75 h 172"/>
                  <a:gd name="T76" fmla="*/ 15 w 120"/>
                  <a:gd name="T77" fmla="*/ 70 h 172"/>
                  <a:gd name="T78" fmla="*/ 21 w 120"/>
                  <a:gd name="T79" fmla="*/ 61 h 172"/>
                  <a:gd name="T80" fmla="*/ 16 w 120"/>
                  <a:gd name="T81" fmla="*/ 55 h 172"/>
                  <a:gd name="T82" fmla="*/ 8 w 120"/>
                  <a:gd name="T83" fmla="*/ 65 h 172"/>
                  <a:gd name="T84" fmla="*/ 8 w 120"/>
                  <a:gd name="T85" fmla="*/ 46 h 172"/>
                  <a:gd name="T86" fmla="*/ 0 w 120"/>
                  <a:gd name="T87" fmla="*/ 36 h 172"/>
                  <a:gd name="T88" fmla="*/ 7 w 120"/>
                  <a:gd name="T89" fmla="*/ 15 h 172"/>
                  <a:gd name="T90" fmla="*/ 19 w 120"/>
                  <a:gd name="T91" fmla="*/ 0 h 172"/>
                  <a:gd name="T92" fmla="*/ 31 w 120"/>
                  <a:gd name="T93" fmla="*/ 1 h 172"/>
                  <a:gd name="T94" fmla="*/ 49 w 120"/>
                  <a:gd name="T95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0" h="172">
                    <a:moveTo>
                      <a:pt x="49" y="0"/>
                    </a:moveTo>
                    <a:lnTo>
                      <a:pt x="32" y="21"/>
                    </a:lnTo>
                    <a:lnTo>
                      <a:pt x="47" y="18"/>
                    </a:lnTo>
                    <a:lnTo>
                      <a:pt x="64" y="18"/>
                    </a:lnTo>
                    <a:lnTo>
                      <a:pt x="60" y="34"/>
                    </a:lnTo>
                    <a:lnTo>
                      <a:pt x="46" y="51"/>
                    </a:lnTo>
                    <a:lnTo>
                      <a:pt x="62" y="53"/>
                    </a:lnTo>
                    <a:lnTo>
                      <a:pt x="63" y="55"/>
                    </a:lnTo>
                    <a:lnTo>
                      <a:pt x="76" y="78"/>
                    </a:lnTo>
                    <a:lnTo>
                      <a:pt x="87" y="82"/>
                    </a:lnTo>
                    <a:lnTo>
                      <a:pt x="96" y="104"/>
                    </a:lnTo>
                    <a:lnTo>
                      <a:pt x="101" y="112"/>
                    </a:lnTo>
                    <a:lnTo>
                      <a:pt x="120" y="116"/>
                    </a:lnTo>
                    <a:lnTo>
                      <a:pt x="118" y="129"/>
                    </a:lnTo>
                    <a:lnTo>
                      <a:pt x="110" y="135"/>
                    </a:lnTo>
                    <a:lnTo>
                      <a:pt x="116" y="145"/>
                    </a:lnTo>
                    <a:lnTo>
                      <a:pt x="102" y="155"/>
                    </a:lnTo>
                    <a:lnTo>
                      <a:pt x="81" y="155"/>
                    </a:lnTo>
                    <a:lnTo>
                      <a:pt x="54" y="161"/>
                    </a:lnTo>
                    <a:lnTo>
                      <a:pt x="46" y="157"/>
                    </a:lnTo>
                    <a:lnTo>
                      <a:pt x="36" y="166"/>
                    </a:lnTo>
                    <a:lnTo>
                      <a:pt x="21" y="164"/>
                    </a:lnTo>
                    <a:lnTo>
                      <a:pt x="10" y="172"/>
                    </a:lnTo>
                    <a:lnTo>
                      <a:pt x="1" y="168"/>
                    </a:lnTo>
                    <a:lnTo>
                      <a:pt x="25" y="147"/>
                    </a:lnTo>
                    <a:lnTo>
                      <a:pt x="39" y="142"/>
                    </a:lnTo>
                    <a:lnTo>
                      <a:pt x="39" y="142"/>
                    </a:lnTo>
                    <a:lnTo>
                      <a:pt x="15" y="139"/>
                    </a:lnTo>
                    <a:lnTo>
                      <a:pt x="11" y="131"/>
                    </a:lnTo>
                    <a:lnTo>
                      <a:pt x="27" y="125"/>
                    </a:lnTo>
                    <a:lnTo>
                      <a:pt x="19" y="114"/>
                    </a:lnTo>
                    <a:lnTo>
                      <a:pt x="22" y="101"/>
                    </a:lnTo>
                    <a:lnTo>
                      <a:pt x="45" y="102"/>
                    </a:lnTo>
                    <a:lnTo>
                      <a:pt x="45" y="102"/>
                    </a:lnTo>
                    <a:lnTo>
                      <a:pt x="48" y="91"/>
                    </a:lnTo>
                    <a:lnTo>
                      <a:pt x="38" y="79"/>
                    </a:lnTo>
                    <a:lnTo>
                      <a:pt x="37" y="79"/>
                    </a:lnTo>
                    <a:lnTo>
                      <a:pt x="19" y="75"/>
                    </a:lnTo>
                    <a:lnTo>
                      <a:pt x="15" y="70"/>
                    </a:lnTo>
                    <a:lnTo>
                      <a:pt x="21" y="61"/>
                    </a:lnTo>
                    <a:lnTo>
                      <a:pt x="16" y="55"/>
                    </a:lnTo>
                    <a:lnTo>
                      <a:pt x="8" y="65"/>
                    </a:lnTo>
                    <a:lnTo>
                      <a:pt x="8" y="46"/>
                    </a:lnTo>
                    <a:lnTo>
                      <a:pt x="0" y="36"/>
                    </a:lnTo>
                    <a:lnTo>
                      <a:pt x="7" y="15"/>
                    </a:lnTo>
                    <a:lnTo>
                      <a:pt x="19" y="0"/>
                    </a:lnTo>
                    <a:lnTo>
                      <a:pt x="31" y="1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1" name="Freeform 71"/>
              <p:cNvSpPr>
                <a:spLocks/>
              </p:cNvSpPr>
              <p:nvPr/>
            </p:nvSpPr>
            <p:spPr bwMode="auto">
              <a:xfrm>
                <a:off x="5237162" y="2474912"/>
                <a:ext cx="190500" cy="82550"/>
              </a:xfrm>
              <a:custGeom>
                <a:avLst/>
                <a:gdLst>
                  <a:gd name="T0" fmla="*/ 33 w 120"/>
                  <a:gd name="T1" fmla="*/ 42 h 52"/>
                  <a:gd name="T2" fmla="*/ 34 w 120"/>
                  <a:gd name="T3" fmla="*/ 33 h 52"/>
                  <a:gd name="T4" fmla="*/ 28 w 120"/>
                  <a:gd name="T5" fmla="*/ 19 h 52"/>
                  <a:gd name="T6" fmla="*/ 17 w 120"/>
                  <a:gd name="T7" fmla="*/ 11 h 52"/>
                  <a:gd name="T8" fmla="*/ 7 w 120"/>
                  <a:gd name="T9" fmla="*/ 9 h 52"/>
                  <a:gd name="T10" fmla="*/ 0 w 120"/>
                  <a:gd name="T11" fmla="*/ 3 h 52"/>
                  <a:gd name="T12" fmla="*/ 1 w 120"/>
                  <a:gd name="T13" fmla="*/ 0 h 52"/>
                  <a:gd name="T14" fmla="*/ 16 w 120"/>
                  <a:gd name="T15" fmla="*/ 4 h 52"/>
                  <a:gd name="T16" fmla="*/ 41 w 120"/>
                  <a:gd name="T17" fmla="*/ 7 h 52"/>
                  <a:gd name="T18" fmla="*/ 66 w 120"/>
                  <a:gd name="T19" fmla="*/ 17 h 52"/>
                  <a:gd name="T20" fmla="*/ 69 w 120"/>
                  <a:gd name="T21" fmla="*/ 21 h 52"/>
                  <a:gd name="T22" fmla="*/ 79 w 120"/>
                  <a:gd name="T23" fmla="*/ 18 h 52"/>
                  <a:gd name="T24" fmla="*/ 95 w 120"/>
                  <a:gd name="T25" fmla="*/ 22 h 52"/>
                  <a:gd name="T26" fmla="*/ 102 w 120"/>
                  <a:gd name="T27" fmla="*/ 30 h 52"/>
                  <a:gd name="T28" fmla="*/ 113 w 120"/>
                  <a:gd name="T29" fmla="*/ 35 h 52"/>
                  <a:gd name="T30" fmla="*/ 110 w 120"/>
                  <a:gd name="T31" fmla="*/ 38 h 52"/>
                  <a:gd name="T32" fmla="*/ 120 w 120"/>
                  <a:gd name="T33" fmla="*/ 49 h 52"/>
                  <a:gd name="T34" fmla="*/ 118 w 120"/>
                  <a:gd name="T35" fmla="*/ 52 h 52"/>
                  <a:gd name="T36" fmla="*/ 109 w 120"/>
                  <a:gd name="T37" fmla="*/ 50 h 52"/>
                  <a:gd name="T38" fmla="*/ 95 w 120"/>
                  <a:gd name="T39" fmla="*/ 44 h 52"/>
                  <a:gd name="T40" fmla="*/ 92 w 120"/>
                  <a:gd name="T41" fmla="*/ 48 h 52"/>
                  <a:gd name="T42" fmla="*/ 69 w 120"/>
                  <a:gd name="T43" fmla="*/ 51 h 52"/>
                  <a:gd name="T44" fmla="*/ 51 w 120"/>
                  <a:gd name="T45" fmla="*/ 41 h 52"/>
                  <a:gd name="T46" fmla="*/ 33 w 120"/>
                  <a:gd name="T47" fmla="*/ 4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0" h="52">
                    <a:moveTo>
                      <a:pt x="33" y="42"/>
                    </a:moveTo>
                    <a:lnTo>
                      <a:pt x="34" y="33"/>
                    </a:lnTo>
                    <a:lnTo>
                      <a:pt x="28" y="19"/>
                    </a:lnTo>
                    <a:lnTo>
                      <a:pt x="17" y="11"/>
                    </a:lnTo>
                    <a:lnTo>
                      <a:pt x="7" y="9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6" y="4"/>
                    </a:lnTo>
                    <a:lnTo>
                      <a:pt x="41" y="7"/>
                    </a:lnTo>
                    <a:lnTo>
                      <a:pt x="66" y="17"/>
                    </a:lnTo>
                    <a:lnTo>
                      <a:pt x="69" y="21"/>
                    </a:lnTo>
                    <a:lnTo>
                      <a:pt x="79" y="18"/>
                    </a:lnTo>
                    <a:lnTo>
                      <a:pt x="95" y="22"/>
                    </a:lnTo>
                    <a:lnTo>
                      <a:pt x="102" y="30"/>
                    </a:lnTo>
                    <a:lnTo>
                      <a:pt x="113" y="35"/>
                    </a:lnTo>
                    <a:lnTo>
                      <a:pt x="110" y="38"/>
                    </a:lnTo>
                    <a:lnTo>
                      <a:pt x="120" y="49"/>
                    </a:lnTo>
                    <a:lnTo>
                      <a:pt x="118" y="52"/>
                    </a:lnTo>
                    <a:lnTo>
                      <a:pt x="109" y="50"/>
                    </a:lnTo>
                    <a:lnTo>
                      <a:pt x="95" y="44"/>
                    </a:lnTo>
                    <a:lnTo>
                      <a:pt x="92" y="48"/>
                    </a:lnTo>
                    <a:lnTo>
                      <a:pt x="69" y="51"/>
                    </a:lnTo>
                    <a:lnTo>
                      <a:pt x="51" y="41"/>
                    </a:lnTo>
                    <a:lnTo>
                      <a:pt x="33" y="42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2" name="Freeform 72"/>
              <p:cNvSpPr>
                <a:spLocks/>
              </p:cNvSpPr>
              <p:nvPr/>
            </p:nvSpPr>
            <p:spPr bwMode="auto">
              <a:xfrm>
                <a:off x="4087812" y="3543300"/>
                <a:ext cx="125413" cy="209550"/>
              </a:xfrm>
              <a:custGeom>
                <a:avLst/>
                <a:gdLst>
                  <a:gd name="T0" fmla="*/ 79 w 79"/>
                  <a:gd name="T1" fmla="*/ 107 h 132"/>
                  <a:gd name="T2" fmla="*/ 50 w 79"/>
                  <a:gd name="T3" fmla="*/ 119 h 132"/>
                  <a:gd name="T4" fmla="*/ 40 w 79"/>
                  <a:gd name="T5" fmla="*/ 127 h 132"/>
                  <a:gd name="T6" fmla="*/ 23 w 79"/>
                  <a:gd name="T7" fmla="*/ 132 h 132"/>
                  <a:gd name="T8" fmla="*/ 7 w 79"/>
                  <a:gd name="T9" fmla="*/ 127 h 132"/>
                  <a:gd name="T10" fmla="*/ 8 w 79"/>
                  <a:gd name="T11" fmla="*/ 119 h 132"/>
                  <a:gd name="T12" fmla="*/ 0 w 79"/>
                  <a:gd name="T13" fmla="*/ 100 h 132"/>
                  <a:gd name="T14" fmla="*/ 5 w 79"/>
                  <a:gd name="T15" fmla="*/ 77 h 132"/>
                  <a:gd name="T16" fmla="*/ 12 w 79"/>
                  <a:gd name="T17" fmla="*/ 60 h 132"/>
                  <a:gd name="T18" fmla="*/ 8 w 79"/>
                  <a:gd name="T19" fmla="*/ 30 h 132"/>
                  <a:gd name="T20" fmla="*/ 5 w 79"/>
                  <a:gd name="T21" fmla="*/ 14 h 132"/>
                  <a:gd name="T22" fmla="*/ 6 w 79"/>
                  <a:gd name="T23" fmla="*/ 3 h 132"/>
                  <a:gd name="T24" fmla="*/ 37 w 79"/>
                  <a:gd name="T25" fmla="*/ 2 h 132"/>
                  <a:gd name="T26" fmla="*/ 45 w 79"/>
                  <a:gd name="T27" fmla="*/ 3 h 132"/>
                  <a:gd name="T28" fmla="*/ 51 w 79"/>
                  <a:gd name="T29" fmla="*/ 0 h 132"/>
                  <a:gd name="T30" fmla="*/ 60 w 79"/>
                  <a:gd name="T31" fmla="*/ 1 h 132"/>
                  <a:gd name="T32" fmla="*/ 58 w 79"/>
                  <a:gd name="T33" fmla="*/ 8 h 132"/>
                  <a:gd name="T34" fmla="*/ 66 w 79"/>
                  <a:gd name="T35" fmla="*/ 19 h 132"/>
                  <a:gd name="T36" fmla="*/ 66 w 79"/>
                  <a:gd name="T37" fmla="*/ 34 h 132"/>
                  <a:gd name="T38" fmla="*/ 68 w 79"/>
                  <a:gd name="T39" fmla="*/ 50 h 132"/>
                  <a:gd name="T40" fmla="*/ 72 w 79"/>
                  <a:gd name="T41" fmla="*/ 58 h 132"/>
                  <a:gd name="T42" fmla="*/ 68 w 79"/>
                  <a:gd name="T43" fmla="*/ 76 h 132"/>
                  <a:gd name="T44" fmla="*/ 70 w 79"/>
                  <a:gd name="T45" fmla="*/ 87 h 132"/>
                  <a:gd name="T46" fmla="*/ 75 w 79"/>
                  <a:gd name="T47" fmla="*/ 100 h 132"/>
                  <a:gd name="T48" fmla="*/ 79 w 79"/>
                  <a:gd name="T49" fmla="*/ 107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9" h="132">
                    <a:moveTo>
                      <a:pt x="79" y="107"/>
                    </a:moveTo>
                    <a:lnTo>
                      <a:pt x="50" y="119"/>
                    </a:lnTo>
                    <a:lnTo>
                      <a:pt x="40" y="127"/>
                    </a:lnTo>
                    <a:lnTo>
                      <a:pt x="23" y="132"/>
                    </a:lnTo>
                    <a:lnTo>
                      <a:pt x="7" y="127"/>
                    </a:lnTo>
                    <a:lnTo>
                      <a:pt x="8" y="119"/>
                    </a:lnTo>
                    <a:lnTo>
                      <a:pt x="0" y="100"/>
                    </a:lnTo>
                    <a:lnTo>
                      <a:pt x="5" y="77"/>
                    </a:lnTo>
                    <a:lnTo>
                      <a:pt x="12" y="60"/>
                    </a:lnTo>
                    <a:lnTo>
                      <a:pt x="8" y="30"/>
                    </a:lnTo>
                    <a:lnTo>
                      <a:pt x="5" y="14"/>
                    </a:lnTo>
                    <a:lnTo>
                      <a:pt x="6" y="3"/>
                    </a:lnTo>
                    <a:lnTo>
                      <a:pt x="37" y="2"/>
                    </a:lnTo>
                    <a:lnTo>
                      <a:pt x="45" y="3"/>
                    </a:lnTo>
                    <a:lnTo>
                      <a:pt x="51" y="0"/>
                    </a:lnTo>
                    <a:lnTo>
                      <a:pt x="60" y="1"/>
                    </a:lnTo>
                    <a:lnTo>
                      <a:pt x="58" y="8"/>
                    </a:lnTo>
                    <a:lnTo>
                      <a:pt x="66" y="19"/>
                    </a:lnTo>
                    <a:lnTo>
                      <a:pt x="66" y="34"/>
                    </a:lnTo>
                    <a:lnTo>
                      <a:pt x="68" y="50"/>
                    </a:lnTo>
                    <a:lnTo>
                      <a:pt x="72" y="58"/>
                    </a:lnTo>
                    <a:lnTo>
                      <a:pt x="68" y="76"/>
                    </a:lnTo>
                    <a:lnTo>
                      <a:pt x="70" y="87"/>
                    </a:lnTo>
                    <a:lnTo>
                      <a:pt x="75" y="100"/>
                    </a:lnTo>
                    <a:lnTo>
                      <a:pt x="79" y="107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3" name="Freeform 73"/>
              <p:cNvSpPr>
                <a:spLocks/>
              </p:cNvSpPr>
              <p:nvPr/>
            </p:nvSpPr>
            <p:spPr bwMode="auto">
              <a:xfrm>
                <a:off x="3743325" y="3494087"/>
                <a:ext cx="211138" cy="174625"/>
              </a:xfrm>
              <a:custGeom>
                <a:avLst/>
                <a:gdLst>
                  <a:gd name="T0" fmla="*/ 116 w 133"/>
                  <a:gd name="T1" fmla="*/ 101 h 110"/>
                  <a:gd name="T2" fmla="*/ 108 w 133"/>
                  <a:gd name="T3" fmla="*/ 110 h 110"/>
                  <a:gd name="T4" fmla="*/ 105 w 133"/>
                  <a:gd name="T5" fmla="*/ 97 h 110"/>
                  <a:gd name="T6" fmla="*/ 93 w 133"/>
                  <a:gd name="T7" fmla="*/ 86 h 110"/>
                  <a:gd name="T8" fmla="*/ 84 w 133"/>
                  <a:gd name="T9" fmla="*/ 88 h 110"/>
                  <a:gd name="T10" fmla="*/ 81 w 133"/>
                  <a:gd name="T11" fmla="*/ 75 h 110"/>
                  <a:gd name="T12" fmla="*/ 78 w 133"/>
                  <a:gd name="T13" fmla="*/ 60 h 110"/>
                  <a:gd name="T14" fmla="*/ 58 w 133"/>
                  <a:gd name="T15" fmla="*/ 53 h 110"/>
                  <a:gd name="T16" fmla="*/ 49 w 133"/>
                  <a:gd name="T17" fmla="*/ 57 h 110"/>
                  <a:gd name="T18" fmla="*/ 44 w 133"/>
                  <a:gd name="T19" fmla="*/ 67 h 110"/>
                  <a:gd name="T20" fmla="*/ 26 w 133"/>
                  <a:gd name="T21" fmla="*/ 64 h 110"/>
                  <a:gd name="T22" fmla="*/ 14 w 133"/>
                  <a:gd name="T23" fmla="*/ 53 h 110"/>
                  <a:gd name="T24" fmla="*/ 8 w 133"/>
                  <a:gd name="T25" fmla="*/ 40 h 110"/>
                  <a:gd name="T26" fmla="*/ 0 w 133"/>
                  <a:gd name="T27" fmla="*/ 32 h 110"/>
                  <a:gd name="T28" fmla="*/ 14 w 133"/>
                  <a:gd name="T29" fmla="*/ 22 h 110"/>
                  <a:gd name="T30" fmla="*/ 22 w 133"/>
                  <a:gd name="T31" fmla="*/ 19 h 110"/>
                  <a:gd name="T32" fmla="*/ 24 w 133"/>
                  <a:gd name="T33" fmla="*/ 9 h 110"/>
                  <a:gd name="T34" fmla="*/ 26 w 133"/>
                  <a:gd name="T35" fmla="*/ 0 h 110"/>
                  <a:gd name="T36" fmla="*/ 48 w 133"/>
                  <a:gd name="T37" fmla="*/ 5 h 110"/>
                  <a:gd name="T38" fmla="*/ 54 w 133"/>
                  <a:gd name="T39" fmla="*/ 2 h 110"/>
                  <a:gd name="T40" fmla="*/ 66 w 133"/>
                  <a:gd name="T41" fmla="*/ 3 h 110"/>
                  <a:gd name="T42" fmla="*/ 70 w 133"/>
                  <a:gd name="T43" fmla="*/ 10 h 110"/>
                  <a:gd name="T44" fmla="*/ 78 w 133"/>
                  <a:gd name="T45" fmla="*/ 8 h 110"/>
                  <a:gd name="T46" fmla="*/ 91 w 133"/>
                  <a:gd name="T47" fmla="*/ 15 h 110"/>
                  <a:gd name="T48" fmla="*/ 102 w 133"/>
                  <a:gd name="T49" fmla="*/ 8 h 110"/>
                  <a:gd name="T50" fmla="*/ 110 w 133"/>
                  <a:gd name="T51" fmla="*/ 6 h 110"/>
                  <a:gd name="T52" fmla="*/ 116 w 133"/>
                  <a:gd name="T53" fmla="*/ 16 h 110"/>
                  <a:gd name="T54" fmla="*/ 120 w 133"/>
                  <a:gd name="T55" fmla="*/ 30 h 110"/>
                  <a:gd name="T56" fmla="*/ 123 w 133"/>
                  <a:gd name="T57" fmla="*/ 35 h 110"/>
                  <a:gd name="T58" fmla="*/ 124 w 133"/>
                  <a:gd name="T59" fmla="*/ 43 h 110"/>
                  <a:gd name="T60" fmla="*/ 126 w 133"/>
                  <a:gd name="T61" fmla="*/ 51 h 110"/>
                  <a:gd name="T62" fmla="*/ 128 w 133"/>
                  <a:gd name="T63" fmla="*/ 67 h 110"/>
                  <a:gd name="T64" fmla="*/ 126 w 133"/>
                  <a:gd name="T65" fmla="*/ 86 h 110"/>
                  <a:gd name="T66" fmla="*/ 126 w 133"/>
                  <a:gd name="T67" fmla="*/ 93 h 110"/>
                  <a:gd name="T68" fmla="*/ 122 w 133"/>
                  <a:gd name="T69" fmla="*/ 10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33" h="110">
                    <a:moveTo>
                      <a:pt x="122" y="102"/>
                    </a:moveTo>
                    <a:lnTo>
                      <a:pt x="116" y="101"/>
                    </a:lnTo>
                    <a:lnTo>
                      <a:pt x="113" y="110"/>
                    </a:lnTo>
                    <a:lnTo>
                      <a:pt x="108" y="110"/>
                    </a:lnTo>
                    <a:lnTo>
                      <a:pt x="104" y="105"/>
                    </a:lnTo>
                    <a:lnTo>
                      <a:pt x="105" y="97"/>
                    </a:lnTo>
                    <a:lnTo>
                      <a:pt x="98" y="84"/>
                    </a:lnTo>
                    <a:lnTo>
                      <a:pt x="93" y="86"/>
                    </a:lnTo>
                    <a:lnTo>
                      <a:pt x="89" y="87"/>
                    </a:lnTo>
                    <a:lnTo>
                      <a:pt x="84" y="88"/>
                    </a:lnTo>
                    <a:lnTo>
                      <a:pt x="84" y="80"/>
                    </a:lnTo>
                    <a:lnTo>
                      <a:pt x="81" y="75"/>
                    </a:lnTo>
                    <a:lnTo>
                      <a:pt x="82" y="69"/>
                    </a:lnTo>
                    <a:lnTo>
                      <a:pt x="78" y="60"/>
                    </a:lnTo>
                    <a:lnTo>
                      <a:pt x="73" y="53"/>
                    </a:lnTo>
                    <a:lnTo>
                      <a:pt x="58" y="53"/>
                    </a:lnTo>
                    <a:lnTo>
                      <a:pt x="54" y="57"/>
                    </a:lnTo>
                    <a:lnTo>
                      <a:pt x="49" y="57"/>
                    </a:lnTo>
                    <a:lnTo>
                      <a:pt x="46" y="61"/>
                    </a:lnTo>
                    <a:lnTo>
                      <a:pt x="44" y="67"/>
                    </a:lnTo>
                    <a:lnTo>
                      <a:pt x="34" y="76"/>
                    </a:lnTo>
                    <a:lnTo>
                      <a:pt x="26" y="64"/>
                    </a:lnTo>
                    <a:lnTo>
                      <a:pt x="19" y="56"/>
                    </a:lnTo>
                    <a:lnTo>
                      <a:pt x="14" y="53"/>
                    </a:lnTo>
                    <a:lnTo>
                      <a:pt x="10" y="49"/>
                    </a:lnTo>
                    <a:lnTo>
                      <a:pt x="8" y="40"/>
                    </a:lnTo>
                    <a:lnTo>
                      <a:pt x="5" y="35"/>
                    </a:lnTo>
                    <a:lnTo>
                      <a:pt x="0" y="32"/>
                    </a:lnTo>
                    <a:lnTo>
                      <a:pt x="8" y="22"/>
                    </a:lnTo>
                    <a:lnTo>
                      <a:pt x="14" y="22"/>
                    </a:lnTo>
                    <a:lnTo>
                      <a:pt x="18" y="19"/>
                    </a:lnTo>
                    <a:lnTo>
                      <a:pt x="22" y="19"/>
                    </a:lnTo>
                    <a:lnTo>
                      <a:pt x="25" y="16"/>
                    </a:lnTo>
                    <a:lnTo>
                      <a:pt x="24" y="9"/>
                    </a:lnTo>
                    <a:lnTo>
                      <a:pt x="26" y="7"/>
                    </a:lnTo>
                    <a:lnTo>
                      <a:pt x="26" y="0"/>
                    </a:lnTo>
                    <a:lnTo>
                      <a:pt x="35" y="0"/>
                    </a:lnTo>
                    <a:lnTo>
                      <a:pt x="48" y="5"/>
                    </a:lnTo>
                    <a:lnTo>
                      <a:pt x="52" y="5"/>
                    </a:lnTo>
                    <a:lnTo>
                      <a:pt x="54" y="2"/>
                    </a:lnTo>
                    <a:lnTo>
                      <a:pt x="64" y="4"/>
                    </a:lnTo>
                    <a:lnTo>
                      <a:pt x="66" y="3"/>
                    </a:lnTo>
                    <a:lnTo>
                      <a:pt x="67" y="10"/>
                    </a:lnTo>
                    <a:lnTo>
                      <a:pt x="70" y="10"/>
                    </a:lnTo>
                    <a:lnTo>
                      <a:pt x="75" y="8"/>
                    </a:lnTo>
                    <a:lnTo>
                      <a:pt x="78" y="8"/>
                    </a:lnTo>
                    <a:lnTo>
                      <a:pt x="83" y="14"/>
                    </a:lnTo>
                    <a:lnTo>
                      <a:pt x="91" y="15"/>
                    </a:lnTo>
                    <a:lnTo>
                      <a:pt x="96" y="11"/>
                    </a:lnTo>
                    <a:lnTo>
                      <a:pt x="102" y="8"/>
                    </a:lnTo>
                    <a:lnTo>
                      <a:pt x="106" y="5"/>
                    </a:lnTo>
                    <a:lnTo>
                      <a:pt x="110" y="6"/>
                    </a:lnTo>
                    <a:lnTo>
                      <a:pt x="114" y="10"/>
                    </a:lnTo>
                    <a:lnTo>
                      <a:pt x="116" y="16"/>
                    </a:lnTo>
                    <a:lnTo>
                      <a:pt x="123" y="25"/>
                    </a:lnTo>
                    <a:lnTo>
                      <a:pt x="120" y="30"/>
                    </a:lnTo>
                    <a:lnTo>
                      <a:pt x="119" y="37"/>
                    </a:lnTo>
                    <a:lnTo>
                      <a:pt x="123" y="35"/>
                    </a:lnTo>
                    <a:lnTo>
                      <a:pt x="125" y="37"/>
                    </a:lnTo>
                    <a:lnTo>
                      <a:pt x="124" y="43"/>
                    </a:lnTo>
                    <a:lnTo>
                      <a:pt x="130" y="49"/>
                    </a:lnTo>
                    <a:lnTo>
                      <a:pt x="126" y="51"/>
                    </a:lnTo>
                    <a:lnTo>
                      <a:pt x="124" y="58"/>
                    </a:lnTo>
                    <a:lnTo>
                      <a:pt x="128" y="67"/>
                    </a:lnTo>
                    <a:lnTo>
                      <a:pt x="133" y="83"/>
                    </a:lnTo>
                    <a:lnTo>
                      <a:pt x="126" y="86"/>
                    </a:lnTo>
                    <a:lnTo>
                      <a:pt x="124" y="89"/>
                    </a:lnTo>
                    <a:lnTo>
                      <a:pt x="126" y="93"/>
                    </a:lnTo>
                    <a:lnTo>
                      <a:pt x="125" y="102"/>
                    </a:lnTo>
                    <a:lnTo>
                      <a:pt x="122" y="102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4" name="Freeform 74"/>
              <p:cNvSpPr>
                <a:spLocks/>
              </p:cNvSpPr>
              <p:nvPr/>
            </p:nvSpPr>
            <p:spPr bwMode="auto">
              <a:xfrm>
                <a:off x="3694112" y="3451225"/>
                <a:ext cx="87313" cy="25400"/>
              </a:xfrm>
              <a:custGeom>
                <a:avLst/>
                <a:gdLst>
                  <a:gd name="T0" fmla="*/ 0 w 55"/>
                  <a:gd name="T1" fmla="*/ 15 h 16"/>
                  <a:gd name="T2" fmla="*/ 3 w 55"/>
                  <a:gd name="T3" fmla="*/ 6 h 16"/>
                  <a:gd name="T4" fmla="*/ 23 w 55"/>
                  <a:gd name="T5" fmla="*/ 5 h 16"/>
                  <a:gd name="T6" fmla="*/ 27 w 55"/>
                  <a:gd name="T7" fmla="*/ 0 h 16"/>
                  <a:gd name="T8" fmla="*/ 33 w 55"/>
                  <a:gd name="T9" fmla="*/ 0 h 16"/>
                  <a:gd name="T10" fmla="*/ 40 w 55"/>
                  <a:gd name="T11" fmla="*/ 5 h 16"/>
                  <a:gd name="T12" fmla="*/ 45 w 55"/>
                  <a:gd name="T13" fmla="*/ 5 h 16"/>
                  <a:gd name="T14" fmla="*/ 51 w 55"/>
                  <a:gd name="T15" fmla="*/ 2 h 16"/>
                  <a:gd name="T16" fmla="*/ 55 w 55"/>
                  <a:gd name="T17" fmla="*/ 8 h 16"/>
                  <a:gd name="T18" fmla="*/ 47 w 55"/>
                  <a:gd name="T19" fmla="*/ 13 h 16"/>
                  <a:gd name="T20" fmla="*/ 39 w 55"/>
                  <a:gd name="T21" fmla="*/ 12 h 16"/>
                  <a:gd name="T22" fmla="*/ 31 w 55"/>
                  <a:gd name="T23" fmla="*/ 8 h 16"/>
                  <a:gd name="T24" fmla="*/ 25 w 55"/>
                  <a:gd name="T25" fmla="*/ 13 h 16"/>
                  <a:gd name="T26" fmla="*/ 21 w 55"/>
                  <a:gd name="T27" fmla="*/ 13 h 16"/>
                  <a:gd name="T28" fmla="*/ 17 w 55"/>
                  <a:gd name="T29" fmla="*/ 16 h 16"/>
                  <a:gd name="T30" fmla="*/ 0 w 55"/>
                  <a:gd name="T31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5" h="16">
                    <a:moveTo>
                      <a:pt x="0" y="15"/>
                    </a:moveTo>
                    <a:lnTo>
                      <a:pt x="3" y="6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3" y="0"/>
                    </a:lnTo>
                    <a:lnTo>
                      <a:pt x="40" y="5"/>
                    </a:lnTo>
                    <a:lnTo>
                      <a:pt x="45" y="5"/>
                    </a:lnTo>
                    <a:lnTo>
                      <a:pt x="51" y="2"/>
                    </a:lnTo>
                    <a:lnTo>
                      <a:pt x="55" y="8"/>
                    </a:lnTo>
                    <a:lnTo>
                      <a:pt x="47" y="13"/>
                    </a:lnTo>
                    <a:lnTo>
                      <a:pt x="39" y="12"/>
                    </a:lnTo>
                    <a:lnTo>
                      <a:pt x="31" y="8"/>
                    </a:lnTo>
                    <a:lnTo>
                      <a:pt x="25" y="13"/>
                    </a:lnTo>
                    <a:lnTo>
                      <a:pt x="21" y="13"/>
                    </a:lnTo>
                    <a:lnTo>
                      <a:pt x="17" y="16"/>
                    </a:lnTo>
                    <a:lnTo>
                      <a:pt x="0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5" name="Freeform 75"/>
              <p:cNvSpPr>
                <a:spLocks/>
              </p:cNvSpPr>
              <p:nvPr/>
            </p:nvSpPr>
            <p:spPr bwMode="auto">
              <a:xfrm>
                <a:off x="3698875" y="3492500"/>
                <a:ext cx="85725" cy="52388"/>
              </a:xfrm>
              <a:custGeom>
                <a:avLst/>
                <a:gdLst>
                  <a:gd name="T0" fmla="*/ 28 w 54"/>
                  <a:gd name="T1" fmla="*/ 33 h 33"/>
                  <a:gd name="T2" fmla="*/ 18 w 54"/>
                  <a:gd name="T3" fmla="*/ 24 h 33"/>
                  <a:gd name="T4" fmla="*/ 10 w 54"/>
                  <a:gd name="T5" fmla="*/ 23 h 33"/>
                  <a:gd name="T6" fmla="*/ 6 w 54"/>
                  <a:gd name="T7" fmla="*/ 17 h 33"/>
                  <a:gd name="T8" fmla="*/ 6 w 54"/>
                  <a:gd name="T9" fmla="*/ 14 h 33"/>
                  <a:gd name="T10" fmla="*/ 1 w 54"/>
                  <a:gd name="T11" fmla="*/ 10 h 33"/>
                  <a:gd name="T12" fmla="*/ 0 w 54"/>
                  <a:gd name="T13" fmla="*/ 5 h 33"/>
                  <a:gd name="T14" fmla="*/ 10 w 54"/>
                  <a:gd name="T15" fmla="*/ 2 h 33"/>
                  <a:gd name="T16" fmla="*/ 16 w 54"/>
                  <a:gd name="T17" fmla="*/ 2 h 33"/>
                  <a:gd name="T18" fmla="*/ 21 w 54"/>
                  <a:gd name="T19" fmla="*/ 0 h 33"/>
                  <a:gd name="T20" fmla="*/ 54 w 54"/>
                  <a:gd name="T21" fmla="*/ 1 h 33"/>
                  <a:gd name="T22" fmla="*/ 54 w 54"/>
                  <a:gd name="T23" fmla="*/ 8 h 33"/>
                  <a:gd name="T24" fmla="*/ 52 w 54"/>
                  <a:gd name="T25" fmla="*/ 10 h 33"/>
                  <a:gd name="T26" fmla="*/ 53 w 54"/>
                  <a:gd name="T27" fmla="*/ 17 h 33"/>
                  <a:gd name="T28" fmla="*/ 50 w 54"/>
                  <a:gd name="T29" fmla="*/ 20 h 33"/>
                  <a:gd name="T30" fmla="*/ 46 w 54"/>
                  <a:gd name="T31" fmla="*/ 20 h 33"/>
                  <a:gd name="T32" fmla="*/ 42 w 54"/>
                  <a:gd name="T33" fmla="*/ 23 h 33"/>
                  <a:gd name="T34" fmla="*/ 36 w 54"/>
                  <a:gd name="T35" fmla="*/ 23 h 33"/>
                  <a:gd name="T36" fmla="*/ 28 w 54"/>
                  <a:gd name="T3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" h="33">
                    <a:moveTo>
                      <a:pt x="28" y="33"/>
                    </a:moveTo>
                    <a:lnTo>
                      <a:pt x="18" y="24"/>
                    </a:lnTo>
                    <a:lnTo>
                      <a:pt x="10" y="23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1" y="10"/>
                    </a:lnTo>
                    <a:lnTo>
                      <a:pt x="0" y="5"/>
                    </a:lnTo>
                    <a:lnTo>
                      <a:pt x="10" y="2"/>
                    </a:lnTo>
                    <a:lnTo>
                      <a:pt x="16" y="2"/>
                    </a:lnTo>
                    <a:lnTo>
                      <a:pt x="21" y="0"/>
                    </a:lnTo>
                    <a:lnTo>
                      <a:pt x="54" y="1"/>
                    </a:lnTo>
                    <a:lnTo>
                      <a:pt x="54" y="8"/>
                    </a:lnTo>
                    <a:lnTo>
                      <a:pt x="52" y="10"/>
                    </a:lnTo>
                    <a:lnTo>
                      <a:pt x="53" y="17"/>
                    </a:lnTo>
                    <a:lnTo>
                      <a:pt x="50" y="20"/>
                    </a:lnTo>
                    <a:lnTo>
                      <a:pt x="46" y="20"/>
                    </a:lnTo>
                    <a:lnTo>
                      <a:pt x="42" y="23"/>
                    </a:lnTo>
                    <a:lnTo>
                      <a:pt x="36" y="23"/>
                    </a:lnTo>
                    <a:lnTo>
                      <a:pt x="28" y="3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6" name="Freeform 76"/>
              <p:cNvSpPr>
                <a:spLocks/>
              </p:cNvSpPr>
              <p:nvPr/>
            </p:nvSpPr>
            <p:spPr bwMode="auto">
              <a:xfrm>
                <a:off x="4452937" y="3833813"/>
                <a:ext cx="58738" cy="41275"/>
              </a:xfrm>
              <a:custGeom>
                <a:avLst/>
                <a:gdLst>
                  <a:gd name="T0" fmla="*/ 4 w 37"/>
                  <a:gd name="T1" fmla="*/ 26 h 26"/>
                  <a:gd name="T2" fmla="*/ 0 w 37"/>
                  <a:gd name="T3" fmla="*/ 23 h 26"/>
                  <a:gd name="T4" fmla="*/ 7 w 37"/>
                  <a:gd name="T5" fmla="*/ 0 h 26"/>
                  <a:gd name="T6" fmla="*/ 37 w 37"/>
                  <a:gd name="T7" fmla="*/ 0 h 26"/>
                  <a:gd name="T8" fmla="*/ 37 w 37"/>
                  <a:gd name="T9" fmla="*/ 25 h 26"/>
                  <a:gd name="T10" fmla="*/ 10 w 37"/>
                  <a:gd name="T11" fmla="*/ 25 h 26"/>
                  <a:gd name="T12" fmla="*/ 4 w 37"/>
                  <a:gd name="T1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26">
                    <a:moveTo>
                      <a:pt x="4" y="26"/>
                    </a:moveTo>
                    <a:lnTo>
                      <a:pt x="0" y="23"/>
                    </a:lnTo>
                    <a:lnTo>
                      <a:pt x="7" y="0"/>
                    </a:lnTo>
                    <a:lnTo>
                      <a:pt x="37" y="0"/>
                    </a:lnTo>
                    <a:lnTo>
                      <a:pt x="37" y="25"/>
                    </a:lnTo>
                    <a:lnTo>
                      <a:pt x="10" y="25"/>
                    </a:lnTo>
                    <a:lnTo>
                      <a:pt x="4" y="2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7" name="Freeform 77"/>
              <p:cNvSpPr>
                <a:spLocks/>
              </p:cNvSpPr>
              <p:nvPr/>
            </p:nvSpPr>
            <p:spPr bwMode="auto">
              <a:xfrm>
                <a:off x="4827587" y="2732087"/>
                <a:ext cx="76200" cy="25400"/>
              </a:xfrm>
              <a:custGeom>
                <a:avLst/>
                <a:gdLst>
                  <a:gd name="T0" fmla="*/ 2 w 48"/>
                  <a:gd name="T1" fmla="*/ 0 h 16"/>
                  <a:gd name="T2" fmla="*/ 12 w 48"/>
                  <a:gd name="T3" fmla="*/ 7 h 16"/>
                  <a:gd name="T4" fmla="*/ 25 w 48"/>
                  <a:gd name="T5" fmla="*/ 6 h 16"/>
                  <a:gd name="T6" fmla="*/ 39 w 48"/>
                  <a:gd name="T7" fmla="*/ 7 h 16"/>
                  <a:gd name="T8" fmla="*/ 38 w 48"/>
                  <a:gd name="T9" fmla="*/ 11 h 16"/>
                  <a:gd name="T10" fmla="*/ 48 w 48"/>
                  <a:gd name="T11" fmla="*/ 8 h 16"/>
                  <a:gd name="T12" fmla="*/ 46 w 48"/>
                  <a:gd name="T13" fmla="*/ 14 h 16"/>
                  <a:gd name="T14" fmla="*/ 21 w 48"/>
                  <a:gd name="T15" fmla="*/ 16 h 16"/>
                  <a:gd name="T16" fmla="*/ 21 w 48"/>
                  <a:gd name="T17" fmla="*/ 13 h 16"/>
                  <a:gd name="T18" fmla="*/ 0 w 48"/>
                  <a:gd name="T19" fmla="*/ 9 h 16"/>
                  <a:gd name="T20" fmla="*/ 2 w 48"/>
                  <a:gd name="T2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16">
                    <a:moveTo>
                      <a:pt x="2" y="0"/>
                    </a:moveTo>
                    <a:lnTo>
                      <a:pt x="12" y="7"/>
                    </a:lnTo>
                    <a:lnTo>
                      <a:pt x="25" y="6"/>
                    </a:lnTo>
                    <a:lnTo>
                      <a:pt x="39" y="7"/>
                    </a:lnTo>
                    <a:lnTo>
                      <a:pt x="38" y="11"/>
                    </a:lnTo>
                    <a:lnTo>
                      <a:pt x="48" y="8"/>
                    </a:lnTo>
                    <a:lnTo>
                      <a:pt x="46" y="14"/>
                    </a:lnTo>
                    <a:lnTo>
                      <a:pt x="21" y="16"/>
                    </a:lnTo>
                    <a:lnTo>
                      <a:pt x="21" y="13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8" name="Freeform 78"/>
              <p:cNvSpPr>
                <a:spLocks/>
              </p:cNvSpPr>
              <p:nvPr/>
            </p:nvSpPr>
            <p:spPr bwMode="auto">
              <a:xfrm>
                <a:off x="4724400" y="2532062"/>
                <a:ext cx="166688" cy="176213"/>
              </a:xfrm>
              <a:custGeom>
                <a:avLst/>
                <a:gdLst>
                  <a:gd name="T0" fmla="*/ 105 w 105"/>
                  <a:gd name="T1" fmla="*/ 5 h 111"/>
                  <a:gd name="T2" fmla="*/ 101 w 105"/>
                  <a:gd name="T3" fmla="*/ 18 h 111"/>
                  <a:gd name="T4" fmla="*/ 98 w 105"/>
                  <a:gd name="T5" fmla="*/ 20 h 111"/>
                  <a:gd name="T6" fmla="*/ 87 w 105"/>
                  <a:gd name="T7" fmla="*/ 20 h 111"/>
                  <a:gd name="T8" fmla="*/ 78 w 105"/>
                  <a:gd name="T9" fmla="*/ 18 h 111"/>
                  <a:gd name="T10" fmla="*/ 58 w 105"/>
                  <a:gd name="T11" fmla="*/ 23 h 111"/>
                  <a:gd name="T12" fmla="*/ 71 w 105"/>
                  <a:gd name="T13" fmla="*/ 35 h 111"/>
                  <a:gd name="T14" fmla="*/ 63 w 105"/>
                  <a:gd name="T15" fmla="*/ 38 h 111"/>
                  <a:gd name="T16" fmla="*/ 54 w 105"/>
                  <a:gd name="T17" fmla="*/ 38 h 111"/>
                  <a:gd name="T18" fmla="*/ 44 w 105"/>
                  <a:gd name="T19" fmla="*/ 28 h 111"/>
                  <a:gd name="T20" fmla="*/ 41 w 105"/>
                  <a:gd name="T21" fmla="*/ 32 h 111"/>
                  <a:gd name="T22" fmla="*/ 46 w 105"/>
                  <a:gd name="T23" fmla="*/ 44 h 111"/>
                  <a:gd name="T24" fmla="*/ 55 w 105"/>
                  <a:gd name="T25" fmla="*/ 54 h 111"/>
                  <a:gd name="T26" fmla="*/ 49 w 105"/>
                  <a:gd name="T27" fmla="*/ 59 h 111"/>
                  <a:gd name="T28" fmla="*/ 59 w 105"/>
                  <a:gd name="T29" fmla="*/ 68 h 111"/>
                  <a:gd name="T30" fmla="*/ 68 w 105"/>
                  <a:gd name="T31" fmla="*/ 74 h 111"/>
                  <a:gd name="T32" fmla="*/ 70 w 105"/>
                  <a:gd name="T33" fmla="*/ 86 h 111"/>
                  <a:gd name="T34" fmla="*/ 53 w 105"/>
                  <a:gd name="T35" fmla="*/ 80 h 111"/>
                  <a:gd name="T36" fmla="*/ 59 w 105"/>
                  <a:gd name="T37" fmla="*/ 91 h 111"/>
                  <a:gd name="T38" fmla="*/ 49 w 105"/>
                  <a:gd name="T39" fmla="*/ 93 h 111"/>
                  <a:gd name="T40" fmla="*/ 57 w 105"/>
                  <a:gd name="T41" fmla="*/ 111 h 111"/>
                  <a:gd name="T42" fmla="*/ 45 w 105"/>
                  <a:gd name="T43" fmla="*/ 111 h 111"/>
                  <a:gd name="T44" fmla="*/ 30 w 105"/>
                  <a:gd name="T45" fmla="*/ 102 h 111"/>
                  <a:gd name="T46" fmla="*/ 23 w 105"/>
                  <a:gd name="T47" fmla="*/ 86 h 111"/>
                  <a:gd name="T48" fmla="*/ 19 w 105"/>
                  <a:gd name="T49" fmla="*/ 72 h 111"/>
                  <a:gd name="T50" fmla="*/ 11 w 105"/>
                  <a:gd name="T51" fmla="*/ 63 h 111"/>
                  <a:gd name="T52" fmla="*/ 2 w 105"/>
                  <a:gd name="T53" fmla="*/ 51 h 111"/>
                  <a:gd name="T54" fmla="*/ 0 w 105"/>
                  <a:gd name="T55" fmla="*/ 45 h 111"/>
                  <a:gd name="T56" fmla="*/ 7 w 105"/>
                  <a:gd name="T57" fmla="*/ 35 h 111"/>
                  <a:gd name="T58" fmla="*/ 7 w 105"/>
                  <a:gd name="T59" fmla="*/ 28 h 111"/>
                  <a:gd name="T60" fmla="*/ 13 w 105"/>
                  <a:gd name="T61" fmla="*/ 26 h 111"/>
                  <a:gd name="T62" fmla="*/ 13 w 105"/>
                  <a:gd name="T63" fmla="*/ 20 h 111"/>
                  <a:gd name="T64" fmla="*/ 24 w 105"/>
                  <a:gd name="T65" fmla="*/ 18 h 111"/>
                  <a:gd name="T66" fmla="*/ 30 w 105"/>
                  <a:gd name="T67" fmla="*/ 14 h 111"/>
                  <a:gd name="T68" fmla="*/ 39 w 105"/>
                  <a:gd name="T69" fmla="*/ 14 h 111"/>
                  <a:gd name="T70" fmla="*/ 41 w 105"/>
                  <a:gd name="T71" fmla="*/ 10 h 111"/>
                  <a:gd name="T72" fmla="*/ 44 w 105"/>
                  <a:gd name="T73" fmla="*/ 10 h 111"/>
                  <a:gd name="T74" fmla="*/ 57 w 105"/>
                  <a:gd name="T75" fmla="*/ 10 h 111"/>
                  <a:gd name="T76" fmla="*/ 70 w 105"/>
                  <a:gd name="T77" fmla="*/ 5 h 111"/>
                  <a:gd name="T78" fmla="*/ 82 w 105"/>
                  <a:gd name="T79" fmla="*/ 12 h 111"/>
                  <a:gd name="T80" fmla="*/ 97 w 105"/>
                  <a:gd name="T81" fmla="*/ 10 h 111"/>
                  <a:gd name="T82" fmla="*/ 96 w 105"/>
                  <a:gd name="T83" fmla="*/ 0 h 111"/>
                  <a:gd name="T84" fmla="*/ 105 w 105"/>
                  <a:gd name="T85" fmla="*/ 5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5" h="111">
                    <a:moveTo>
                      <a:pt x="105" y="5"/>
                    </a:moveTo>
                    <a:lnTo>
                      <a:pt x="101" y="18"/>
                    </a:lnTo>
                    <a:lnTo>
                      <a:pt x="98" y="20"/>
                    </a:lnTo>
                    <a:lnTo>
                      <a:pt x="87" y="20"/>
                    </a:lnTo>
                    <a:lnTo>
                      <a:pt x="78" y="18"/>
                    </a:lnTo>
                    <a:lnTo>
                      <a:pt x="58" y="23"/>
                    </a:lnTo>
                    <a:lnTo>
                      <a:pt x="71" y="35"/>
                    </a:lnTo>
                    <a:lnTo>
                      <a:pt x="63" y="38"/>
                    </a:lnTo>
                    <a:lnTo>
                      <a:pt x="54" y="38"/>
                    </a:lnTo>
                    <a:lnTo>
                      <a:pt x="44" y="28"/>
                    </a:lnTo>
                    <a:lnTo>
                      <a:pt x="41" y="32"/>
                    </a:lnTo>
                    <a:lnTo>
                      <a:pt x="46" y="44"/>
                    </a:lnTo>
                    <a:lnTo>
                      <a:pt x="55" y="54"/>
                    </a:lnTo>
                    <a:lnTo>
                      <a:pt x="49" y="59"/>
                    </a:lnTo>
                    <a:lnTo>
                      <a:pt x="59" y="68"/>
                    </a:lnTo>
                    <a:lnTo>
                      <a:pt x="68" y="74"/>
                    </a:lnTo>
                    <a:lnTo>
                      <a:pt x="70" y="86"/>
                    </a:lnTo>
                    <a:lnTo>
                      <a:pt x="53" y="80"/>
                    </a:lnTo>
                    <a:lnTo>
                      <a:pt x="59" y="91"/>
                    </a:lnTo>
                    <a:lnTo>
                      <a:pt x="49" y="93"/>
                    </a:lnTo>
                    <a:lnTo>
                      <a:pt x="57" y="111"/>
                    </a:lnTo>
                    <a:lnTo>
                      <a:pt x="45" y="111"/>
                    </a:lnTo>
                    <a:lnTo>
                      <a:pt x="30" y="102"/>
                    </a:lnTo>
                    <a:lnTo>
                      <a:pt x="23" y="86"/>
                    </a:lnTo>
                    <a:lnTo>
                      <a:pt x="19" y="72"/>
                    </a:lnTo>
                    <a:lnTo>
                      <a:pt x="11" y="63"/>
                    </a:lnTo>
                    <a:lnTo>
                      <a:pt x="2" y="51"/>
                    </a:lnTo>
                    <a:lnTo>
                      <a:pt x="0" y="45"/>
                    </a:lnTo>
                    <a:lnTo>
                      <a:pt x="7" y="35"/>
                    </a:lnTo>
                    <a:lnTo>
                      <a:pt x="7" y="28"/>
                    </a:lnTo>
                    <a:lnTo>
                      <a:pt x="13" y="26"/>
                    </a:lnTo>
                    <a:lnTo>
                      <a:pt x="13" y="20"/>
                    </a:lnTo>
                    <a:lnTo>
                      <a:pt x="24" y="18"/>
                    </a:lnTo>
                    <a:lnTo>
                      <a:pt x="30" y="14"/>
                    </a:lnTo>
                    <a:lnTo>
                      <a:pt x="39" y="14"/>
                    </a:lnTo>
                    <a:lnTo>
                      <a:pt x="41" y="10"/>
                    </a:lnTo>
                    <a:lnTo>
                      <a:pt x="44" y="10"/>
                    </a:lnTo>
                    <a:lnTo>
                      <a:pt x="57" y="10"/>
                    </a:lnTo>
                    <a:lnTo>
                      <a:pt x="70" y="5"/>
                    </a:lnTo>
                    <a:lnTo>
                      <a:pt x="82" y="12"/>
                    </a:lnTo>
                    <a:lnTo>
                      <a:pt x="97" y="10"/>
                    </a:lnTo>
                    <a:lnTo>
                      <a:pt x="96" y="0"/>
                    </a:lnTo>
                    <a:lnTo>
                      <a:pt x="105" y="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89" name="Freeform 79"/>
              <p:cNvSpPr>
                <a:spLocks/>
              </p:cNvSpPr>
              <p:nvPr/>
            </p:nvSpPr>
            <p:spPr bwMode="auto">
              <a:xfrm>
                <a:off x="2809875" y="1341437"/>
                <a:ext cx="1154113" cy="609600"/>
              </a:xfrm>
              <a:custGeom>
                <a:avLst/>
                <a:gdLst>
                  <a:gd name="T0" fmla="*/ 429 w 727"/>
                  <a:gd name="T1" fmla="*/ 5 h 384"/>
                  <a:gd name="T2" fmla="*/ 571 w 727"/>
                  <a:gd name="T3" fmla="*/ 1 h 384"/>
                  <a:gd name="T4" fmla="*/ 571 w 727"/>
                  <a:gd name="T5" fmla="*/ 16 h 384"/>
                  <a:gd name="T6" fmla="*/ 556 w 727"/>
                  <a:gd name="T7" fmla="*/ 18 h 384"/>
                  <a:gd name="T8" fmla="*/ 618 w 727"/>
                  <a:gd name="T9" fmla="*/ 23 h 384"/>
                  <a:gd name="T10" fmla="*/ 689 w 727"/>
                  <a:gd name="T11" fmla="*/ 20 h 384"/>
                  <a:gd name="T12" fmla="*/ 679 w 727"/>
                  <a:gd name="T13" fmla="*/ 38 h 384"/>
                  <a:gd name="T14" fmla="*/ 662 w 727"/>
                  <a:gd name="T15" fmla="*/ 44 h 384"/>
                  <a:gd name="T16" fmla="*/ 631 w 727"/>
                  <a:gd name="T17" fmla="*/ 79 h 384"/>
                  <a:gd name="T18" fmla="*/ 603 w 727"/>
                  <a:gd name="T19" fmla="*/ 94 h 384"/>
                  <a:gd name="T20" fmla="*/ 610 w 727"/>
                  <a:gd name="T21" fmla="*/ 116 h 384"/>
                  <a:gd name="T22" fmla="*/ 608 w 727"/>
                  <a:gd name="T23" fmla="*/ 138 h 384"/>
                  <a:gd name="T24" fmla="*/ 567 w 727"/>
                  <a:gd name="T25" fmla="*/ 146 h 384"/>
                  <a:gd name="T26" fmla="*/ 555 w 727"/>
                  <a:gd name="T27" fmla="*/ 158 h 384"/>
                  <a:gd name="T28" fmla="*/ 578 w 727"/>
                  <a:gd name="T29" fmla="*/ 176 h 384"/>
                  <a:gd name="T30" fmla="*/ 548 w 727"/>
                  <a:gd name="T31" fmla="*/ 187 h 384"/>
                  <a:gd name="T32" fmla="*/ 518 w 727"/>
                  <a:gd name="T33" fmla="*/ 198 h 384"/>
                  <a:gd name="T34" fmla="*/ 532 w 727"/>
                  <a:gd name="T35" fmla="*/ 214 h 384"/>
                  <a:gd name="T36" fmla="*/ 436 w 727"/>
                  <a:gd name="T37" fmla="*/ 234 h 384"/>
                  <a:gd name="T38" fmla="*/ 362 w 727"/>
                  <a:gd name="T39" fmla="*/ 273 h 384"/>
                  <a:gd name="T40" fmla="*/ 311 w 727"/>
                  <a:gd name="T41" fmla="*/ 282 h 384"/>
                  <a:gd name="T42" fmla="*/ 280 w 727"/>
                  <a:gd name="T43" fmla="*/ 319 h 384"/>
                  <a:gd name="T44" fmla="*/ 241 w 727"/>
                  <a:gd name="T45" fmla="*/ 364 h 384"/>
                  <a:gd name="T46" fmla="*/ 190 w 727"/>
                  <a:gd name="T47" fmla="*/ 369 h 384"/>
                  <a:gd name="T48" fmla="*/ 148 w 727"/>
                  <a:gd name="T49" fmla="*/ 340 h 384"/>
                  <a:gd name="T50" fmla="*/ 136 w 727"/>
                  <a:gd name="T51" fmla="*/ 288 h 384"/>
                  <a:gd name="T52" fmla="*/ 129 w 727"/>
                  <a:gd name="T53" fmla="*/ 251 h 384"/>
                  <a:gd name="T54" fmla="*/ 185 w 727"/>
                  <a:gd name="T55" fmla="*/ 216 h 384"/>
                  <a:gd name="T56" fmla="*/ 167 w 727"/>
                  <a:gd name="T57" fmla="*/ 211 h 384"/>
                  <a:gd name="T58" fmla="*/ 146 w 727"/>
                  <a:gd name="T59" fmla="*/ 196 h 384"/>
                  <a:gd name="T60" fmla="*/ 193 w 727"/>
                  <a:gd name="T61" fmla="*/ 191 h 384"/>
                  <a:gd name="T62" fmla="*/ 153 w 727"/>
                  <a:gd name="T63" fmla="*/ 177 h 384"/>
                  <a:gd name="T64" fmla="*/ 163 w 727"/>
                  <a:gd name="T65" fmla="*/ 151 h 384"/>
                  <a:gd name="T66" fmla="*/ 143 w 727"/>
                  <a:gd name="T67" fmla="*/ 117 h 384"/>
                  <a:gd name="T68" fmla="*/ 96 w 727"/>
                  <a:gd name="T69" fmla="*/ 101 h 384"/>
                  <a:gd name="T70" fmla="*/ 23 w 727"/>
                  <a:gd name="T71" fmla="*/ 98 h 384"/>
                  <a:gd name="T72" fmla="*/ 69 w 727"/>
                  <a:gd name="T73" fmla="*/ 83 h 384"/>
                  <a:gd name="T74" fmla="*/ 7 w 727"/>
                  <a:gd name="T75" fmla="*/ 67 h 384"/>
                  <a:gd name="T76" fmla="*/ 114 w 727"/>
                  <a:gd name="T77" fmla="*/ 49 h 384"/>
                  <a:gd name="T78" fmla="*/ 148 w 727"/>
                  <a:gd name="T79" fmla="*/ 29 h 384"/>
                  <a:gd name="T80" fmla="*/ 195 w 727"/>
                  <a:gd name="T81" fmla="*/ 19 h 384"/>
                  <a:gd name="T82" fmla="*/ 274 w 727"/>
                  <a:gd name="T83" fmla="*/ 21 h 384"/>
                  <a:gd name="T84" fmla="*/ 347 w 727"/>
                  <a:gd name="T85" fmla="*/ 20 h 384"/>
                  <a:gd name="T86" fmla="*/ 350 w 727"/>
                  <a:gd name="T87" fmla="*/ 12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27" h="384">
                    <a:moveTo>
                      <a:pt x="350" y="12"/>
                    </a:moveTo>
                    <a:lnTo>
                      <a:pt x="392" y="5"/>
                    </a:lnTo>
                    <a:lnTo>
                      <a:pt x="429" y="5"/>
                    </a:lnTo>
                    <a:lnTo>
                      <a:pt x="446" y="1"/>
                    </a:lnTo>
                    <a:lnTo>
                      <a:pt x="485" y="0"/>
                    </a:lnTo>
                    <a:lnTo>
                      <a:pt x="571" y="1"/>
                    </a:lnTo>
                    <a:lnTo>
                      <a:pt x="636" y="10"/>
                    </a:lnTo>
                    <a:lnTo>
                      <a:pt x="614" y="15"/>
                    </a:lnTo>
                    <a:lnTo>
                      <a:pt x="571" y="16"/>
                    </a:lnTo>
                    <a:lnTo>
                      <a:pt x="511" y="17"/>
                    </a:lnTo>
                    <a:lnTo>
                      <a:pt x="516" y="19"/>
                    </a:lnTo>
                    <a:lnTo>
                      <a:pt x="556" y="18"/>
                    </a:lnTo>
                    <a:lnTo>
                      <a:pt x="588" y="22"/>
                    </a:lnTo>
                    <a:lnTo>
                      <a:pt x="610" y="18"/>
                    </a:lnTo>
                    <a:lnTo>
                      <a:pt x="618" y="23"/>
                    </a:lnTo>
                    <a:lnTo>
                      <a:pt x="604" y="30"/>
                    </a:lnTo>
                    <a:lnTo>
                      <a:pt x="634" y="26"/>
                    </a:lnTo>
                    <a:lnTo>
                      <a:pt x="689" y="20"/>
                    </a:lnTo>
                    <a:lnTo>
                      <a:pt x="722" y="23"/>
                    </a:lnTo>
                    <a:lnTo>
                      <a:pt x="727" y="28"/>
                    </a:lnTo>
                    <a:lnTo>
                      <a:pt x="679" y="38"/>
                    </a:lnTo>
                    <a:lnTo>
                      <a:pt x="672" y="41"/>
                    </a:lnTo>
                    <a:lnTo>
                      <a:pt x="636" y="43"/>
                    </a:lnTo>
                    <a:lnTo>
                      <a:pt x="662" y="44"/>
                    </a:lnTo>
                    <a:lnTo>
                      <a:pt x="646" y="54"/>
                    </a:lnTo>
                    <a:lnTo>
                      <a:pt x="634" y="63"/>
                    </a:lnTo>
                    <a:lnTo>
                      <a:pt x="631" y="79"/>
                    </a:lnTo>
                    <a:lnTo>
                      <a:pt x="643" y="88"/>
                    </a:lnTo>
                    <a:lnTo>
                      <a:pt x="624" y="89"/>
                    </a:lnTo>
                    <a:lnTo>
                      <a:pt x="603" y="94"/>
                    </a:lnTo>
                    <a:lnTo>
                      <a:pt x="624" y="102"/>
                    </a:lnTo>
                    <a:lnTo>
                      <a:pt x="624" y="115"/>
                    </a:lnTo>
                    <a:lnTo>
                      <a:pt x="610" y="116"/>
                    </a:lnTo>
                    <a:lnTo>
                      <a:pt x="623" y="130"/>
                    </a:lnTo>
                    <a:lnTo>
                      <a:pt x="595" y="131"/>
                    </a:lnTo>
                    <a:lnTo>
                      <a:pt x="608" y="138"/>
                    </a:lnTo>
                    <a:lnTo>
                      <a:pt x="603" y="143"/>
                    </a:lnTo>
                    <a:lnTo>
                      <a:pt x="585" y="146"/>
                    </a:lnTo>
                    <a:lnTo>
                      <a:pt x="567" y="146"/>
                    </a:lnTo>
                    <a:lnTo>
                      <a:pt x="580" y="157"/>
                    </a:lnTo>
                    <a:lnTo>
                      <a:pt x="579" y="164"/>
                    </a:lnTo>
                    <a:lnTo>
                      <a:pt x="555" y="158"/>
                    </a:lnTo>
                    <a:lnTo>
                      <a:pt x="548" y="162"/>
                    </a:lnTo>
                    <a:lnTo>
                      <a:pt x="564" y="166"/>
                    </a:lnTo>
                    <a:lnTo>
                      <a:pt x="578" y="176"/>
                    </a:lnTo>
                    <a:lnTo>
                      <a:pt x="580" y="190"/>
                    </a:lnTo>
                    <a:lnTo>
                      <a:pt x="556" y="193"/>
                    </a:lnTo>
                    <a:lnTo>
                      <a:pt x="548" y="187"/>
                    </a:lnTo>
                    <a:lnTo>
                      <a:pt x="534" y="177"/>
                    </a:lnTo>
                    <a:lnTo>
                      <a:pt x="536" y="189"/>
                    </a:lnTo>
                    <a:lnTo>
                      <a:pt x="518" y="198"/>
                    </a:lnTo>
                    <a:lnTo>
                      <a:pt x="553" y="198"/>
                    </a:lnTo>
                    <a:lnTo>
                      <a:pt x="571" y="199"/>
                    </a:lnTo>
                    <a:lnTo>
                      <a:pt x="532" y="214"/>
                    </a:lnTo>
                    <a:lnTo>
                      <a:pt x="492" y="228"/>
                    </a:lnTo>
                    <a:lnTo>
                      <a:pt x="451" y="234"/>
                    </a:lnTo>
                    <a:lnTo>
                      <a:pt x="436" y="234"/>
                    </a:lnTo>
                    <a:lnTo>
                      <a:pt x="420" y="241"/>
                    </a:lnTo>
                    <a:lnTo>
                      <a:pt x="396" y="260"/>
                    </a:lnTo>
                    <a:lnTo>
                      <a:pt x="362" y="273"/>
                    </a:lnTo>
                    <a:lnTo>
                      <a:pt x="353" y="274"/>
                    </a:lnTo>
                    <a:lnTo>
                      <a:pt x="333" y="278"/>
                    </a:lnTo>
                    <a:lnTo>
                      <a:pt x="311" y="282"/>
                    </a:lnTo>
                    <a:lnTo>
                      <a:pt x="295" y="294"/>
                    </a:lnTo>
                    <a:lnTo>
                      <a:pt x="291" y="307"/>
                    </a:lnTo>
                    <a:lnTo>
                      <a:pt x="280" y="319"/>
                    </a:lnTo>
                    <a:lnTo>
                      <a:pt x="251" y="334"/>
                    </a:lnTo>
                    <a:lnTo>
                      <a:pt x="252" y="349"/>
                    </a:lnTo>
                    <a:lnTo>
                      <a:pt x="241" y="364"/>
                    </a:lnTo>
                    <a:lnTo>
                      <a:pt x="227" y="383"/>
                    </a:lnTo>
                    <a:lnTo>
                      <a:pt x="206" y="384"/>
                    </a:lnTo>
                    <a:lnTo>
                      <a:pt x="190" y="369"/>
                    </a:lnTo>
                    <a:lnTo>
                      <a:pt x="161" y="369"/>
                    </a:lnTo>
                    <a:lnTo>
                      <a:pt x="150" y="358"/>
                    </a:lnTo>
                    <a:lnTo>
                      <a:pt x="148" y="340"/>
                    </a:lnTo>
                    <a:lnTo>
                      <a:pt x="133" y="316"/>
                    </a:lnTo>
                    <a:lnTo>
                      <a:pt x="130" y="304"/>
                    </a:lnTo>
                    <a:lnTo>
                      <a:pt x="136" y="288"/>
                    </a:lnTo>
                    <a:lnTo>
                      <a:pt x="124" y="271"/>
                    </a:lnTo>
                    <a:lnTo>
                      <a:pt x="135" y="257"/>
                    </a:lnTo>
                    <a:lnTo>
                      <a:pt x="129" y="251"/>
                    </a:lnTo>
                    <a:lnTo>
                      <a:pt x="153" y="230"/>
                    </a:lnTo>
                    <a:lnTo>
                      <a:pt x="176" y="223"/>
                    </a:lnTo>
                    <a:lnTo>
                      <a:pt x="185" y="216"/>
                    </a:lnTo>
                    <a:lnTo>
                      <a:pt x="194" y="203"/>
                    </a:lnTo>
                    <a:lnTo>
                      <a:pt x="176" y="209"/>
                    </a:lnTo>
                    <a:lnTo>
                      <a:pt x="167" y="211"/>
                    </a:lnTo>
                    <a:lnTo>
                      <a:pt x="154" y="214"/>
                    </a:lnTo>
                    <a:lnTo>
                      <a:pt x="141" y="208"/>
                    </a:lnTo>
                    <a:lnTo>
                      <a:pt x="146" y="196"/>
                    </a:lnTo>
                    <a:lnTo>
                      <a:pt x="156" y="187"/>
                    </a:lnTo>
                    <a:lnTo>
                      <a:pt x="168" y="187"/>
                    </a:lnTo>
                    <a:lnTo>
                      <a:pt x="193" y="191"/>
                    </a:lnTo>
                    <a:lnTo>
                      <a:pt x="176" y="181"/>
                    </a:lnTo>
                    <a:lnTo>
                      <a:pt x="167" y="175"/>
                    </a:lnTo>
                    <a:lnTo>
                      <a:pt x="153" y="177"/>
                    </a:lnTo>
                    <a:lnTo>
                      <a:pt x="145" y="173"/>
                    </a:lnTo>
                    <a:lnTo>
                      <a:pt x="168" y="158"/>
                    </a:lnTo>
                    <a:lnTo>
                      <a:pt x="163" y="151"/>
                    </a:lnTo>
                    <a:lnTo>
                      <a:pt x="160" y="140"/>
                    </a:lnTo>
                    <a:lnTo>
                      <a:pt x="155" y="123"/>
                    </a:lnTo>
                    <a:lnTo>
                      <a:pt x="143" y="117"/>
                    </a:lnTo>
                    <a:lnTo>
                      <a:pt x="148" y="111"/>
                    </a:lnTo>
                    <a:lnTo>
                      <a:pt x="121" y="102"/>
                    </a:lnTo>
                    <a:lnTo>
                      <a:pt x="96" y="101"/>
                    </a:lnTo>
                    <a:lnTo>
                      <a:pt x="63" y="101"/>
                    </a:lnTo>
                    <a:lnTo>
                      <a:pt x="33" y="102"/>
                    </a:lnTo>
                    <a:lnTo>
                      <a:pt x="23" y="98"/>
                    </a:lnTo>
                    <a:lnTo>
                      <a:pt x="10" y="88"/>
                    </a:lnTo>
                    <a:lnTo>
                      <a:pt x="45" y="83"/>
                    </a:lnTo>
                    <a:lnTo>
                      <a:pt x="69" y="83"/>
                    </a:lnTo>
                    <a:lnTo>
                      <a:pt x="21" y="79"/>
                    </a:lnTo>
                    <a:lnTo>
                      <a:pt x="0" y="73"/>
                    </a:lnTo>
                    <a:lnTo>
                      <a:pt x="7" y="67"/>
                    </a:lnTo>
                    <a:lnTo>
                      <a:pt x="57" y="60"/>
                    </a:lnTo>
                    <a:lnTo>
                      <a:pt x="105" y="54"/>
                    </a:lnTo>
                    <a:lnTo>
                      <a:pt x="114" y="49"/>
                    </a:lnTo>
                    <a:lnTo>
                      <a:pt x="87" y="44"/>
                    </a:lnTo>
                    <a:lnTo>
                      <a:pt x="101" y="38"/>
                    </a:lnTo>
                    <a:lnTo>
                      <a:pt x="148" y="29"/>
                    </a:lnTo>
                    <a:lnTo>
                      <a:pt x="166" y="28"/>
                    </a:lnTo>
                    <a:lnTo>
                      <a:pt x="166" y="22"/>
                    </a:lnTo>
                    <a:lnTo>
                      <a:pt x="195" y="19"/>
                    </a:lnTo>
                    <a:lnTo>
                      <a:pt x="231" y="17"/>
                    </a:lnTo>
                    <a:lnTo>
                      <a:pt x="265" y="17"/>
                    </a:lnTo>
                    <a:lnTo>
                      <a:pt x="274" y="21"/>
                    </a:lnTo>
                    <a:lnTo>
                      <a:pt x="309" y="14"/>
                    </a:lnTo>
                    <a:lnTo>
                      <a:pt x="332" y="19"/>
                    </a:lnTo>
                    <a:lnTo>
                      <a:pt x="347" y="20"/>
                    </a:lnTo>
                    <a:lnTo>
                      <a:pt x="367" y="24"/>
                    </a:lnTo>
                    <a:lnTo>
                      <a:pt x="345" y="17"/>
                    </a:lnTo>
                    <a:lnTo>
                      <a:pt x="350" y="1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0" name="Freeform 80"/>
              <p:cNvSpPr>
                <a:spLocks/>
              </p:cNvSpPr>
              <p:nvPr/>
            </p:nvSpPr>
            <p:spPr bwMode="auto">
              <a:xfrm>
                <a:off x="1516062" y="3321050"/>
                <a:ext cx="119063" cy="134938"/>
              </a:xfrm>
              <a:custGeom>
                <a:avLst/>
                <a:gdLst>
                  <a:gd name="T0" fmla="*/ 37 w 75"/>
                  <a:gd name="T1" fmla="*/ 85 h 85"/>
                  <a:gd name="T2" fmla="*/ 28 w 75"/>
                  <a:gd name="T3" fmla="*/ 81 h 85"/>
                  <a:gd name="T4" fmla="*/ 17 w 75"/>
                  <a:gd name="T5" fmla="*/ 81 h 85"/>
                  <a:gd name="T6" fmla="*/ 9 w 75"/>
                  <a:gd name="T7" fmla="*/ 77 h 85"/>
                  <a:gd name="T8" fmla="*/ 0 w 75"/>
                  <a:gd name="T9" fmla="*/ 68 h 85"/>
                  <a:gd name="T10" fmla="*/ 1 w 75"/>
                  <a:gd name="T11" fmla="*/ 62 h 85"/>
                  <a:gd name="T12" fmla="*/ 4 w 75"/>
                  <a:gd name="T13" fmla="*/ 58 h 85"/>
                  <a:gd name="T14" fmla="*/ 2 w 75"/>
                  <a:gd name="T15" fmla="*/ 54 h 85"/>
                  <a:gd name="T16" fmla="*/ 12 w 75"/>
                  <a:gd name="T17" fmla="*/ 37 h 85"/>
                  <a:gd name="T18" fmla="*/ 36 w 75"/>
                  <a:gd name="T19" fmla="*/ 37 h 85"/>
                  <a:gd name="T20" fmla="*/ 37 w 75"/>
                  <a:gd name="T21" fmla="*/ 29 h 85"/>
                  <a:gd name="T22" fmla="*/ 34 w 75"/>
                  <a:gd name="T23" fmla="*/ 28 h 85"/>
                  <a:gd name="T24" fmla="*/ 33 w 75"/>
                  <a:gd name="T25" fmla="*/ 24 h 85"/>
                  <a:gd name="T26" fmla="*/ 27 w 75"/>
                  <a:gd name="T27" fmla="*/ 19 h 85"/>
                  <a:gd name="T28" fmla="*/ 21 w 75"/>
                  <a:gd name="T29" fmla="*/ 12 h 85"/>
                  <a:gd name="T30" fmla="*/ 29 w 75"/>
                  <a:gd name="T31" fmla="*/ 12 h 85"/>
                  <a:gd name="T32" fmla="*/ 30 w 75"/>
                  <a:gd name="T33" fmla="*/ 0 h 85"/>
                  <a:gd name="T34" fmla="*/ 47 w 75"/>
                  <a:gd name="T35" fmla="*/ 0 h 85"/>
                  <a:gd name="T36" fmla="*/ 64 w 75"/>
                  <a:gd name="T37" fmla="*/ 0 h 85"/>
                  <a:gd name="T38" fmla="*/ 62 w 75"/>
                  <a:gd name="T39" fmla="*/ 17 h 85"/>
                  <a:gd name="T40" fmla="*/ 58 w 75"/>
                  <a:gd name="T41" fmla="*/ 40 h 85"/>
                  <a:gd name="T42" fmla="*/ 63 w 75"/>
                  <a:gd name="T43" fmla="*/ 40 h 85"/>
                  <a:gd name="T44" fmla="*/ 69 w 75"/>
                  <a:gd name="T45" fmla="*/ 44 h 85"/>
                  <a:gd name="T46" fmla="*/ 71 w 75"/>
                  <a:gd name="T47" fmla="*/ 41 h 85"/>
                  <a:gd name="T48" fmla="*/ 75 w 75"/>
                  <a:gd name="T49" fmla="*/ 44 h 85"/>
                  <a:gd name="T50" fmla="*/ 66 w 75"/>
                  <a:gd name="T51" fmla="*/ 52 h 85"/>
                  <a:gd name="T52" fmla="*/ 57 w 75"/>
                  <a:gd name="T53" fmla="*/ 58 h 85"/>
                  <a:gd name="T54" fmla="*/ 55 w 75"/>
                  <a:gd name="T55" fmla="*/ 61 h 85"/>
                  <a:gd name="T56" fmla="*/ 56 w 75"/>
                  <a:gd name="T57" fmla="*/ 66 h 85"/>
                  <a:gd name="T58" fmla="*/ 52 w 75"/>
                  <a:gd name="T59" fmla="*/ 71 h 85"/>
                  <a:gd name="T60" fmla="*/ 48 w 75"/>
                  <a:gd name="T61" fmla="*/ 72 h 85"/>
                  <a:gd name="T62" fmla="*/ 49 w 75"/>
                  <a:gd name="T63" fmla="*/ 74 h 85"/>
                  <a:gd name="T64" fmla="*/ 45 w 75"/>
                  <a:gd name="T65" fmla="*/ 77 h 85"/>
                  <a:gd name="T66" fmla="*/ 38 w 75"/>
                  <a:gd name="T67" fmla="*/ 82 h 85"/>
                  <a:gd name="T68" fmla="*/ 37 w 75"/>
                  <a:gd name="T6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5" h="85">
                    <a:moveTo>
                      <a:pt x="37" y="85"/>
                    </a:moveTo>
                    <a:lnTo>
                      <a:pt x="28" y="81"/>
                    </a:lnTo>
                    <a:lnTo>
                      <a:pt x="17" y="81"/>
                    </a:lnTo>
                    <a:lnTo>
                      <a:pt x="9" y="77"/>
                    </a:lnTo>
                    <a:lnTo>
                      <a:pt x="0" y="68"/>
                    </a:lnTo>
                    <a:lnTo>
                      <a:pt x="1" y="62"/>
                    </a:lnTo>
                    <a:lnTo>
                      <a:pt x="4" y="58"/>
                    </a:lnTo>
                    <a:lnTo>
                      <a:pt x="2" y="54"/>
                    </a:lnTo>
                    <a:lnTo>
                      <a:pt x="12" y="37"/>
                    </a:lnTo>
                    <a:lnTo>
                      <a:pt x="36" y="37"/>
                    </a:lnTo>
                    <a:lnTo>
                      <a:pt x="37" y="29"/>
                    </a:lnTo>
                    <a:lnTo>
                      <a:pt x="34" y="28"/>
                    </a:lnTo>
                    <a:lnTo>
                      <a:pt x="33" y="24"/>
                    </a:lnTo>
                    <a:lnTo>
                      <a:pt x="27" y="19"/>
                    </a:lnTo>
                    <a:lnTo>
                      <a:pt x="21" y="12"/>
                    </a:lnTo>
                    <a:lnTo>
                      <a:pt x="29" y="12"/>
                    </a:lnTo>
                    <a:lnTo>
                      <a:pt x="30" y="0"/>
                    </a:lnTo>
                    <a:lnTo>
                      <a:pt x="47" y="0"/>
                    </a:lnTo>
                    <a:lnTo>
                      <a:pt x="64" y="0"/>
                    </a:lnTo>
                    <a:lnTo>
                      <a:pt x="62" y="17"/>
                    </a:lnTo>
                    <a:lnTo>
                      <a:pt x="58" y="40"/>
                    </a:lnTo>
                    <a:lnTo>
                      <a:pt x="63" y="40"/>
                    </a:lnTo>
                    <a:lnTo>
                      <a:pt x="69" y="44"/>
                    </a:lnTo>
                    <a:lnTo>
                      <a:pt x="71" y="41"/>
                    </a:lnTo>
                    <a:lnTo>
                      <a:pt x="75" y="44"/>
                    </a:lnTo>
                    <a:lnTo>
                      <a:pt x="66" y="52"/>
                    </a:lnTo>
                    <a:lnTo>
                      <a:pt x="57" y="58"/>
                    </a:lnTo>
                    <a:lnTo>
                      <a:pt x="55" y="61"/>
                    </a:lnTo>
                    <a:lnTo>
                      <a:pt x="56" y="66"/>
                    </a:lnTo>
                    <a:lnTo>
                      <a:pt x="52" y="71"/>
                    </a:lnTo>
                    <a:lnTo>
                      <a:pt x="48" y="72"/>
                    </a:lnTo>
                    <a:lnTo>
                      <a:pt x="49" y="74"/>
                    </a:lnTo>
                    <a:lnTo>
                      <a:pt x="45" y="77"/>
                    </a:lnTo>
                    <a:lnTo>
                      <a:pt x="38" y="82"/>
                    </a:lnTo>
                    <a:lnTo>
                      <a:pt x="37" y="85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1" name="Freeform 81"/>
              <p:cNvSpPr>
                <a:spLocks/>
              </p:cNvSpPr>
              <p:nvPr/>
            </p:nvSpPr>
            <p:spPr bwMode="auto">
              <a:xfrm>
                <a:off x="2393950" y="3633788"/>
                <a:ext cx="139700" cy="233363"/>
              </a:xfrm>
              <a:custGeom>
                <a:avLst/>
                <a:gdLst>
                  <a:gd name="T0" fmla="*/ 32 w 88"/>
                  <a:gd name="T1" fmla="*/ 0 h 147"/>
                  <a:gd name="T2" fmla="*/ 43 w 88"/>
                  <a:gd name="T3" fmla="*/ 7 h 147"/>
                  <a:gd name="T4" fmla="*/ 54 w 88"/>
                  <a:gd name="T5" fmla="*/ 21 h 147"/>
                  <a:gd name="T6" fmla="*/ 54 w 88"/>
                  <a:gd name="T7" fmla="*/ 32 h 147"/>
                  <a:gd name="T8" fmla="*/ 61 w 88"/>
                  <a:gd name="T9" fmla="*/ 32 h 147"/>
                  <a:gd name="T10" fmla="*/ 71 w 88"/>
                  <a:gd name="T11" fmla="*/ 42 h 147"/>
                  <a:gd name="T12" fmla="*/ 78 w 88"/>
                  <a:gd name="T13" fmla="*/ 49 h 147"/>
                  <a:gd name="T14" fmla="*/ 74 w 88"/>
                  <a:gd name="T15" fmla="*/ 68 h 147"/>
                  <a:gd name="T16" fmla="*/ 63 w 88"/>
                  <a:gd name="T17" fmla="*/ 73 h 147"/>
                  <a:gd name="T18" fmla="*/ 64 w 88"/>
                  <a:gd name="T19" fmla="*/ 78 h 147"/>
                  <a:gd name="T20" fmla="*/ 61 w 88"/>
                  <a:gd name="T21" fmla="*/ 89 h 147"/>
                  <a:gd name="T22" fmla="*/ 68 w 88"/>
                  <a:gd name="T23" fmla="*/ 104 h 147"/>
                  <a:gd name="T24" fmla="*/ 74 w 88"/>
                  <a:gd name="T25" fmla="*/ 104 h 147"/>
                  <a:gd name="T26" fmla="*/ 77 w 88"/>
                  <a:gd name="T27" fmla="*/ 116 h 147"/>
                  <a:gd name="T28" fmla="*/ 88 w 88"/>
                  <a:gd name="T29" fmla="*/ 134 h 147"/>
                  <a:gd name="T30" fmla="*/ 83 w 88"/>
                  <a:gd name="T31" fmla="*/ 135 h 147"/>
                  <a:gd name="T32" fmla="*/ 73 w 88"/>
                  <a:gd name="T33" fmla="*/ 133 h 147"/>
                  <a:gd name="T34" fmla="*/ 67 w 88"/>
                  <a:gd name="T35" fmla="*/ 138 h 147"/>
                  <a:gd name="T36" fmla="*/ 59 w 88"/>
                  <a:gd name="T37" fmla="*/ 142 h 147"/>
                  <a:gd name="T38" fmla="*/ 53 w 88"/>
                  <a:gd name="T39" fmla="*/ 143 h 147"/>
                  <a:gd name="T40" fmla="*/ 51 w 88"/>
                  <a:gd name="T41" fmla="*/ 147 h 147"/>
                  <a:gd name="T42" fmla="*/ 42 w 88"/>
                  <a:gd name="T43" fmla="*/ 146 h 147"/>
                  <a:gd name="T44" fmla="*/ 31 w 88"/>
                  <a:gd name="T45" fmla="*/ 136 h 147"/>
                  <a:gd name="T46" fmla="*/ 29 w 88"/>
                  <a:gd name="T47" fmla="*/ 127 h 147"/>
                  <a:gd name="T48" fmla="*/ 25 w 88"/>
                  <a:gd name="T49" fmla="*/ 116 h 147"/>
                  <a:gd name="T50" fmla="*/ 28 w 88"/>
                  <a:gd name="T51" fmla="*/ 98 h 147"/>
                  <a:gd name="T52" fmla="*/ 33 w 88"/>
                  <a:gd name="T53" fmla="*/ 91 h 147"/>
                  <a:gd name="T54" fmla="*/ 29 w 88"/>
                  <a:gd name="T55" fmla="*/ 82 h 147"/>
                  <a:gd name="T56" fmla="*/ 23 w 88"/>
                  <a:gd name="T57" fmla="*/ 78 h 147"/>
                  <a:gd name="T58" fmla="*/ 25 w 88"/>
                  <a:gd name="T59" fmla="*/ 69 h 147"/>
                  <a:gd name="T60" fmla="*/ 21 w 88"/>
                  <a:gd name="T61" fmla="*/ 64 h 147"/>
                  <a:gd name="T62" fmla="*/ 12 w 88"/>
                  <a:gd name="T63" fmla="*/ 65 h 147"/>
                  <a:gd name="T64" fmla="*/ 0 w 88"/>
                  <a:gd name="T65" fmla="*/ 50 h 147"/>
                  <a:gd name="T66" fmla="*/ 5 w 88"/>
                  <a:gd name="T67" fmla="*/ 44 h 147"/>
                  <a:gd name="T68" fmla="*/ 5 w 88"/>
                  <a:gd name="T69" fmla="*/ 34 h 147"/>
                  <a:gd name="T70" fmla="*/ 16 w 88"/>
                  <a:gd name="T71" fmla="*/ 31 h 147"/>
                  <a:gd name="T72" fmla="*/ 21 w 88"/>
                  <a:gd name="T73" fmla="*/ 27 h 147"/>
                  <a:gd name="T74" fmla="*/ 15 w 88"/>
                  <a:gd name="T75" fmla="*/ 19 h 147"/>
                  <a:gd name="T76" fmla="*/ 17 w 88"/>
                  <a:gd name="T77" fmla="*/ 12 h 147"/>
                  <a:gd name="T78" fmla="*/ 32 w 88"/>
                  <a:gd name="T79" fmla="*/ 0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8" h="147">
                    <a:moveTo>
                      <a:pt x="32" y="0"/>
                    </a:moveTo>
                    <a:lnTo>
                      <a:pt x="43" y="7"/>
                    </a:lnTo>
                    <a:lnTo>
                      <a:pt x="54" y="21"/>
                    </a:lnTo>
                    <a:lnTo>
                      <a:pt x="54" y="32"/>
                    </a:lnTo>
                    <a:lnTo>
                      <a:pt x="61" y="32"/>
                    </a:lnTo>
                    <a:lnTo>
                      <a:pt x="71" y="42"/>
                    </a:lnTo>
                    <a:lnTo>
                      <a:pt x="78" y="49"/>
                    </a:lnTo>
                    <a:lnTo>
                      <a:pt x="74" y="68"/>
                    </a:lnTo>
                    <a:lnTo>
                      <a:pt x="63" y="73"/>
                    </a:lnTo>
                    <a:lnTo>
                      <a:pt x="64" y="78"/>
                    </a:lnTo>
                    <a:lnTo>
                      <a:pt x="61" y="89"/>
                    </a:lnTo>
                    <a:lnTo>
                      <a:pt x="68" y="104"/>
                    </a:lnTo>
                    <a:lnTo>
                      <a:pt x="74" y="104"/>
                    </a:lnTo>
                    <a:lnTo>
                      <a:pt x="77" y="116"/>
                    </a:lnTo>
                    <a:lnTo>
                      <a:pt x="88" y="134"/>
                    </a:lnTo>
                    <a:lnTo>
                      <a:pt x="83" y="135"/>
                    </a:lnTo>
                    <a:lnTo>
                      <a:pt x="73" y="133"/>
                    </a:lnTo>
                    <a:lnTo>
                      <a:pt x="67" y="138"/>
                    </a:lnTo>
                    <a:lnTo>
                      <a:pt x="59" y="142"/>
                    </a:lnTo>
                    <a:lnTo>
                      <a:pt x="53" y="143"/>
                    </a:lnTo>
                    <a:lnTo>
                      <a:pt x="51" y="147"/>
                    </a:lnTo>
                    <a:lnTo>
                      <a:pt x="42" y="146"/>
                    </a:lnTo>
                    <a:lnTo>
                      <a:pt x="31" y="136"/>
                    </a:lnTo>
                    <a:lnTo>
                      <a:pt x="29" y="127"/>
                    </a:lnTo>
                    <a:lnTo>
                      <a:pt x="25" y="116"/>
                    </a:lnTo>
                    <a:lnTo>
                      <a:pt x="28" y="98"/>
                    </a:lnTo>
                    <a:lnTo>
                      <a:pt x="33" y="91"/>
                    </a:lnTo>
                    <a:lnTo>
                      <a:pt x="29" y="82"/>
                    </a:lnTo>
                    <a:lnTo>
                      <a:pt x="23" y="78"/>
                    </a:lnTo>
                    <a:lnTo>
                      <a:pt x="25" y="69"/>
                    </a:lnTo>
                    <a:lnTo>
                      <a:pt x="21" y="64"/>
                    </a:lnTo>
                    <a:lnTo>
                      <a:pt x="12" y="65"/>
                    </a:lnTo>
                    <a:lnTo>
                      <a:pt x="0" y="50"/>
                    </a:lnTo>
                    <a:lnTo>
                      <a:pt x="5" y="44"/>
                    </a:lnTo>
                    <a:lnTo>
                      <a:pt x="5" y="34"/>
                    </a:lnTo>
                    <a:lnTo>
                      <a:pt x="16" y="31"/>
                    </a:lnTo>
                    <a:lnTo>
                      <a:pt x="21" y="27"/>
                    </a:lnTo>
                    <a:lnTo>
                      <a:pt x="15" y="19"/>
                    </a:lnTo>
                    <a:lnTo>
                      <a:pt x="17" y="12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2" name="Freeform 82"/>
              <p:cNvSpPr>
                <a:spLocks/>
              </p:cNvSpPr>
              <p:nvPr/>
            </p:nvSpPr>
            <p:spPr bwMode="auto">
              <a:xfrm>
                <a:off x="1598612" y="3381375"/>
                <a:ext cx="180975" cy="100013"/>
              </a:xfrm>
              <a:custGeom>
                <a:avLst/>
                <a:gdLst>
                  <a:gd name="T0" fmla="*/ 34 w 114"/>
                  <a:gd name="T1" fmla="*/ 63 h 63"/>
                  <a:gd name="T2" fmla="*/ 32 w 114"/>
                  <a:gd name="T3" fmla="*/ 56 h 63"/>
                  <a:gd name="T4" fmla="*/ 27 w 114"/>
                  <a:gd name="T5" fmla="*/ 54 h 63"/>
                  <a:gd name="T6" fmla="*/ 29 w 114"/>
                  <a:gd name="T7" fmla="*/ 46 h 63"/>
                  <a:gd name="T8" fmla="*/ 26 w 114"/>
                  <a:gd name="T9" fmla="*/ 44 h 63"/>
                  <a:gd name="T10" fmla="*/ 23 w 114"/>
                  <a:gd name="T11" fmla="*/ 42 h 63"/>
                  <a:gd name="T12" fmla="*/ 14 w 114"/>
                  <a:gd name="T13" fmla="*/ 45 h 63"/>
                  <a:gd name="T14" fmla="*/ 14 w 114"/>
                  <a:gd name="T15" fmla="*/ 42 h 63"/>
                  <a:gd name="T16" fmla="*/ 9 w 114"/>
                  <a:gd name="T17" fmla="*/ 39 h 63"/>
                  <a:gd name="T18" fmla="*/ 5 w 114"/>
                  <a:gd name="T19" fmla="*/ 34 h 63"/>
                  <a:gd name="T20" fmla="*/ 0 w 114"/>
                  <a:gd name="T21" fmla="*/ 33 h 63"/>
                  <a:gd name="T22" fmla="*/ 4 w 114"/>
                  <a:gd name="T23" fmla="*/ 28 h 63"/>
                  <a:gd name="T24" fmla="*/ 3 w 114"/>
                  <a:gd name="T25" fmla="*/ 23 h 63"/>
                  <a:gd name="T26" fmla="*/ 5 w 114"/>
                  <a:gd name="T27" fmla="*/ 19 h 63"/>
                  <a:gd name="T28" fmla="*/ 14 w 114"/>
                  <a:gd name="T29" fmla="*/ 14 h 63"/>
                  <a:gd name="T30" fmla="*/ 23 w 114"/>
                  <a:gd name="T31" fmla="*/ 6 h 63"/>
                  <a:gd name="T32" fmla="*/ 25 w 114"/>
                  <a:gd name="T33" fmla="*/ 7 h 63"/>
                  <a:gd name="T34" fmla="*/ 30 w 114"/>
                  <a:gd name="T35" fmla="*/ 3 h 63"/>
                  <a:gd name="T36" fmla="*/ 35 w 114"/>
                  <a:gd name="T37" fmla="*/ 2 h 63"/>
                  <a:gd name="T38" fmla="*/ 36 w 114"/>
                  <a:gd name="T39" fmla="*/ 4 h 63"/>
                  <a:gd name="T40" fmla="*/ 39 w 114"/>
                  <a:gd name="T41" fmla="*/ 3 h 63"/>
                  <a:gd name="T42" fmla="*/ 48 w 114"/>
                  <a:gd name="T43" fmla="*/ 5 h 63"/>
                  <a:gd name="T44" fmla="*/ 56 w 114"/>
                  <a:gd name="T45" fmla="*/ 4 h 63"/>
                  <a:gd name="T46" fmla="*/ 62 w 114"/>
                  <a:gd name="T47" fmla="*/ 2 h 63"/>
                  <a:gd name="T48" fmla="*/ 65 w 114"/>
                  <a:gd name="T49" fmla="*/ 0 h 63"/>
                  <a:gd name="T50" fmla="*/ 70 w 114"/>
                  <a:gd name="T51" fmla="*/ 1 h 63"/>
                  <a:gd name="T52" fmla="*/ 74 w 114"/>
                  <a:gd name="T53" fmla="*/ 2 h 63"/>
                  <a:gd name="T54" fmla="*/ 79 w 114"/>
                  <a:gd name="T55" fmla="*/ 2 h 63"/>
                  <a:gd name="T56" fmla="*/ 83 w 114"/>
                  <a:gd name="T57" fmla="*/ 0 h 63"/>
                  <a:gd name="T58" fmla="*/ 91 w 114"/>
                  <a:gd name="T59" fmla="*/ 3 h 63"/>
                  <a:gd name="T60" fmla="*/ 94 w 114"/>
                  <a:gd name="T61" fmla="*/ 3 h 63"/>
                  <a:gd name="T62" fmla="*/ 99 w 114"/>
                  <a:gd name="T63" fmla="*/ 7 h 63"/>
                  <a:gd name="T64" fmla="*/ 104 w 114"/>
                  <a:gd name="T65" fmla="*/ 12 h 63"/>
                  <a:gd name="T66" fmla="*/ 110 w 114"/>
                  <a:gd name="T67" fmla="*/ 15 h 63"/>
                  <a:gd name="T68" fmla="*/ 114 w 114"/>
                  <a:gd name="T69" fmla="*/ 21 h 63"/>
                  <a:gd name="T70" fmla="*/ 108 w 114"/>
                  <a:gd name="T71" fmla="*/ 20 h 63"/>
                  <a:gd name="T72" fmla="*/ 105 w 114"/>
                  <a:gd name="T73" fmla="*/ 23 h 63"/>
                  <a:gd name="T74" fmla="*/ 99 w 114"/>
                  <a:gd name="T75" fmla="*/ 26 h 63"/>
                  <a:gd name="T76" fmla="*/ 94 w 114"/>
                  <a:gd name="T77" fmla="*/ 26 h 63"/>
                  <a:gd name="T78" fmla="*/ 90 w 114"/>
                  <a:gd name="T79" fmla="*/ 29 h 63"/>
                  <a:gd name="T80" fmla="*/ 86 w 114"/>
                  <a:gd name="T81" fmla="*/ 28 h 63"/>
                  <a:gd name="T82" fmla="*/ 84 w 114"/>
                  <a:gd name="T83" fmla="*/ 25 h 63"/>
                  <a:gd name="T84" fmla="*/ 82 w 114"/>
                  <a:gd name="T85" fmla="*/ 25 h 63"/>
                  <a:gd name="T86" fmla="*/ 79 w 114"/>
                  <a:gd name="T87" fmla="*/ 30 h 63"/>
                  <a:gd name="T88" fmla="*/ 77 w 114"/>
                  <a:gd name="T89" fmla="*/ 30 h 63"/>
                  <a:gd name="T90" fmla="*/ 76 w 114"/>
                  <a:gd name="T91" fmla="*/ 34 h 63"/>
                  <a:gd name="T92" fmla="*/ 69 w 114"/>
                  <a:gd name="T93" fmla="*/ 40 h 63"/>
                  <a:gd name="T94" fmla="*/ 66 w 114"/>
                  <a:gd name="T95" fmla="*/ 42 h 63"/>
                  <a:gd name="T96" fmla="*/ 64 w 114"/>
                  <a:gd name="T97" fmla="*/ 45 h 63"/>
                  <a:gd name="T98" fmla="*/ 59 w 114"/>
                  <a:gd name="T99" fmla="*/ 41 h 63"/>
                  <a:gd name="T100" fmla="*/ 54 w 114"/>
                  <a:gd name="T101" fmla="*/ 46 h 63"/>
                  <a:gd name="T102" fmla="*/ 51 w 114"/>
                  <a:gd name="T103" fmla="*/ 46 h 63"/>
                  <a:gd name="T104" fmla="*/ 46 w 114"/>
                  <a:gd name="T105" fmla="*/ 47 h 63"/>
                  <a:gd name="T106" fmla="*/ 46 w 114"/>
                  <a:gd name="T107" fmla="*/ 57 h 63"/>
                  <a:gd name="T108" fmla="*/ 43 w 114"/>
                  <a:gd name="T109" fmla="*/ 57 h 63"/>
                  <a:gd name="T110" fmla="*/ 40 w 114"/>
                  <a:gd name="T111" fmla="*/ 62 h 63"/>
                  <a:gd name="T112" fmla="*/ 34 w 114"/>
                  <a:gd name="T113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4" h="63">
                    <a:moveTo>
                      <a:pt x="34" y="63"/>
                    </a:moveTo>
                    <a:lnTo>
                      <a:pt x="32" y="56"/>
                    </a:lnTo>
                    <a:lnTo>
                      <a:pt x="27" y="54"/>
                    </a:lnTo>
                    <a:lnTo>
                      <a:pt x="29" y="46"/>
                    </a:lnTo>
                    <a:lnTo>
                      <a:pt x="26" y="44"/>
                    </a:lnTo>
                    <a:lnTo>
                      <a:pt x="23" y="42"/>
                    </a:lnTo>
                    <a:lnTo>
                      <a:pt x="14" y="45"/>
                    </a:lnTo>
                    <a:lnTo>
                      <a:pt x="14" y="42"/>
                    </a:lnTo>
                    <a:lnTo>
                      <a:pt x="9" y="39"/>
                    </a:lnTo>
                    <a:lnTo>
                      <a:pt x="5" y="34"/>
                    </a:lnTo>
                    <a:lnTo>
                      <a:pt x="0" y="33"/>
                    </a:lnTo>
                    <a:lnTo>
                      <a:pt x="4" y="28"/>
                    </a:lnTo>
                    <a:lnTo>
                      <a:pt x="3" y="23"/>
                    </a:lnTo>
                    <a:lnTo>
                      <a:pt x="5" y="19"/>
                    </a:lnTo>
                    <a:lnTo>
                      <a:pt x="14" y="14"/>
                    </a:lnTo>
                    <a:lnTo>
                      <a:pt x="23" y="6"/>
                    </a:lnTo>
                    <a:lnTo>
                      <a:pt x="25" y="7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6" y="4"/>
                    </a:lnTo>
                    <a:lnTo>
                      <a:pt x="39" y="3"/>
                    </a:lnTo>
                    <a:lnTo>
                      <a:pt x="48" y="5"/>
                    </a:lnTo>
                    <a:lnTo>
                      <a:pt x="56" y="4"/>
                    </a:lnTo>
                    <a:lnTo>
                      <a:pt x="62" y="2"/>
                    </a:lnTo>
                    <a:lnTo>
                      <a:pt x="65" y="0"/>
                    </a:lnTo>
                    <a:lnTo>
                      <a:pt x="70" y="1"/>
                    </a:lnTo>
                    <a:lnTo>
                      <a:pt x="74" y="2"/>
                    </a:lnTo>
                    <a:lnTo>
                      <a:pt x="79" y="2"/>
                    </a:lnTo>
                    <a:lnTo>
                      <a:pt x="83" y="0"/>
                    </a:lnTo>
                    <a:lnTo>
                      <a:pt x="91" y="3"/>
                    </a:lnTo>
                    <a:lnTo>
                      <a:pt x="94" y="3"/>
                    </a:lnTo>
                    <a:lnTo>
                      <a:pt x="99" y="7"/>
                    </a:lnTo>
                    <a:lnTo>
                      <a:pt x="104" y="12"/>
                    </a:lnTo>
                    <a:lnTo>
                      <a:pt x="110" y="15"/>
                    </a:lnTo>
                    <a:lnTo>
                      <a:pt x="114" y="21"/>
                    </a:lnTo>
                    <a:lnTo>
                      <a:pt x="108" y="20"/>
                    </a:lnTo>
                    <a:lnTo>
                      <a:pt x="105" y="23"/>
                    </a:lnTo>
                    <a:lnTo>
                      <a:pt x="99" y="26"/>
                    </a:lnTo>
                    <a:lnTo>
                      <a:pt x="94" y="26"/>
                    </a:lnTo>
                    <a:lnTo>
                      <a:pt x="90" y="29"/>
                    </a:lnTo>
                    <a:lnTo>
                      <a:pt x="86" y="28"/>
                    </a:lnTo>
                    <a:lnTo>
                      <a:pt x="84" y="25"/>
                    </a:lnTo>
                    <a:lnTo>
                      <a:pt x="82" y="25"/>
                    </a:lnTo>
                    <a:lnTo>
                      <a:pt x="79" y="30"/>
                    </a:lnTo>
                    <a:lnTo>
                      <a:pt x="77" y="30"/>
                    </a:lnTo>
                    <a:lnTo>
                      <a:pt x="76" y="34"/>
                    </a:lnTo>
                    <a:lnTo>
                      <a:pt x="69" y="40"/>
                    </a:lnTo>
                    <a:lnTo>
                      <a:pt x="66" y="42"/>
                    </a:lnTo>
                    <a:lnTo>
                      <a:pt x="64" y="45"/>
                    </a:lnTo>
                    <a:lnTo>
                      <a:pt x="59" y="41"/>
                    </a:lnTo>
                    <a:lnTo>
                      <a:pt x="54" y="46"/>
                    </a:lnTo>
                    <a:lnTo>
                      <a:pt x="51" y="46"/>
                    </a:lnTo>
                    <a:lnTo>
                      <a:pt x="46" y="47"/>
                    </a:lnTo>
                    <a:lnTo>
                      <a:pt x="46" y="57"/>
                    </a:lnTo>
                    <a:lnTo>
                      <a:pt x="43" y="57"/>
                    </a:lnTo>
                    <a:lnTo>
                      <a:pt x="40" y="62"/>
                    </a:lnTo>
                    <a:lnTo>
                      <a:pt x="34" y="63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3" name="Freeform 83"/>
              <p:cNvSpPr>
                <a:spLocks/>
              </p:cNvSpPr>
              <p:nvPr/>
            </p:nvSpPr>
            <p:spPr bwMode="auto">
              <a:xfrm>
                <a:off x="4538662" y="2379662"/>
                <a:ext cx="149225" cy="130175"/>
              </a:xfrm>
              <a:custGeom>
                <a:avLst/>
                <a:gdLst>
                  <a:gd name="T0" fmla="*/ 343 w 386"/>
                  <a:gd name="T1" fmla="*/ 50 h 337"/>
                  <a:gd name="T2" fmla="*/ 363 w 386"/>
                  <a:gd name="T3" fmla="*/ 82 h 337"/>
                  <a:gd name="T4" fmla="*/ 386 w 386"/>
                  <a:gd name="T5" fmla="*/ 106 h 337"/>
                  <a:gd name="T6" fmla="*/ 363 w 386"/>
                  <a:gd name="T7" fmla="*/ 137 h 337"/>
                  <a:gd name="T8" fmla="*/ 331 w 386"/>
                  <a:gd name="T9" fmla="*/ 119 h 337"/>
                  <a:gd name="T10" fmla="*/ 284 w 386"/>
                  <a:gd name="T11" fmla="*/ 120 h 337"/>
                  <a:gd name="T12" fmla="*/ 225 w 386"/>
                  <a:gd name="T13" fmla="*/ 106 h 337"/>
                  <a:gd name="T14" fmla="*/ 194 w 386"/>
                  <a:gd name="T15" fmla="*/ 108 h 337"/>
                  <a:gd name="T16" fmla="*/ 181 w 386"/>
                  <a:gd name="T17" fmla="*/ 125 h 337"/>
                  <a:gd name="T18" fmla="*/ 155 w 386"/>
                  <a:gd name="T19" fmla="*/ 106 h 337"/>
                  <a:gd name="T20" fmla="*/ 144 w 386"/>
                  <a:gd name="T21" fmla="*/ 141 h 337"/>
                  <a:gd name="T22" fmla="*/ 180 w 386"/>
                  <a:gd name="T23" fmla="*/ 180 h 337"/>
                  <a:gd name="T24" fmla="*/ 196 w 386"/>
                  <a:gd name="T25" fmla="*/ 206 h 337"/>
                  <a:gd name="T26" fmla="*/ 230 w 386"/>
                  <a:gd name="T27" fmla="*/ 237 h 337"/>
                  <a:gd name="T28" fmla="*/ 257 w 386"/>
                  <a:gd name="T29" fmla="*/ 256 h 337"/>
                  <a:gd name="T30" fmla="*/ 286 w 386"/>
                  <a:gd name="T31" fmla="*/ 291 h 337"/>
                  <a:gd name="T32" fmla="*/ 349 w 386"/>
                  <a:gd name="T33" fmla="*/ 323 h 337"/>
                  <a:gd name="T34" fmla="*/ 342 w 386"/>
                  <a:gd name="T35" fmla="*/ 337 h 337"/>
                  <a:gd name="T36" fmla="*/ 276 w 386"/>
                  <a:gd name="T37" fmla="*/ 306 h 337"/>
                  <a:gd name="T38" fmla="*/ 234 w 386"/>
                  <a:gd name="T39" fmla="*/ 276 h 337"/>
                  <a:gd name="T40" fmla="*/ 170 w 386"/>
                  <a:gd name="T41" fmla="*/ 251 h 337"/>
                  <a:gd name="T42" fmla="*/ 108 w 386"/>
                  <a:gd name="T43" fmla="*/ 189 h 337"/>
                  <a:gd name="T44" fmla="*/ 121 w 386"/>
                  <a:gd name="T45" fmla="*/ 183 h 337"/>
                  <a:gd name="T46" fmla="*/ 88 w 386"/>
                  <a:gd name="T47" fmla="*/ 148 h 337"/>
                  <a:gd name="T48" fmla="*/ 85 w 386"/>
                  <a:gd name="T49" fmla="*/ 119 h 337"/>
                  <a:gd name="T50" fmla="*/ 40 w 386"/>
                  <a:gd name="T51" fmla="*/ 106 h 337"/>
                  <a:gd name="T52" fmla="*/ 22 w 386"/>
                  <a:gd name="T53" fmla="*/ 142 h 337"/>
                  <a:gd name="T54" fmla="*/ 0 w 386"/>
                  <a:gd name="T55" fmla="*/ 114 h 337"/>
                  <a:gd name="T56" fmla="*/ 0 w 386"/>
                  <a:gd name="T57" fmla="*/ 85 h 337"/>
                  <a:gd name="T58" fmla="*/ 2 w 386"/>
                  <a:gd name="T59" fmla="*/ 84 h 337"/>
                  <a:gd name="T60" fmla="*/ 49 w 386"/>
                  <a:gd name="T61" fmla="*/ 87 h 337"/>
                  <a:gd name="T62" fmla="*/ 61 w 386"/>
                  <a:gd name="T63" fmla="*/ 72 h 337"/>
                  <a:gd name="T64" fmla="*/ 85 w 386"/>
                  <a:gd name="T65" fmla="*/ 86 h 337"/>
                  <a:gd name="T66" fmla="*/ 111 w 386"/>
                  <a:gd name="T67" fmla="*/ 88 h 337"/>
                  <a:gd name="T68" fmla="*/ 109 w 386"/>
                  <a:gd name="T69" fmla="*/ 64 h 337"/>
                  <a:gd name="T70" fmla="*/ 132 w 386"/>
                  <a:gd name="T71" fmla="*/ 56 h 337"/>
                  <a:gd name="T72" fmla="*/ 136 w 386"/>
                  <a:gd name="T73" fmla="*/ 22 h 337"/>
                  <a:gd name="T74" fmla="*/ 187 w 386"/>
                  <a:gd name="T75" fmla="*/ 0 h 337"/>
                  <a:gd name="T76" fmla="*/ 210 w 386"/>
                  <a:gd name="T77" fmla="*/ 10 h 337"/>
                  <a:gd name="T78" fmla="*/ 263 w 386"/>
                  <a:gd name="T79" fmla="*/ 46 h 337"/>
                  <a:gd name="T80" fmla="*/ 320 w 386"/>
                  <a:gd name="T81" fmla="*/ 62 h 337"/>
                  <a:gd name="T82" fmla="*/ 344 w 386"/>
                  <a:gd name="T83" fmla="*/ 50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86" h="337">
                    <a:moveTo>
                      <a:pt x="343" y="50"/>
                    </a:moveTo>
                    <a:lnTo>
                      <a:pt x="363" y="82"/>
                    </a:lnTo>
                    <a:lnTo>
                      <a:pt x="386" y="106"/>
                    </a:lnTo>
                    <a:lnTo>
                      <a:pt x="363" y="137"/>
                    </a:lnTo>
                    <a:lnTo>
                      <a:pt x="331" y="119"/>
                    </a:lnTo>
                    <a:lnTo>
                      <a:pt x="284" y="120"/>
                    </a:lnTo>
                    <a:lnTo>
                      <a:pt x="225" y="106"/>
                    </a:lnTo>
                    <a:lnTo>
                      <a:pt x="194" y="108"/>
                    </a:lnTo>
                    <a:lnTo>
                      <a:pt x="181" y="125"/>
                    </a:lnTo>
                    <a:lnTo>
                      <a:pt x="155" y="106"/>
                    </a:lnTo>
                    <a:lnTo>
                      <a:pt x="144" y="141"/>
                    </a:lnTo>
                    <a:lnTo>
                      <a:pt x="180" y="180"/>
                    </a:lnTo>
                    <a:lnTo>
                      <a:pt x="196" y="206"/>
                    </a:lnTo>
                    <a:lnTo>
                      <a:pt x="230" y="237"/>
                    </a:lnTo>
                    <a:lnTo>
                      <a:pt x="257" y="256"/>
                    </a:lnTo>
                    <a:lnTo>
                      <a:pt x="286" y="291"/>
                    </a:lnTo>
                    <a:lnTo>
                      <a:pt x="349" y="323"/>
                    </a:lnTo>
                    <a:lnTo>
                      <a:pt x="342" y="337"/>
                    </a:lnTo>
                    <a:lnTo>
                      <a:pt x="276" y="306"/>
                    </a:lnTo>
                    <a:lnTo>
                      <a:pt x="234" y="276"/>
                    </a:lnTo>
                    <a:lnTo>
                      <a:pt x="170" y="251"/>
                    </a:lnTo>
                    <a:lnTo>
                      <a:pt x="108" y="189"/>
                    </a:lnTo>
                    <a:lnTo>
                      <a:pt x="121" y="183"/>
                    </a:lnTo>
                    <a:lnTo>
                      <a:pt x="88" y="148"/>
                    </a:lnTo>
                    <a:lnTo>
                      <a:pt x="85" y="119"/>
                    </a:lnTo>
                    <a:lnTo>
                      <a:pt x="40" y="106"/>
                    </a:lnTo>
                    <a:lnTo>
                      <a:pt x="22" y="142"/>
                    </a:lnTo>
                    <a:lnTo>
                      <a:pt x="0" y="114"/>
                    </a:lnTo>
                    <a:lnTo>
                      <a:pt x="0" y="85"/>
                    </a:lnTo>
                    <a:lnTo>
                      <a:pt x="2" y="84"/>
                    </a:lnTo>
                    <a:lnTo>
                      <a:pt x="49" y="87"/>
                    </a:lnTo>
                    <a:lnTo>
                      <a:pt x="61" y="72"/>
                    </a:lnTo>
                    <a:lnTo>
                      <a:pt x="85" y="86"/>
                    </a:lnTo>
                    <a:lnTo>
                      <a:pt x="111" y="88"/>
                    </a:lnTo>
                    <a:lnTo>
                      <a:pt x="109" y="64"/>
                    </a:lnTo>
                    <a:lnTo>
                      <a:pt x="132" y="56"/>
                    </a:lnTo>
                    <a:lnTo>
                      <a:pt x="136" y="22"/>
                    </a:lnTo>
                    <a:lnTo>
                      <a:pt x="187" y="0"/>
                    </a:lnTo>
                    <a:lnTo>
                      <a:pt x="210" y="10"/>
                    </a:lnTo>
                    <a:lnTo>
                      <a:pt x="263" y="46"/>
                    </a:lnTo>
                    <a:lnTo>
                      <a:pt x="320" y="62"/>
                    </a:lnTo>
                    <a:lnTo>
                      <a:pt x="344" y="50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4" name="Freeform 84"/>
              <p:cNvSpPr>
                <a:spLocks/>
              </p:cNvSpPr>
              <p:nvPr/>
            </p:nvSpPr>
            <p:spPr bwMode="auto">
              <a:xfrm>
                <a:off x="2041525" y="3252787"/>
                <a:ext cx="85725" cy="61913"/>
              </a:xfrm>
              <a:custGeom>
                <a:avLst/>
                <a:gdLst>
                  <a:gd name="T0" fmla="*/ 27 w 54"/>
                  <a:gd name="T1" fmla="*/ 0 h 39"/>
                  <a:gd name="T2" fmla="*/ 38 w 54"/>
                  <a:gd name="T3" fmla="*/ 0 h 39"/>
                  <a:gd name="T4" fmla="*/ 53 w 54"/>
                  <a:gd name="T5" fmla="*/ 4 h 39"/>
                  <a:gd name="T6" fmla="*/ 54 w 54"/>
                  <a:gd name="T7" fmla="*/ 15 h 39"/>
                  <a:gd name="T8" fmla="*/ 51 w 54"/>
                  <a:gd name="T9" fmla="*/ 23 h 39"/>
                  <a:gd name="T10" fmla="*/ 46 w 54"/>
                  <a:gd name="T11" fmla="*/ 27 h 39"/>
                  <a:gd name="T12" fmla="*/ 50 w 54"/>
                  <a:gd name="T13" fmla="*/ 33 h 39"/>
                  <a:gd name="T14" fmla="*/ 49 w 54"/>
                  <a:gd name="T15" fmla="*/ 39 h 39"/>
                  <a:gd name="T16" fmla="*/ 38 w 54"/>
                  <a:gd name="T17" fmla="*/ 35 h 39"/>
                  <a:gd name="T18" fmla="*/ 29 w 54"/>
                  <a:gd name="T19" fmla="*/ 36 h 39"/>
                  <a:gd name="T20" fmla="*/ 18 w 54"/>
                  <a:gd name="T21" fmla="*/ 35 h 39"/>
                  <a:gd name="T22" fmla="*/ 9 w 54"/>
                  <a:gd name="T23" fmla="*/ 39 h 39"/>
                  <a:gd name="T24" fmla="*/ 0 w 54"/>
                  <a:gd name="T25" fmla="*/ 32 h 39"/>
                  <a:gd name="T26" fmla="*/ 3 w 54"/>
                  <a:gd name="T27" fmla="*/ 26 h 39"/>
                  <a:gd name="T28" fmla="*/ 19 w 54"/>
                  <a:gd name="T29" fmla="*/ 29 h 39"/>
                  <a:gd name="T30" fmla="*/ 33 w 54"/>
                  <a:gd name="T31" fmla="*/ 30 h 39"/>
                  <a:gd name="T32" fmla="*/ 39 w 54"/>
                  <a:gd name="T33" fmla="*/ 26 h 39"/>
                  <a:gd name="T34" fmla="*/ 32 w 54"/>
                  <a:gd name="T35" fmla="*/ 17 h 39"/>
                  <a:gd name="T36" fmla="*/ 33 w 54"/>
                  <a:gd name="T37" fmla="*/ 9 h 39"/>
                  <a:gd name="T38" fmla="*/ 22 w 54"/>
                  <a:gd name="T39" fmla="*/ 5 h 39"/>
                  <a:gd name="T40" fmla="*/ 27 w 54"/>
                  <a:gd name="T4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4" h="39">
                    <a:moveTo>
                      <a:pt x="27" y="0"/>
                    </a:moveTo>
                    <a:lnTo>
                      <a:pt x="38" y="0"/>
                    </a:lnTo>
                    <a:lnTo>
                      <a:pt x="53" y="4"/>
                    </a:lnTo>
                    <a:lnTo>
                      <a:pt x="54" y="15"/>
                    </a:lnTo>
                    <a:lnTo>
                      <a:pt x="51" y="23"/>
                    </a:lnTo>
                    <a:lnTo>
                      <a:pt x="46" y="27"/>
                    </a:lnTo>
                    <a:lnTo>
                      <a:pt x="50" y="33"/>
                    </a:lnTo>
                    <a:lnTo>
                      <a:pt x="49" y="39"/>
                    </a:lnTo>
                    <a:lnTo>
                      <a:pt x="38" y="35"/>
                    </a:lnTo>
                    <a:lnTo>
                      <a:pt x="29" y="36"/>
                    </a:lnTo>
                    <a:lnTo>
                      <a:pt x="18" y="35"/>
                    </a:lnTo>
                    <a:lnTo>
                      <a:pt x="9" y="39"/>
                    </a:lnTo>
                    <a:lnTo>
                      <a:pt x="0" y="32"/>
                    </a:lnTo>
                    <a:lnTo>
                      <a:pt x="3" y="26"/>
                    </a:lnTo>
                    <a:lnTo>
                      <a:pt x="19" y="29"/>
                    </a:lnTo>
                    <a:lnTo>
                      <a:pt x="33" y="30"/>
                    </a:lnTo>
                    <a:lnTo>
                      <a:pt x="39" y="26"/>
                    </a:lnTo>
                    <a:lnTo>
                      <a:pt x="32" y="17"/>
                    </a:lnTo>
                    <a:lnTo>
                      <a:pt x="33" y="9"/>
                    </a:lnTo>
                    <a:lnTo>
                      <a:pt x="22" y="5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5" name="Freeform 85"/>
              <p:cNvSpPr>
                <a:spLocks/>
              </p:cNvSpPr>
              <p:nvPr/>
            </p:nvSpPr>
            <p:spPr bwMode="auto">
              <a:xfrm>
                <a:off x="4600575" y="2311400"/>
                <a:ext cx="165100" cy="92075"/>
              </a:xfrm>
              <a:custGeom>
                <a:avLst/>
                <a:gdLst>
                  <a:gd name="T0" fmla="*/ 0 w 104"/>
                  <a:gd name="T1" fmla="*/ 36 h 58"/>
                  <a:gd name="T2" fmla="*/ 5 w 104"/>
                  <a:gd name="T3" fmla="*/ 23 h 58"/>
                  <a:gd name="T4" fmla="*/ 1 w 104"/>
                  <a:gd name="T5" fmla="*/ 18 h 58"/>
                  <a:gd name="T6" fmla="*/ 10 w 104"/>
                  <a:gd name="T7" fmla="*/ 18 h 58"/>
                  <a:gd name="T8" fmla="*/ 11 w 104"/>
                  <a:gd name="T9" fmla="*/ 10 h 58"/>
                  <a:gd name="T10" fmla="*/ 20 w 104"/>
                  <a:gd name="T11" fmla="*/ 15 h 58"/>
                  <a:gd name="T12" fmla="*/ 26 w 104"/>
                  <a:gd name="T13" fmla="*/ 17 h 58"/>
                  <a:gd name="T14" fmla="*/ 39 w 104"/>
                  <a:gd name="T15" fmla="*/ 15 h 58"/>
                  <a:gd name="T16" fmla="*/ 40 w 104"/>
                  <a:gd name="T17" fmla="*/ 11 h 58"/>
                  <a:gd name="T18" fmla="*/ 46 w 104"/>
                  <a:gd name="T19" fmla="*/ 10 h 58"/>
                  <a:gd name="T20" fmla="*/ 54 w 104"/>
                  <a:gd name="T21" fmla="*/ 7 h 58"/>
                  <a:gd name="T22" fmla="*/ 56 w 104"/>
                  <a:gd name="T23" fmla="*/ 8 h 58"/>
                  <a:gd name="T24" fmla="*/ 63 w 104"/>
                  <a:gd name="T25" fmla="*/ 6 h 58"/>
                  <a:gd name="T26" fmla="*/ 66 w 104"/>
                  <a:gd name="T27" fmla="*/ 1 h 58"/>
                  <a:gd name="T28" fmla="*/ 72 w 104"/>
                  <a:gd name="T29" fmla="*/ 0 h 58"/>
                  <a:gd name="T30" fmla="*/ 90 w 104"/>
                  <a:gd name="T31" fmla="*/ 6 h 58"/>
                  <a:gd name="T32" fmla="*/ 93 w 104"/>
                  <a:gd name="T33" fmla="*/ 4 h 58"/>
                  <a:gd name="T34" fmla="*/ 102 w 104"/>
                  <a:gd name="T35" fmla="*/ 9 h 58"/>
                  <a:gd name="T36" fmla="*/ 104 w 104"/>
                  <a:gd name="T37" fmla="*/ 15 h 58"/>
                  <a:gd name="T38" fmla="*/ 95 w 104"/>
                  <a:gd name="T39" fmla="*/ 19 h 58"/>
                  <a:gd name="T40" fmla="*/ 89 w 104"/>
                  <a:gd name="T41" fmla="*/ 33 h 58"/>
                  <a:gd name="T42" fmla="*/ 80 w 104"/>
                  <a:gd name="T43" fmla="*/ 47 h 58"/>
                  <a:gd name="T44" fmla="*/ 67 w 104"/>
                  <a:gd name="T45" fmla="*/ 51 h 58"/>
                  <a:gd name="T46" fmla="*/ 57 w 104"/>
                  <a:gd name="T47" fmla="*/ 50 h 58"/>
                  <a:gd name="T48" fmla="*/ 45 w 104"/>
                  <a:gd name="T49" fmla="*/ 55 h 58"/>
                  <a:gd name="T50" fmla="*/ 39 w 104"/>
                  <a:gd name="T51" fmla="*/ 58 h 58"/>
                  <a:gd name="T52" fmla="*/ 25 w 104"/>
                  <a:gd name="T53" fmla="*/ 54 h 58"/>
                  <a:gd name="T54" fmla="*/ 12 w 104"/>
                  <a:gd name="T55" fmla="*/ 45 h 58"/>
                  <a:gd name="T56" fmla="*/ 7 w 104"/>
                  <a:gd name="T57" fmla="*/ 43 h 58"/>
                  <a:gd name="T58" fmla="*/ 3 w 104"/>
                  <a:gd name="T59" fmla="*/ 36 h 58"/>
                  <a:gd name="T60" fmla="*/ 0 w 104"/>
                  <a:gd name="T61" fmla="*/ 3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4" h="58">
                    <a:moveTo>
                      <a:pt x="0" y="36"/>
                    </a:moveTo>
                    <a:lnTo>
                      <a:pt x="5" y="23"/>
                    </a:lnTo>
                    <a:lnTo>
                      <a:pt x="1" y="18"/>
                    </a:lnTo>
                    <a:lnTo>
                      <a:pt x="10" y="18"/>
                    </a:lnTo>
                    <a:lnTo>
                      <a:pt x="11" y="10"/>
                    </a:lnTo>
                    <a:lnTo>
                      <a:pt x="20" y="15"/>
                    </a:lnTo>
                    <a:lnTo>
                      <a:pt x="26" y="17"/>
                    </a:lnTo>
                    <a:lnTo>
                      <a:pt x="39" y="15"/>
                    </a:lnTo>
                    <a:lnTo>
                      <a:pt x="40" y="11"/>
                    </a:lnTo>
                    <a:lnTo>
                      <a:pt x="46" y="10"/>
                    </a:lnTo>
                    <a:lnTo>
                      <a:pt x="54" y="7"/>
                    </a:lnTo>
                    <a:lnTo>
                      <a:pt x="56" y="8"/>
                    </a:lnTo>
                    <a:lnTo>
                      <a:pt x="63" y="6"/>
                    </a:lnTo>
                    <a:lnTo>
                      <a:pt x="66" y="1"/>
                    </a:lnTo>
                    <a:lnTo>
                      <a:pt x="72" y="0"/>
                    </a:lnTo>
                    <a:lnTo>
                      <a:pt x="90" y="6"/>
                    </a:lnTo>
                    <a:lnTo>
                      <a:pt x="93" y="4"/>
                    </a:lnTo>
                    <a:lnTo>
                      <a:pt x="102" y="9"/>
                    </a:lnTo>
                    <a:lnTo>
                      <a:pt x="104" y="15"/>
                    </a:lnTo>
                    <a:lnTo>
                      <a:pt x="95" y="19"/>
                    </a:lnTo>
                    <a:lnTo>
                      <a:pt x="89" y="33"/>
                    </a:lnTo>
                    <a:lnTo>
                      <a:pt x="80" y="47"/>
                    </a:lnTo>
                    <a:lnTo>
                      <a:pt x="67" y="51"/>
                    </a:lnTo>
                    <a:lnTo>
                      <a:pt x="57" y="50"/>
                    </a:lnTo>
                    <a:lnTo>
                      <a:pt x="45" y="55"/>
                    </a:lnTo>
                    <a:lnTo>
                      <a:pt x="39" y="58"/>
                    </a:lnTo>
                    <a:lnTo>
                      <a:pt x="25" y="54"/>
                    </a:lnTo>
                    <a:lnTo>
                      <a:pt x="12" y="45"/>
                    </a:lnTo>
                    <a:lnTo>
                      <a:pt x="7" y="43"/>
                    </a:lnTo>
                    <a:lnTo>
                      <a:pt x="3" y="36"/>
                    </a:lnTo>
                    <a:lnTo>
                      <a:pt x="0" y="3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6" name="Freeform 86"/>
              <p:cNvSpPr>
                <a:spLocks noEditPoints="1"/>
              </p:cNvSpPr>
              <p:nvPr/>
            </p:nvSpPr>
            <p:spPr bwMode="auto">
              <a:xfrm>
                <a:off x="6958012" y="3729038"/>
                <a:ext cx="1335088" cy="522288"/>
              </a:xfrm>
              <a:custGeom>
                <a:avLst/>
                <a:gdLst>
                  <a:gd name="T0" fmla="*/ 552 w 3445"/>
                  <a:gd name="T1" fmla="*/ 826 h 1349"/>
                  <a:gd name="T2" fmla="*/ 373 w 3445"/>
                  <a:gd name="T3" fmla="*/ 522 h 1349"/>
                  <a:gd name="T4" fmla="*/ 188 w 3445"/>
                  <a:gd name="T5" fmla="*/ 258 h 1349"/>
                  <a:gd name="T6" fmla="*/ 0 w 3445"/>
                  <a:gd name="T7" fmla="*/ 0 h 1349"/>
                  <a:gd name="T8" fmla="*/ 294 w 3445"/>
                  <a:gd name="T9" fmla="*/ 161 h 1349"/>
                  <a:gd name="T10" fmla="*/ 550 w 3445"/>
                  <a:gd name="T11" fmla="*/ 347 h 1349"/>
                  <a:gd name="T12" fmla="*/ 664 w 3445"/>
                  <a:gd name="T13" fmla="*/ 557 h 1349"/>
                  <a:gd name="T14" fmla="*/ 784 w 3445"/>
                  <a:gd name="T15" fmla="*/ 673 h 1349"/>
                  <a:gd name="T16" fmla="*/ 1707 w 3445"/>
                  <a:gd name="T17" fmla="*/ 311 h 1349"/>
                  <a:gd name="T18" fmla="*/ 1681 w 3445"/>
                  <a:gd name="T19" fmla="*/ 535 h 1349"/>
                  <a:gd name="T20" fmla="*/ 1562 w 3445"/>
                  <a:gd name="T21" fmla="*/ 778 h 1349"/>
                  <a:gd name="T22" fmla="*/ 1357 w 3445"/>
                  <a:gd name="T23" fmla="*/ 732 h 1349"/>
                  <a:gd name="T24" fmla="*/ 1129 w 3445"/>
                  <a:gd name="T25" fmla="*/ 716 h 1349"/>
                  <a:gd name="T26" fmla="*/ 1037 w 3445"/>
                  <a:gd name="T27" fmla="*/ 431 h 1349"/>
                  <a:gd name="T28" fmla="*/ 1154 w 3445"/>
                  <a:gd name="T29" fmla="*/ 401 h 1349"/>
                  <a:gd name="T30" fmla="*/ 1330 w 3445"/>
                  <a:gd name="T31" fmla="*/ 339 h 1349"/>
                  <a:gd name="T32" fmla="*/ 1527 w 3445"/>
                  <a:gd name="T33" fmla="*/ 197 h 1349"/>
                  <a:gd name="T34" fmla="*/ 1662 w 3445"/>
                  <a:gd name="T35" fmla="*/ 191 h 1349"/>
                  <a:gd name="T36" fmla="*/ 2518 w 3445"/>
                  <a:gd name="T37" fmla="*/ 445 h 1349"/>
                  <a:gd name="T38" fmla="*/ 2477 w 3445"/>
                  <a:gd name="T39" fmla="*/ 543 h 1349"/>
                  <a:gd name="T40" fmla="*/ 2463 w 3445"/>
                  <a:gd name="T41" fmla="*/ 281 h 1349"/>
                  <a:gd name="T42" fmla="*/ 2262 w 3445"/>
                  <a:gd name="T43" fmla="*/ 346 h 1349"/>
                  <a:gd name="T44" fmla="*/ 1948 w 3445"/>
                  <a:gd name="T45" fmla="*/ 434 h 1349"/>
                  <a:gd name="T46" fmla="*/ 1979 w 3445"/>
                  <a:gd name="T47" fmla="*/ 548 h 1349"/>
                  <a:gd name="T48" fmla="*/ 2047 w 3445"/>
                  <a:gd name="T49" fmla="*/ 596 h 1349"/>
                  <a:gd name="T50" fmla="*/ 2098 w 3445"/>
                  <a:gd name="T51" fmla="*/ 865 h 1349"/>
                  <a:gd name="T52" fmla="*/ 2065 w 3445"/>
                  <a:gd name="T53" fmla="*/ 847 h 1349"/>
                  <a:gd name="T54" fmla="*/ 1931 w 3445"/>
                  <a:gd name="T55" fmla="*/ 773 h 1349"/>
                  <a:gd name="T56" fmla="*/ 1889 w 3445"/>
                  <a:gd name="T57" fmla="*/ 937 h 1349"/>
                  <a:gd name="T58" fmla="*/ 1826 w 3445"/>
                  <a:gd name="T59" fmla="*/ 764 h 1349"/>
                  <a:gd name="T60" fmla="*/ 1816 w 3445"/>
                  <a:gd name="T61" fmla="*/ 582 h 1349"/>
                  <a:gd name="T62" fmla="*/ 1993 w 3445"/>
                  <a:gd name="T63" fmla="*/ 380 h 1349"/>
                  <a:gd name="T64" fmla="*/ 2262 w 3445"/>
                  <a:gd name="T65" fmla="*/ 346 h 1349"/>
                  <a:gd name="T66" fmla="*/ 3092 w 3445"/>
                  <a:gd name="T67" fmla="*/ 663 h 1349"/>
                  <a:gd name="T68" fmla="*/ 3365 w 3445"/>
                  <a:gd name="T69" fmla="*/ 672 h 1349"/>
                  <a:gd name="T70" fmla="*/ 3353 w 3445"/>
                  <a:gd name="T71" fmla="*/ 1173 h 1349"/>
                  <a:gd name="T72" fmla="*/ 3200 w 3445"/>
                  <a:gd name="T73" fmla="*/ 1114 h 1349"/>
                  <a:gd name="T74" fmla="*/ 3062 w 3445"/>
                  <a:gd name="T75" fmla="*/ 854 h 1349"/>
                  <a:gd name="T76" fmla="*/ 2838 w 3445"/>
                  <a:gd name="T77" fmla="*/ 817 h 1349"/>
                  <a:gd name="T78" fmla="*/ 2849 w 3445"/>
                  <a:gd name="T79" fmla="*/ 676 h 1349"/>
                  <a:gd name="T80" fmla="*/ 2758 w 3445"/>
                  <a:gd name="T81" fmla="*/ 604 h 1349"/>
                  <a:gd name="T82" fmla="*/ 2800 w 3445"/>
                  <a:gd name="T83" fmla="*/ 498 h 1349"/>
                  <a:gd name="T84" fmla="*/ 2677 w 3445"/>
                  <a:gd name="T85" fmla="*/ 795 h 1349"/>
                  <a:gd name="T86" fmla="*/ 2458 w 3445"/>
                  <a:gd name="T87" fmla="*/ 755 h 1349"/>
                  <a:gd name="T88" fmla="*/ 2409 w 3445"/>
                  <a:gd name="T89" fmla="*/ 761 h 1349"/>
                  <a:gd name="T90" fmla="*/ 2391 w 3445"/>
                  <a:gd name="T91" fmla="*/ 733 h 1349"/>
                  <a:gd name="T92" fmla="*/ 2914 w 3445"/>
                  <a:gd name="T93" fmla="*/ 990 h 1349"/>
                  <a:gd name="T94" fmla="*/ 2960 w 3445"/>
                  <a:gd name="T95" fmla="*/ 996 h 1349"/>
                  <a:gd name="T96" fmla="*/ 1295 w 3445"/>
                  <a:gd name="T97" fmla="*/ 1058 h 1349"/>
                  <a:gd name="T98" fmla="*/ 1431 w 3445"/>
                  <a:gd name="T99" fmla="*/ 1212 h 1349"/>
                  <a:gd name="T100" fmla="*/ 1136 w 3445"/>
                  <a:gd name="T101" fmla="*/ 1158 h 1349"/>
                  <a:gd name="T102" fmla="*/ 830 w 3445"/>
                  <a:gd name="T103" fmla="*/ 1093 h 1349"/>
                  <a:gd name="T104" fmla="*/ 898 w 3445"/>
                  <a:gd name="T105" fmla="*/ 974 h 1349"/>
                  <a:gd name="T106" fmla="*/ 2061 w 3445"/>
                  <a:gd name="T107" fmla="*/ 1156 h 1349"/>
                  <a:gd name="T108" fmla="*/ 1835 w 3445"/>
                  <a:gd name="T109" fmla="*/ 1186 h 1349"/>
                  <a:gd name="T110" fmla="*/ 2061 w 3445"/>
                  <a:gd name="T111" fmla="*/ 1156 h 1349"/>
                  <a:gd name="T112" fmla="*/ 1774 w 3445"/>
                  <a:gd name="T113" fmla="*/ 1208 h 1349"/>
                  <a:gd name="T114" fmla="*/ 1622 w 3445"/>
                  <a:gd name="T115" fmla="*/ 1187 h 1349"/>
                  <a:gd name="T116" fmla="*/ 2095 w 3445"/>
                  <a:gd name="T117" fmla="*/ 1349 h 1349"/>
                  <a:gd name="T118" fmla="*/ 2210 w 3445"/>
                  <a:gd name="T119" fmla="*/ 1224 h 1349"/>
                  <a:gd name="T120" fmla="*/ 1881 w 3445"/>
                  <a:gd name="T121" fmla="*/ 1339 h 1349"/>
                  <a:gd name="T122" fmla="*/ 1864 w 3445"/>
                  <a:gd name="T123" fmla="*/ 1290 h 1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45" h="1349">
                    <a:moveTo>
                      <a:pt x="789" y="965"/>
                    </a:moveTo>
                    <a:lnTo>
                      <a:pt x="706" y="967"/>
                    </a:lnTo>
                    <a:lnTo>
                      <a:pt x="646" y="895"/>
                    </a:lnTo>
                    <a:lnTo>
                      <a:pt x="552" y="826"/>
                    </a:lnTo>
                    <a:lnTo>
                      <a:pt x="521" y="774"/>
                    </a:lnTo>
                    <a:lnTo>
                      <a:pt x="466" y="705"/>
                    </a:lnTo>
                    <a:lnTo>
                      <a:pt x="429" y="641"/>
                    </a:lnTo>
                    <a:lnTo>
                      <a:pt x="373" y="522"/>
                    </a:lnTo>
                    <a:lnTo>
                      <a:pt x="307" y="451"/>
                    </a:lnTo>
                    <a:lnTo>
                      <a:pt x="285" y="378"/>
                    </a:lnTo>
                    <a:lnTo>
                      <a:pt x="257" y="311"/>
                    </a:lnTo>
                    <a:lnTo>
                      <a:pt x="188" y="258"/>
                    </a:lnTo>
                    <a:lnTo>
                      <a:pt x="147" y="185"/>
                    </a:lnTo>
                    <a:lnTo>
                      <a:pt x="89" y="137"/>
                    </a:lnTo>
                    <a:lnTo>
                      <a:pt x="8" y="43"/>
                    </a:lnTo>
                    <a:lnTo>
                      <a:pt x="0" y="0"/>
                    </a:lnTo>
                    <a:lnTo>
                      <a:pt x="48" y="3"/>
                    </a:lnTo>
                    <a:lnTo>
                      <a:pt x="165" y="20"/>
                    </a:lnTo>
                    <a:lnTo>
                      <a:pt x="234" y="103"/>
                    </a:lnTo>
                    <a:lnTo>
                      <a:pt x="294" y="161"/>
                    </a:lnTo>
                    <a:lnTo>
                      <a:pt x="337" y="196"/>
                    </a:lnTo>
                    <a:lnTo>
                      <a:pt x="410" y="288"/>
                    </a:lnTo>
                    <a:lnTo>
                      <a:pt x="486" y="289"/>
                    </a:lnTo>
                    <a:lnTo>
                      <a:pt x="550" y="347"/>
                    </a:lnTo>
                    <a:lnTo>
                      <a:pt x="594" y="419"/>
                    </a:lnTo>
                    <a:lnTo>
                      <a:pt x="652" y="458"/>
                    </a:lnTo>
                    <a:lnTo>
                      <a:pt x="621" y="527"/>
                    </a:lnTo>
                    <a:lnTo>
                      <a:pt x="664" y="557"/>
                    </a:lnTo>
                    <a:lnTo>
                      <a:pt x="691" y="559"/>
                    </a:lnTo>
                    <a:lnTo>
                      <a:pt x="703" y="618"/>
                    </a:lnTo>
                    <a:lnTo>
                      <a:pt x="729" y="666"/>
                    </a:lnTo>
                    <a:lnTo>
                      <a:pt x="784" y="673"/>
                    </a:lnTo>
                    <a:lnTo>
                      <a:pt x="819" y="727"/>
                    </a:lnTo>
                    <a:lnTo>
                      <a:pt x="797" y="833"/>
                    </a:lnTo>
                    <a:lnTo>
                      <a:pt x="789" y="965"/>
                    </a:lnTo>
                    <a:moveTo>
                      <a:pt x="1707" y="311"/>
                    </a:moveTo>
                    <a:lnTo>
                      <a:pt x="1792" y="390"/>
                    </a:lnTo>
                    <a:lnTo>
                      <a:pt x="1703" y="400"/>
                    </a:lnTo>
                    <a:lnTo>
                      <a:pt x="1678" y="458"/>
                    </a:lnTo>
                    <a:lnTo>
                      <a:pt x="1681" y="535"/>
                    </a:lnTo>
                    <a:lnTo>
                      <a:pt x="1608" y="593"/>
                    </a:lnTo>
                    <a:lnTo>
                      <a:pt x="1605" y="678"/>
                    </a:lnTo>
                    <a:lnTo>
                      <a:pt x="1572" y="808"/>
                    </a:lnTo>
                    <a:lnTo>
                      <a:pt x="1562" y="778"/>
                    </a:lnTo>
                    <a:lnTo>
                      <a:pt x="1475" y="816"/>
                    </a:lnTo>
                    <a:lnTo>
                      <a:pt x="1447" y="764"/>
                    </a:lnTo>
                    <a:lnTo>
                      <a:pt x="1394" y="759"/>
                    </a:lnTo>
                    <a:lnTo>
                      <a:pt x="1357" y="732"/>
                    </a:lnTo>
                    <a:lnTo>
                      <a:pt x="1267" y="763"/>
                    </a:lnTo>
                    <a:lnTo>
                      <a:pt x="1240" y="722"/>
                    </a:lnTo>
                    <a:lnTo>
                      <a:pt x="1191" y="726"/>
                    </a:lnTo>
                    <a:lnTo>
                      <a:pt x="1129" y="716"/>
                    </a:lnTo>
                    <a:lnTo>
                      <a:pt x="1120" y="602"/>
                    </a:lnTo>
                    <a:lnTo>
                      <a:pt x="1083" y="578"/>
                    </a:lnTo>
                    <a:lnTo>
                      <a:pt x="1047" y="506"/>
                    </a:lnTo>
                    <a:lnTo>
                      <a:pt x="1037" y="431"/>
                    </a:lnTo>
                    <a:lnTo>
                      <a:pt x="1045" y="352"/>
                    </a:lnTo>
                    <a:lnTo>
                      <a:pt x="1089" y="296"/>
                    </a:lnTo>
                    <a:lnTo>
                      <a:pt x="1102" y="353"/>
                    </a:lnTo>
                    <a:lnTo>
                      <a:pt x="1154" y="401"/>
                    </a:lnTo>
                    <a:lnTo>
                      <a:pt x="1202" y="383"/>
                    </a:lnTo>
                    <a:lnTo>
                      <a:pt x="1250" y="389"/>
                    </a:lnTo>
                    <a:lnTo>
                      <a:pt x="1294" y="346"/>
                    </a:lnTo>
                    <a:lnTo>
                      <a:pt x="1330" y="339"/>
                    </a:lnTo>
                    <a:lnTo>
                      <a:pt x="1401" y="363"/>
                    </a:lnTo>
                    <a:lnTo>
                      <a:pt x="1463" y="345"/>
                    </a:lnTo>
                    <a:lnTo>
                      <a:pt x="1499" y="226"/>
                    </a:lnTo>
                    <a:lnTo>
                      <a:pt x="1527" y="197"/>
                    </a:lnTo>
                    <a:lnTo>
                      <a:pt x="1550" y="100"/>
                    </a:lnTo>
                    <a:lnTo>
                      <a:pt x="1637" y="100"/>
                    </a:lnTo>
                    <a:lnTo>
                      <a:pt x="1702" y="114"/>
                    </a:lnTo>
                    <a:lnTo>
                      <a:pt x="1662" y="191"/>
                    </a:lnTo>
                    <a:lnTo>
                      <a:pt x="1719" y="272"/>
                    </a:lnTo>
                    <a:lnTo>
                      <a:pt x="1707" y="311"/>
                    </a:lnTo>
                    <a:moveTo>
                      <a:pt x="2521" y="370"/>
                    </a:moveTo>
                    <a:lnTo>
                      <a:pt x="2518" y="445"/>
                    </a:lnTo>
                    <a:lnTo>
                      <a:pt x="2479" y="436"/>
                    </a:lnTo>
                    <a:lnTo>
                      <a:pt x="2468" y="488"/>
                    </a:lnTo>
                    <a:lnTo>
                      <a:pt x="2498" y="533"/>
                    </a:lnTo>
                    <a:lnTo>
                      <a:pt x="2477" y="543"/>
                    </a:lnTo>
                    <a:lnTo>
                      <a:pt x="2447" y="489"/>
                    </a:lnTo>
                    <a:lnTo>
                      <a:pt x="2424" y="380"/>
                    </a:lnTo>
                    <a:lnTo>
                      <a:pt x="2439" y="312"/>
                    </a:lnTo>
                    <a:lnTo>
                      <a:pt x="2463" y="281"/>
                    </a:lnTo>
                    <a:lnTo>
                      <a:pt x="2469" y="328"/>
                    </a:lnTo>
                    <a:lnTo>
                      <a:pt x="2514" y="335"/>
                    </a:lnTo>
                    <a:lnTo>
                      <a:pt x="2521" y="370"/>
                    </a:lnTo>
                    <a:moveTo>
                      <a:pt x="2262" y="346"/>
                    </a:moveTo>
                    <a:lnTo>
                      <a:pt x="2202" y="430"/>
                    </a:lnTo>
                    <a:lnTo>
                      <a:pt x="2145" y="446"/>
                    </a:lnTo>
                    <a:lnTo>
                      <a:pt x="2073" y="430"/>
                    </a:lnTo>
                    <a:lnTo>
                      <a:pt x="1948" y="434"/>
                    </a:lnTo>
                    <a:lnTo>
                      <a:pt x="1882" y="446"/>
                    </a:lnTo>
                    <a:lnTo>
                      <a:pt x="1871" y="511"/>
                    </a:lnTo>
                    <a:lnTo>
                      <a:pt x="1938" y="586"/>
                    </a:lnTo>
                    <a:lnTo>
                      <a:pt x="1979" y="548"/>
                    </a:lnTo>
                    <a:lnTo>
                      <a:pt x="2119" y="519"/>
                    </a:lnTo>
                    <a:lnTo>
                      <a:pt x="2113" y="558"/>
                    </a:lnTo>
                    <a:lnTo>
                      <a:pt x="2080" y="546"/>
                    </a:lnTo>
                    <a:lnTo>
                      <a:pt x="2047" y="596"/>
                    </a:lnTo>
                    <a:lnTo>
                      <a:pt x="1980" y="629"/>
                    </a:lnTo>
                    <a:lnTo>
                      <a:pt x="2049" y="738"/>
                    </a:lnTo>
                    <a:lnTo>
                      <a:pt x="2034" y="767"/>
                    </a:lnTo>
                    <a:lnTo>
                      <a:pt x="2098" y="865"/>
                    </a:lnTo>
                    <a:lnTo>
                      <a:pt x="2095" y="921"/>
                    </a:lnTo>
                    <a:lnTo>
                      <a:pt x="2054" y="946"/>
                    </a:lnTo>
                    <a:lnTo>
                      <a:pt x="2026" y="916"/>
                    </a:lnTo>
                    <a:lnTo>
                      <a:pt x="2065" y="847"/>
                    </a:lnTo>
                    <a:lnTo>
                      <a:pt x="1990" y="880"/>
                    </a:lnTo>
                    <a:lnTo>
                      <a:pt x="1972" y="856"/>
                    </a:lnTo>
                    <a:lnTo>
                      <a:pt x="1983" y="823"/>
                    </a:lnTo>
                    <a:lnTo>
                      <a:pt x="1931" y="773"/>
                    </a:lnTo>
                    <a:lnTo>
                      <a:pt x="1939" y="690"/>
                    </a:lnTo>
                    <a:lnTo>
                      <a:pt x="1888" y="716"/>
                    </a:lnTo>
                    <a:lnTo>
                      <a:pt x="1891" y="815"/>
                    </a:lnTo>
                    <a:lnTo>
                      <a:pt x="1889" y="937"/>
                    </a:lnTo>
                    <a:lnTo>
                      <a:pt x="1841" y="950"/>
                    </a:lnTo>
                    <a:lnTo>
                      <a:pt x="1809" y="925"/>
                    </a:lnTo>
                    <a:lnTo>
                      <a:pt x="1834" y="846"/>
                    </a:lnTo>
                    <a:lnTo>
                      <a:pt x="1826" y="764"/>
                    </a:lnTo>
                    <a:lnTo>
                      <a:pt x="1794" y="763"/>
                    </a:lnTo>
                    <a:lnTo>
                      <a:pt x="1772" y="705"/>
                    </a:lnTo>
                    <a:lnTo>
                      <a:pt x="1805" y="649"/>
                    </a:lnTo>
                    <a:lnTo>
                      <a:pt x="1816" y="582"/>
                    </a:lnTo>
                    <a:lnTo>
                      <a:pt x="1855" y="453"/>
                    </a:lnTo>
                    <a:lnTo>
                      <a:pt x="1871" y="418"/>
                    </a:lnTo>
                    <a:lnTo>
                      <a:pt x="1934" y="355"/>
                    </a:lnTo>
                    <a:lnTo>
                      <a:pt x="1993" y="380"/>
                    </a:lnTo>
                    <a:lnTo>
                      <a:pt x="2088" y="392"/>
                    </a:lnTo>
                    <a:lnTo>
                      <a:pt x="2175" y="388"/>
                    </a:lnTo>
                    <a:lnTo>
                      <a:pt x="2248" y="327"/>
                    </a:lnTo>
                    <a:lnTo>
                      <a:pt x="2262" y="346"/>
                    </a:lnTo>
                    <a:moveTo>
                      <a:pt x="2932" y="565"/>
                    </a:moveTo>
                    <a:lnTo>
                      <a:pt x="2950" y="702"/>
                    </a:lnTo>
                    <a:lnTo>
                      <a:pt x="3026" y="753"/>
                    </a:lnTo>
                    <a:lnTo>
                      <a:pt x="3092" y="663"/>
                    </a:lnTo>
                    <a:lnTo>
                      <a:pt x="3179" y="612"/>
                    </a:lnTo>
                    <a:lnTo>
                      <a:pt x="3246" y="612"/>
                    </a:lnTo>
                    <a:lnTo>
                      <a:pt x="3310" y="641"/>
                    </a:lnTo>
                    <a:lnTo>
                      <a:pt x="3365" y="672"/>
                    </a:lnTo>
                    <a:lnTo>
                      <a:pt x="3445" y="688"/>
                    </a:lnTo>
                    <a:lnTo>
                      <a:pt x="3434" y="965"/>
                    </a:lnTo>
                    <a:lnTo>
                      <a:pt x="3414" y="1243"/>
                    </a:lnTo>
                    <a:lnTo>
                      <a:pt x="3353" y="1173"/>
                    </a:lnTo>
                    <a:lnTo>
                      <a:pt x="3279" y="1156"/>
                    </a:lnTo>
                    <a:lnTo>
                      <a:pt x="3258" y="1180"/>
                    </a:lnTo>
                    <a:lnTo>
                      <a:pt x="3163" y="1183"/>
                    </a:lnTo>
                    <a:lnTo>
                      <a:pt x="3200" y="1114"/>
                    </a:lnTo>
                    <a:lnTo>
                      <a:pt x="3249" y="1090"/>
                    </a:lnTo>
                    <a:lnTo>
                      <a:pt x="3236" y="997"/>
                    </a:lnTo>
                    <a:lnTo>
                      <a:pt x="3205" y="926"/>
                    </a:lnTo>
                    <a:lnTo>
                      <a:pt x="3062" y="854"/>
                    </a:lnTo>
                    <a:lnTo>
                      <a:pt x="3001" y="847"/>
                    </a:lnTo>
                    <a:lnTo>
                      <a:pt x="2891" y="768"/>
                    </a:lnTo>
                    <a:lnTo>
                      <a:pt x="2867" y="809"/>
                    </a:lnTo>
                    <a:lnTo>
                      <a:pt x="2838" y="817"/>
                    </a:lnTo>
                    <a:lnTo>
                      <a:pt x="2822" y="786"/>
                    </a:lnTo>
                    <a:lnTo>
                      <a:pt x="2823" y="749"/>
                    </a:lnTo>
                    <a:lnTo>
                      <a:pt x="2767" y="707"/>
                    </a:lnTo>
                    <a:lnTo>
                      <a:pt x="2849" y="676"/>
                    </a:lnTo>
                    <a:lnTo>
                      <a:pt x="2902" y="678"/>
                    </a:lnTo>
                    <a:lnTo>
                      <a:pt x="2897" y="655"/>
                    </a:lnTo>
                    <a:lnTo>
                      <a:pt x="2787" y="655"/>
                    </a:lnTo>
                    <a:lnTo>
                      <a:pt x="2758" y="604"/>
                    </a:lnTo>
                    <a:lnTo>
                      <a:pt x="2691" y="589"/>
                    </a:lnTo>
                    <a:lnTo>
                      <a:pt x="2659" y="546"/>
                    </a:lnTo>
                    <a:lnTo>
                      <a:pt x="2761" y="526"/>
                    </a:lnTo>
                    <a:lnTo>
                      <a:pt x="2800" y="498"/>
                    </a:lnTo>
                    <a:lnTo>
                      <a:pt x="2920" y="533"/>
                    </a:lnTo>
                    <a:lnTo>
                      <a:pt x="2932" y="565"/>
                    </a:lnTo>
                    <a:moveTo>
                      <a:pt x="2652" y="730"/>
                    </a:moveTo>
                    <a:lnTo>
                      <a:pt x="2677" y="795"/>
                    </a:lnTo>
                    <a:lnTo>
                      <a:pt x="2615" y="760"/>
                    </a:lnTo>
                    <a:lnTo>
                      <a:pt x="2552" y="753"/>
                    </a:lnTo>
                    <a:lnTo>
                      <a:pt x="2510" y="758"/>
                    </a:lnTo>
                    <a:lnTo>
                      <a:pt x="2458" y="755"/>
                    </a:lnTo>
                    <a:lnTo>
                      <a:pt x="2477" y="709"/>
                    </a:lnTo>
                    <a:lnTo>
                      <a:pt x="2570" y="705"/>
                    </a:lnTo>
                    <a:lnTo>
                      <a:pt x="2652" y="730"/>
                    </a:lnTo>
                    <a:moveTo>
                      <a:pt x="2409" y="761"/>
                    </a:moveTo>
                    <a:lnTo>
                      <a:pt x="2380" y="789"/>
                    </a:lnTo>
                    <a:lnTo>
                      <a:pt x="2328" y="774"/>
                    </a:lnTo>
                    <a:lnTo>
                      <a:pt x="2315" y="737"/>
                    </a:lnTo>
                    <a:lnTo>
                      <a:pt x="2391" y="733"/>
                    </a:lnTo>
                    <a:lnTo>
                      <a:pt x="2409" y="761"/>
                    </a:lnTo>
                    <a:moveTo>
                      <a:pt x="2960" y="996"/>
                    </a:moveTo>
                    <a:lnTo>
                      <a:pt x="2917" y="1054"/>
                    </a:lnTo>
                    <a:lnTo>
                      <a:pt x="2914" y="990"/>
                    </a:lnTo>
                    <a:lnTo>
                      <a:pt x="2929" y="959"/>
                    </a:lnTo>
                    <a:lnTo>
                      <a:pt x="2947" y="930"/>
                    </a:lnTo>
                    <a:lnTo>
                      <a:pt x="2962" y="955"/>
                    </a:lnTo>
                    <a:lnTo>
                      <a:pt x="2960" y="996"/>
                    </a:lnTo>
                    <a:moveTo>
                      <a:pt x="996" y="1044"/>
                    </a:moveTo>
                    <a:lnTo>
                      <a:pt x="1139" y="1052"/>
                    </a:lnTo>
                    <a:lnTo>
                      <a:pt x="1158" y="1017"/>
                    </a:lnTo>
                    <a:lnTo>
                      <a:pt x="1295" y="1058"/>
                    </a:lnTo>
                    <a:lnTo>
                      <a:pt x="1319" y="1113"/>
                    </a:lnTo>
                    <a:lnTo>
                      <a:pt x="1431" y="1129"/>
                    </a:lnTo>
                    <a:lnTo>
                      <a:pt x="1519" y="1179"/>
                    </a:lnTo>
                    <a:lnTo>
                      <a:pt x="1431" y="1212"/>
                    </a:lnTo>
                    <a:lnTo>
                      <a:pt x="1351" y="1177"/>
                    </a:lnTo>
                    <a:lnTo>
                      <a:pt x="1283" y="1180"/>
                    </a:lnTo>
                    <a:lnTo>
                      <a:pt x="1206" y="1174"/>
                    </a:lnTo>
                    <a:lnTo>
                      <a:pt x="1136" y="1158"/>
                    </a:lnTo>
                    <a:lnTo>
                      <a:pt x="1052" y="1126"/>
                    </a:lnTo>
                    <a:lnTo>
                      <a:pt x="997" y="1117"/>
                    </a:lnTo>
                    <a:lnTo>
                      <a:pt x="965" y="1128"/>
                    </a:lnTo>
                    <a:lnTo>
                      <a:pt x="830" y="1093"/>
                    </a:lnTo>
                    <a:lnTo>
                      <a:pt x="819" y="1056"/>
                    </a:lnTo>
                    <a:lnTo>
                      <a:pt x="751" y="1050"/>
                    </a:lnTo>
                    <a:lnTo>
                      <a:pt x="807" y="969"/>
                    </a:lnTo>
                    <a:lnTo>
                      <a:pt x="898" y="974"/>
                    </a:lnTo>
                    <a:lnTo>
                      <a:pt x="957" y="1007"/>
                    </a:lnTo>
                    <a:lnTo>
                      <a:pt x="987" y="1013"/>
                    </a:lnTo>
                    <a:lnTo>
                      <a:pt x="996" y="1044"/>
                    </a:lnTo>
                    <a:moveTo>
                      <a:pt x="2061" y="1156"/>
                    </a:moveTo>
                    <a:lnTo>
                      <a:pt x="2046" y="1203"/>
                    </a:lnTo>
                    <a:lnTo>
                      <a:pt x="1932" y="1227"/>
                    </a:lnTo>
                    <a:lnTo>
                      <a:pt x="1833" y="1217"/>
                    </a:lnTo>
                    <a:lnTo>
                      <a:pt x="1835" y="1186"/>
                    </a:lnTo>
                    <a:lnTo>
                      <a:pt x="1896" y="1168"/>
                    </a:lnTo>
                    <a:lnTo>
                      <a:pt x="1941" y="1193"/>
                    </a:lnTo>
                    <a:lnTo>
                      <a:pt x="1991" y="1187"/>
                    </a:lnTo>
                    <a:lnTo>
                      <a:pt x="2061" y="1156"/>
                    </a:lnTo>
                    <a:moveTo>
                      <a:pt x="1685" y="1156"/>
                    </a:moveTo>
                    <a:lnTo>
                      <a:pt x="1711" y="1179"/>
                    </a:lnTo>
                    <a:lnTo>
                      <a:pt x="1758" y="1172"/>
                    </a:lnTo>
                    <a:lnTo>
                      <a:pt x="1774" y="1208"/>
                    </a:lnTo>
                    <a:lnTo>
                      <a:pt x="1685" y="1225"/>
                    </a:lnTo>
                    <a:lnTo>
                      <a:pt x="1633" y="1236"/>
                    </a:lnTo>
                    <a:lnTo>
                      <a:pt x="1592" y="1236"/>
                    </a:lnTo>
                    <a:lnTo>
                      <a:pt x="1622" y="1187"/>
                    </a:lnTo>
                    <a:lnTo>
                      <a:pt x="1663" y="1186"/>
                    </a:lnTo>
                    <a:lnTo>
                      <a:pt x="1685" y="1156"/>
                    </a:lnTo>
                    <a:moveTo>
                      <a:pt x="2161" y="1330"/>
                    </a:moveTo>
                    <a:lnTo>
                      <a:pt x="2095" y="1349"/>
                    </a:lnTo>
                    <a:lnTo>
                      <a:pt x="2087" y="1339"/>
                    </a:lnTo>
                    <a:lnTo>
                      <a:pt x="2097" y="1310"/>
                    </a:lnTo>
                    <a:lnTo>
                      <a:pt x="2133" y="1258"/>
                    </a:lnTo>
                    <a:lnTo>
                      <a:pt x="2210" y="1224"/>
                    </a:lnTo>
                    <a:lnTo>
                      <a:pt x="2217" y="1241"/>
                    </a:lnTo>
                    <a:lnTo>
                      <a:pt x="2216" y="1266"/>
                    </a:lnTo>
                    <a:lnTo>
                      <a:pt x="2161" y="1330"/>
                    </a:lnTo>
                    <a:moveTo>
                      <a:pt x="1881" y="1339"/>
                    </a:moveTo>
                    <a:lnTo>
                      <a:pt x="1850" y="1340"/>
                    </a:lnTo>
                    <a:lnTo>
                      <a:pt x="1756" y="1280"/>
                    </a:lnTo>
                    <a:lnTo>
                      <a:pt x="1827" y="1264"/>
                    </a:lnTo>
                    <a:lnTo>
                      <a:pt x="1864" y="1290"/>
                    </a:lnTo>
                    <a:lnTo>
                      <a:pt x="1888" y="1316"/>
                    </a:lnTo>
                    <a:lnTo>
                      <a:pt x="1881" y="1339"/>
                    </a:lnTo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7" name="Freeform 87"/>
              <p:cNvSpPr>
                <a:spLocks/>
              </p:cNvSpPr>
              <p:nvPr/>
            </p:nvSpPr>
            <p:spPr bwMode="auto">
              <a:xfrm>
                <a:off x="6121400" y="2738437"/>
                <a:ext cx="800100" cy="908050"/>
              </a:xfrm>
              <a:custGeom>
                <a:avLst/>
                <a:gdLst>
                  <a:gd name="T0" fmla="*/ 149 w 504"/>
                  <a:gd name="T1" fmla="*/ 42 h 572"/>
                  <a:gd name="T2" fmla="*/ 148 w 504"/>
                  <a:gd name="T3" fmla="*/ 60 h 572"/>
                  <a:gd name="T4" fmla="*/ 206 w 504"/>
                  <a:gd name="T5" fmla="*/ 110 h 572"/>
                  <a:gd name="T6" fmla="*/ 212 w 504"/>
                  <a:gd name="T7" fmla="*/ 147 h 572"/>
                  <a:gd name="T8" fmla="*/ 282 w 504"/>
                  <a:gd name="T9" fmla="*/ 172 h 572"/>
                  <a:gd name="T10" fmla="*/ 330 w 504"/>
                  <a:gd name="T11" fmla="*/ 189 h 572"/>
                  <a:gd name="T12" fmla="*/ 340 w 504"/>
                  <a:gd name="T13" fmla="*/ 167 h 572"/>
                  <a:gd name="T14" fmla="*/ 355 w 504"/>
                  <a:gd name="T15" fmla="*/ 170 h 572"/>
                  <a:gd name="T16" fmla="*/ 384 w 504"/>
                  <a:gd name="T17" fmla="*/ 179 h 572"/>
                  <a:gd name="T18" fmla="*/ 412 w 504"/>
                  <a:gd name="T19" fmla="*/ 167 h 572"/>
                  <a:gd name="T20" fmla="*/ 430 w 504"/>
                  <a:gd name="T21" fmla="*/ 142 h 572"/>
                  <a:gd name="T22" fmla="*/ 474 w 504"/>
                  <a:gd name="T23" fmla="*/ 126 h 572"/>
                  <a:gd name="T24" fmla="*/ 501 w 504"/>
                  <a:gd name="T25" fmla="*/ 150 h 572"/>
                  <a:gd name="T26" fmla="*/ 504 w 504"/>
                  <a:gd name="T27" fmla="*/ 175 h 572"/>
                  <a:gd name="T28" fmla="*/ 473 w 504"/>
                  <a:gd name="T29" fmla="*/ 197 h 572"/>
                  <a:gd name="T30" fmla="*/ 463 w 504"/>
                  <a:gd name="T31" fmla="*/ 242 h 572"/>
                  <a:gd name="T32" fmla="*/ 449 w 504"/>
                  <a:gd name="T33" fmla="*/ 266 h 572"/>
                  <a:gd name="T34" fmla="*/ 429 w 504"/>
                  <a:gd name="T35" fmla="*/ 247 h 572"/>
                  <a:gd name="T36" fmla="*/ 412 w 504"/>
                  <a:gd name="T37" fmla="*/ 249 h 572"/>
                  <a:gd name="T38" fmla="*/ 428 w 504"/>
                  <a:gd name="T39" fmla="*/ 219 h 572"/>
                  <a:gd name="T40" fmla="*/ 383 w 504"/>
                  <a:gd name="T41" fmla="*/ 212 h 572"/>
                  <a:gd name="T42" fmla="*/ 354 w 504"/>
                  <a:gd name="T43" fmla="*/ 188 h 572"/>
                  <a:gd name="T44" fmla="*/ 356 w 504"/>
                  <a:gd name="T45" fmla="*/ 221 h 572"/>
                  <a:gd name="T46" fmla="*/ 364 w 504"/>
                  <a:gd name="T47" fmla="*/ 246 h 572"/>
                  <a:gd name="T48" fmla="*/ 378 w 504"/>
                  <a:gd name="T49" fmla="*/ 287 h 572"/>
                  <a:gd name="T50" fmla="*/ 347 w 504"/>
                  <a:gd name="T51" fmla="*/ 306 h 572"/>
                  <a:gd name="T52" fmla="*/ 298 w 504"/>
                  <a:gd name="T53" fmla="*/ 357 h 572"/>
                  <a:gd name="T54" fmla="*/ 271 w 504"/>
                  <a:gd name="T55" fmla="*/ 394 h 572"/>
                  <a:gd name="T56" fmla="*/ 238 w 504"/>
                  <a:gd name="T57" fmla="*/ 407 h 572"/>
                  <a:gd name="T58" fmla="*/ 243 w 504"/>
                  <a:gd name="T59" fmla="*/ 467 h 572"/>
                  <a:gd name="T60" fmla="*/ 230 w 504"/>
                  <a:gd name="T61" fmla="*/ 523 h 572"/>
                  <a:gd name="T62" fmla="*/ 212 w 504"/>
                  <a:gd name="T63" fmla="*/ 552 h 572"/>
                  <a:gd name="T64" fmla="*/ 181 w 504"/>
                  <a:gd name="T65" fmla="*/ 553 h 572"/>
                  <a:gd name="T66" fmla="*/ 156 w 504"/>
                  <a:gd name="T67" fmla="*/ 493 h 572"/>
                  <a:gd name="T68" fmla="*/ 134 w 504"/>
                  <a:gd name="T69" fmla="*/ 434 h 572"/>
                  <a:gd name="T70" fmla="*/ 95 w 504"/>
                  <a:gd name="T71" fmla="*/ 338 h 572"/>
                  <a:gd name="T72" fmla="*/ 61 w 504"/>
                  <a:gd name="T73" fmla="*/ 306 h 572"/>
                  <a:gd name="T74" fmla="*/ 29 w 504"/>
                  <a:gd name="T75" fmla="*/ 271 h 572"/>
                  <a:gd name="T76" fmla="*/ 10 w 504"/>
                  <a:gd name="T77" fmla="*/ 231 h 572"/>
                  <a:gd name="T78" fmla="*/ 31 w 504"/>
                  <a:gd name="T79" fmla="*/ 203 h 572"/>
                  <a:gd name="T80" fmla="*/ 29 w 504"/>
                  <a:gd name="T81" fmla="*/ 156 h 572"/>
                  <a:gd name="T82" fmla="*/ 72 w 504"/>
                  <a:gd name="T83" fmla="*/ 115 h 572"/>
                  <a:gd name="T84" fmla="*/ 94 w 504"/>
                  <a:gd name="T85" fmla="*/ 67 h 572"/>
                  <a:gd name="T86" fmla="*/ 58 w 504"/>
                  <a:gd name="T87" fmla="*/ 25 h 572"/>
                  <a:gd name="T88" fmla="*/ 110 w 504"/>
                  <a:gd name="T89" fmla="*/ 18 h 5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04" h="572">
                    <a:moveTo>
                      <a:pt x="122" y="0"/>
                    </a:moveTo>
                    <a:lnTo>
                      <a:pt x="147" y="25"/>
                    </a:lnTo>
                    <a:lnTo>
                      <a:pt x="149" y="42"/>
                    </a:lnTo>
                    <a:lnTo>
                      <a:pt x="159" y="52"/>
                    </a:lnTo>
                    <a:lnTo>
                      <a:pt x="161" y="63"/>
                    </a:lnTo>
                    <a:lnTo>
                      <a:pt x="148" y="60"/>
                    </a:lnTo>
                    <a:lnTo>
                      <a:pt x="158" y="83"/>
                    </a:lnTo>
                    <a:lnTo>
                      <a:pt x="178" y="96"/>
                    </a:lnTo>
                    <a:lnTo>
                      <a:pt x="206" y="110"/>
                    </a:lnTo>
                    <a:lnTo>
                      <a:pt x="197" y="120"/>
                    </a:lnTo>
                    <a:lnTo>
                      <a:pt x="194" y="139"/>
                    </a:lnTo>
                    <a:lnTo>
                      <a:pt x="212" y="147"/>
                    </a:lnTo>
                    <a:lnTo>
                      <a:pt x="231" y="157"/>
                    </a:lnTo>
                    <a:lnTo>
                      <a:pt x="257" y="169"/>
                    </a:lnTo>
                    <a:lnTo>
                      <a:pt x="282" y="172"/>
                    </a:lnTo>
                    <a:lnTo>
                      <a:pt x="294" y="182"/>
                    </a:lnTo>
                    <a:lnTo>
                      <a:pt x="308" y="184"/>
                    </a:lnTo>
                    <a:lnTo>
                      <a:pt x="330" y="189"/>
                    </a:lnTo>
                    <a:lnTo>
                      <a:pt x="345" y="189"/>
                    </a:lnTo>
                    <a:lnTo>
                      <a:pt x="346" y="181"/>
                    </a:lnTo>
                    <a:lnTo>
                      <a:pt x="340" y="167"/>
                    </a:lnTo>
                    <a:lnTo>
                      <a:pt x="340" y="158"/>
                    </a:lnTo>
                    <a:lnTo>
                      <a:pt x="350" y="154"/>
                    </a:lnTo>
                    <a:lnTo>
                      <a:pt x="355" y="170"/>
                    </a:lnTo>
                    <a:lnTo>
                      <a:pt x="356" y="174"/>
                    </a:lnTo>
                    <a:lnTo>
                      <a:pt x="374" y="182"/>
                    </a:lnTo>
                    <a:lnTo>
                      <a:pt x="384" y="179"/>
                    </a:lnTo>
                    <a:lnTo>
                      <a:pt x="400" y="181"/>
                    </a:lnTo>
                    <a:lnTo>
                      <a:pt x="414" y="180"/>
                    </a:lnTo>
                    <a:lnTo>
                      <a:pt x="412" y="167"/>
                    </a:lnTo>
                    <a:lnTo>
                      <a:pt x="404" y="161"/>
                    </a:lnTo>
                    <a:lnTo>
                      <a:pt x="418" y="158"/>
                    </a:lnTo>
                    <a:lnTo>
                      <a:pt x="430" y="142"/>
                    </a:lnTo>
                    <a:lnTo>
                      <a:pt x="447" y="129"/>
                    </a:lnTo>
                    <a:lnTo>
                      <a:pt x="463" y="134"/>
                    </a:lnTo>
                    <a:lnTo>
                      <a:pt x="474" y="126"/>
                    </a:lnTo>
                    <a:lnTo>
                      <a:pt x="485" y="139"/>
                    </a:lnTo>
                    <a:lnTo>
                      <a:pt x="481" y="147"/>
                    </a:lnTo>
                    <a:lnTo>
                      <a:pt x="501" y="150"/>
                    </a:lnTo>
                    <a:lnTo>
                      <a:pt x="504" y="158"/>
                    </a:lnTo>
                    <a:lnTo>
                      <a:pt x="499" y="162"/>
                    </a:lnTo>
                    <a:lnTo>
                      <a:pt x="504" y="175"/>
                    </a:lnTo>
                    <a:lnTo>
                      <a:pt x="490" y="171"/>
                    </a:lnTo>
                    <a:lnTo>
                      <a:pt x="470" y="185"/>
                    </a:lnTo>
                    <a:lnTo>
                      <a:pt x="473" y="197"/>
                    </a:lnTo>
                    <a:lnTo>
                      <a:pt x="467" y="215"/>
                    </a:lnTo>
                    <a:lnTo>
                      <a:pt x="468" y="225"/>
                    </a:lnTo>
                    <a:lnTo>
                      <a:pt x="463" y="242"/>
                    </a:lnTo>
                    <a:lnTo>
                      <a:pt x="449" y="237"/>
                    </a:lnTo>
                    <a:lnTo>
                      <a:pt x="452" y="259"/>
                    </a:lnTo>
                    <a:lnTo>
                      <a:pt x="449" y="266"/>
                    </a:lnTo>
                    <a:lnTo>
                      <a:pt x="452" y="274"/>
                    </a:lnTo>
                    <a:lnTo>
                      <a:pt x="444" y="280"/>
                    </a:lnTo>
                    <a:lnTo>
                      <a:pt x="429" y="247"/>
                    </a:lnTo>
                    <a:lnTo>
                      <a:pt x="424" y="247"/>
                    </a:lnTo>
                    <a:lnTo>
                      <a:pt x="424" y="260"/>
                    </a:lnTo>
                    <a:lnTo>
                      <a:pt x="412" y="249"/>
                    </a:lnTo>
                    <a:lnTo>
                      <a:pt x="415" y="237"/>
                    </a:lnTo>
                    <a:lnTo>
                      <a:pt x="423" y="236"/>
                    </a:lnTo>
                    <a:lnTo>
                      <a:pt x="428" y="219"/>
                    </a:lnTo>
                    <a:lnTo>
                      <a:pt x="417" y="215"/>
                    </a:lnTo>
                    <a:lnTo>
                      <a:pt x="400" y="215"/>
                    </a:lnTo>
                    <a:lnTo>
                      <a:pt x="383" y="212"/>
                    </a:lnTo>
                    <a:lnTo>
                      <a:pt x="378" y="198"/>
                    </a:lnTo>
                    <a:lnTo>
                      <a:pt x="370" y="197"/>
                    </a:lnTo>
                    <a:lnTo>
                      <a:pt x="354" y="188"/>
                    </a:lnTo>
                    <a:lnTo>
                      <a:pt x="350" y="202"/>
                    </a:lnTo>
                    <a:lnTo>
                      <a:pt x="366" y="213"/>
                    </a:lnTo>
                    <a:lnTo>
                      <a:pt x="356" y="221"/>
                    </a:lnTo>
                    <a:lnTo>
                      <a:pt x="353" y="228"/>
                    </a:lnTo>
                    <a:lnTo>
                      <a:pt x="365" y="234"/>
                    </a:lnTo>
                    <a:lnTo>
                      <a:pt x="364" y="246"/>
                    </a:lnTo>
                    <a:lnTo>
                      <a:pt x="373" y="262"/>
                    </a:lnTo>
                    <a:lnTo>
                      <a:pt x="379" y="279"/>
                    </a:lnTo>
                    <a:lnTo>
                      <a:pt x="378" y="287"/>
                    </a:lnTo>
                    <a:lnTo>
                      <a:pt x="365" y="286"/>
                    </a:lnTo>
                    <a:lnTo>
                      <a:pt x="344" y="291"/>
                    </a:lnTo>
                    <a:lnTo>
                      <a:pt x="347" y="306"/>
                    </a:lnTo>
                    <a:lnTo>
                      <a:pt x="339" y="319"/>
                    </a:lnTo>
                    <a:lnTo>
                      <a:pt x="315" y="333"/>
                    </a:lnTo>
                    <a:lnTo>
                      <a:pt x="298" y="357"/>
                    </a:lnTo>
                    <a:lnTo>
                      <a:pt x="286" y="370"/>
                    </a:lnTo>
                    <a:lnTo>
                      <a:pt x="270" y="384"/>
                    </a:lnTo>
                    <a:lnTo>
                      <a:pt x="271" y="394"/>
                    </a:lnTo>
                    <a:lnTo>
                      <a:pt x="262" y="399"/>
                    </a:lnTo>
                    <a:lnTo>
                      <a:pt x="246" y="406"/>
                    </a:lnTo>
                    <a:lnTo>
                      <a:pt x="238" y="407"/>
                    </a:lnTo>
                    <a:lnTo>
                      <a:pt x="234" y="423"/>
                    </a:lnTo>
                    <a:lnTo>
                      <a:pt x="241" y="450"/>
                    </a:lnTo>
                    <a:lnTo>
                      <a:pt x="243" y="467"/>
                    </a:lnTo>
                    <a:lnTo>
                      <a:pt x="237" y="487"/>
                    </a:lnTo>
                    <a:lnTo>
                      <a:pt x="239" y="522"/>
                    </a:lnTo>
                    <a:lnTo>
                      <a:pt x="230" y="523"/>
                    </a:lnTo>
                    <a:lnTo>
                      <a:pt x="222" y="539"/>
                    </a:lnTo>
                    <a:lnTo>
                      <a:pt x="228" y="546"/>
                    </a:lnTo>
                    <a:lnTo>
                      <a:pt x="212" y="552"/>
                    </a:lnTo>
                    <a:lnTo>
                      <a:pt x="206" y="566"/>
                    </a:lnTo>
                    <a:lnTo>
                      <a:pt x="199" y="572"/>
                    </a:lnTo>
                    <a:lnTo>
                      <a:pt x="181" y="553"/>
                    </a:lnTo>
                    <a:lnTo>
                      <a:pt x="171" y="523"/>
                    </a:lnTo>
                    <a:lnTo>
                      <a:pt x="163" y="503"/>
                    </a:lnTo>
                    <a:lnTo>
                      <a:pt x="156" y="493"/>
                    </a:lnTo>
                    <a:lnTo>
                      <a:pt x="144" y="473"/>
                    </a:lnTo>
                    <a:lnTo>
                      <a:pt x="138" y="447"/>
                    </a:lnTo>
                    <a:lnTo>
                      <a:pt x="134" y="434"/>
                    </a:lnTo>
                    <a:lnTo>
                      <a:pt x="115" y="405"/>
                    </a:lnTo>
                    <a:lnTo>
                      <a:pt x="103" y="365"/>
                    </a:lnTo>
                    <a:lnTo>
                      <a:pt x="95" y="338"/>
                    </a:lnTo>
                    <a:lnTo>
                      <a:pt x="92" y="313"/>
                    </a:lnTo>
                    <a:lnTo>
                      <a:pt x="86" y="294"/>
                    </a:lnTo>
                    <a:lnTo>
                      <a:pt x="61" y="306"/>
                    </a:lnTo>
                    <a:lnTo>
                      <a:pt x="48" y="304"/>
                    </a:lnTo>
                    <a:lnTo>
                      <a:pt x="22" y="279"/>
                    </a:lnTo>
                    <a:lnTo>
                      <a:pt x="29" y="271"/>
                    </a:lnTo>
                    <a:lnTo>
                      <a:pt x="23" y="263"/>
                    </a:lnTo>
                    <a:lnTo>
                      <a:pt x="0" y="245"/>
                    </a:lnTo>
                    <a:lnTo>
                      <a:pt x="10" y="231"/>
                    </a:lnTo>
                    <a:lnTo>
                      <a:pt x="49" y="231"/>
                    </a:lnTo>
                    <a:lnTo>
                      <a:pt x="43" y="213"/>
                    </a:lnTo>
                    <a:lnTo>
                      <a:pt x="31" y="203"/>
                    </a:lnTo>
                    <a:lnTo>
                      <a:pt x="27" y="187"/>
                    </a:lnTo>
                    <a:lnTo>
                      <a:pt x="13" y="178"/>
                    </a:lnTo>
                    <a:lnTo>
                      <a:pt x="29" y="156"/>
                    </a:lnTo>
                    <a:lnTo>
                      <a:pt x="50" y="158"/>
                    </a:lnTo>
                    <a:lnTo>
                      <a:pt x="65" y="136"/>
                    </a:lnTo>
                    <a:lnTo>
                      <a:pt x="72" y="115"/>
                    </a:lnTo>
                    <a:lnTo>
                      <a:pt x="85" y="94"/>
                    </a:lnTo>
                    <a:lnTo>
                      <a:pt x="81" y="79"/>
                    </a:lnTo>
                    <a:lnTo>
                      <a:pt x="94" y="67"/>
                    </a:lnTo>
                    <a:lnTo>
                      <a:pt x="77" y="57"/>
                    </a:lnTo>
                    <a:lnTo>
                      <a:pt x="68" y="43"/>
                    </a:lnTo>
                    <a:lnTo>
                      <a:pt x="58" y="25"/>
                    </a:lnTo>
                    <a:lnTo>
                      <a:pt x="64" y="16"/>
                    </a:lnTo>
                    <a:lnTo>
                      <a:pt x="92" y="21"/>
                    </a:lnTo>
                    <a:lnTo>
                      <a:pt x="110" y="18"/>
                    </a:lnTo>
                    <a:lnTo>
                      <a:pt x="122" y="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8" name="Freeform 88"/>
              <p:cNvSpPr>
                <a:spLocks/>
              </p:cNvSpPr>
              <p:nvPr/>
            </p:nvSpPr>
            <p:spPr bwMode="auto">
              <a:xfrm>
                <a:off x="3932237" y="2103437"/>
                <a:ext cx="100013" cy="109538"/>
              </a:xfrm>
              <a:custGeom>
                <a:avLst/>
                <a:gdLst>
                  <a:gd name="T0" fmla="*/ 61 w 63"/>
                  <a:gd name="T1" fmla="*/ 25 h 69"/>
                  <a:gd name="T2" fmla="*/ 63 w 63"/>
                  <a:gd name="T3" fmla="*/ 40 h 69"/>
                  <a:gd name="T4" fmla="*/ 51 w 63"/>
                  <a:gd name="T5" fmla="*/ 57 h 69"/>
                  <a:gd name="T6" fmla="*/ 22 w 63"/>
                  <a:gd name="T7" fmla="*/ 69 h 69"/>
                  <a:gd name="T8" fmla="*/ 0 w 63"/>
                  <a:gd name="T9" fmla="*/ 66 h 69"/>
                  <a:gd name="T10" fmla="*/ 14 w 63"/>
                  <a:gd name="T11" fmla="*/ 45 h 69"/>
                  <a:gd name="T12" fmla="*/ 7 w 63"/>
                  <a:gd name="T13" fmla="*/ 25 h 69"/>
                  <a:gd name="T14" fmla="*/ 29 w 63"/>
                  <a:gd name="T15" fmla="*/ 10 h 69"/>
                  <a:gd name="T16" fmla="*/ 41 w 63"/>
                  <a:gd name="T17" fmla="*/ 0 h 69"/>
                  <a:gd name="T18" fmla="*/ 44 w 63"/>
                  <a:gd name="T19" fmla="*/ 11 h 69"/>
                  <a:gd name="T20" fmla="*/ 40 w 63"/>
                  <a:gd name="T21" fmla="*/ 22 h 69"/>
                  <a:gd name="T22" fmla="*/ 50 w 63"/>
                  <a:gd name="T23" fmla="*/ 21 h 69"/>
                  <a:gd name="T24" fmla="*/ 61 w 63"/>
                  <a:gd name="T25" fmla="*/ 2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3" h="69">
                    <a:moveTo>
                      <a:pt x="61" y="25"/>
                    </a:moveTo>
                    <a:lnTo>
                      <a:pt x="63" y="40"/>
                    </a:lnTo>
                    <a:lnTo>
                      <a:pt x="51" y="57"/>
                    </a:lnTo>
                    <a:lnTo>
                      <a:pt x="22" y="69"/>
                    </a:lnTo>
                    <a:lnTo>
                      <a:pt x="0" y="66"/>
                    </a:lnTo>
                    <a:lnTo>
                      <a:pt x="14" y="45"/>
                    </a:lnTo>
                    <a:lnTo>
                      <a:pt x="7" y="25"/>
                    </a:lnTo>
                    <a:lnTo>
                      <a:pt x="29" y="10"/>
                    </a:lnTo>
                    <a:lnTo>
                      <a:pt x="41" y="0"/>
                    </a:lnTo>
                    <a:lnTo>
                      <a:pt x="44" y="11"/>
                    </a:lnTo>
                    <a:lnTo>
                      <a:pt x="40" y="22"/>
                    </a:lnTo>
                    <a:lnTo>
                      <a:pt x="50" y="21"/>
                    </a:lnTo>
                    <a:lnTo>
                      <a:pt x="61" y="2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99" name="Freeform 89"/>
              <p:cNvSpPr>
                <a:spLocks/>
              </p:cNvSpPr>
              <p:nvPr/>
            </p:nvSpPr>
            <p:spPr bwMode="auto">
              <a:xfrm>
                <a:off x="5370512" y="2600325"/>
                <a:ext cx="598488" cy="481013"/>
              </a:xfrm>
              <a:custGeom>
                <a:avLst/>
                <a:gdLst>
                  <a:gd name="T0" fmla="*/ 190 w 377"/>
                  <a:gd name="T1" fmla="*/ 48 h 303"/>
                  <a:gd name="T2" fmla="*/ 211 w 377"/>
                  <a:gd name="T3" fmla="*/ 37 h 303"/>
                  <a:gd name="T4" fmla="*/ 231 w 377"/>
                  <a:gd name="T5" fmla="*/ 35 h 303"/>
                  <a:gd name="T6" fmla="*/ 266 w 377"/>
                  <a:gd name="T7" fmla="*/ 48 h 303"/>
                  <a:gd name="T8" fmla="*/ 302 w 377"/>
                  <a:gd name="T9" fmla="*/ 67 h 303"/>
                  <a:gd name="T10" fmla="*/ 306 w 377"/>
                  <a:gd name="T11" fmla="*/ 110 h 303"/>
                  <a:gd name="T12" fmla="*/ 312 w 377"/>
                  <a:gd name="T13" fmla="*/ 128 h 303"/>
                  <a:gd name="T14" fmla="*/ 315 w 377"/>
                  <a:gd name="T15" fmla="*/ 156 h 303"/>
                  <a:gd name="T16" fmla="*/ 333 w 377"/>
                  <a:gd name="T17" fmla="*/ 173 h 303"/>
                  <a:gd name="T18" fmla="*/ 324 w 377"/>
                  <a:gd name="T19" fmla="*/ 205 h 303"/>
                  <a:gd name="T20" fmla="*/ 343 w 377"/>
                  <a:gd name="T21" fmla="*/ 228 h 303"/>
                  <a:gd name="T22" fmla="*/ 365 w 377"/>
                  <a:gd name="T23" fmla="*/ 256 h 303"/>
                  <a:gd name="T24" fmla="*/ 377 w 377"/>
                  <a:gd name="T25" fmla="*/ 268 h 303"/>
                  <a:gd name="T26" fmla="*/ 349 w 377"/>
                  <a:gd name="T27" fmla="*/ 303 h 303"/>
                  <a:gd name="T28" fmla="*/ 295 w 377"/>
                  <a:gd name="T29" fmla="*/ 292 h 303"/>
                  <a:gd name="T30" fmla="*/ 264 w 377"/>
                  <a:gd name="T31" fmla="*/ 264 h 303"/>
                  <a:gd name="T32" fmla="*/ 241 w 377"/>
                  <a:gd name="T33" fmla="*/ 264 h 303"/>
                  <a:gd name="T34" fmla="*/ 202 w 377"/>
                  <a:gd name="T35" fmla="*/ 268 h 303"/>
                  <a:gd name="T36" fmla="*/ 164 w 377"/>
                  <a:gd name="T37" fmla="*/ 246 h 303"/>
                  <a:gd name="T38" fmla="*/ 133 w 377"/>
                  <a:gd name="T39" fmla="*/ 198 h 303"/>
                  <a:gd name="T40" fmla="*/ 112 w 377"/>
                  <a:gd name="T41" fmla="*/ 195 h 303"/>
                  <a:gd name="T42" fmla="*/ 96 w 377"/>
                  <a:gd name="T43" fmla="*/ 192 h 303"/>
                  <a:gd name="T44" fmla="*/ 88 w 377"/>
                  <a:gd name="T45" fmla="*/ 181 h 303"/>
                  <a:gd name="T46" fmla="*/ 78 w 377"/>
                  <a:gd name="T47" fmla="*/ 150 h 303"/>
                  <a:gd name="T48" fmla="*/ 40 w 377"/>
                  <a:gd name="T49" fmla="*/ 119 h 303"/>
                  <a:gd name="T50" fmla="*/ 49 w 377"/>
                  <a:gd name="T51" fmla="*/ 96 h 303"/>
                  <a:gd name="T52" fmla="*/ 34 w 377"/>
                  <a:gd name="T53" fmla="*/ 77 h 303"/>
                  <a:gd name="T54" fmla="*/ 7 w 377"/>
                  <a:gd name="T55" fmla="*/ 36 h 303"/>
                  <a:gd name="T56" fmla="*/ 0 w 377"/>
                  <a:gd name="T57" fmla="*/ 6 h 303"/>
                  <a:gd name="T58" fmla="*/ 15 w 377"/>
                  <a:gd name="T59" fmla="*/ 8 h 303"/>
                  <a:gd name="T60" fmla="*/ 37 w 377"/>
                  <a:gd name="T61" fmla="*/ 20 h 303"/>
                  <a:gd name="T62" fmla="*/ 60 w 377"/>
                  <a:gd name="T63" fmla="*/ 5 h 303"/>
                  <a:gd name="T64" fmla="*/ 73 w 377"/>
                  <a:gd name="T65" fmla="*/ 9 h 303"/>
                  <a:gd name="T66" fmla="*/ 81 w 377"/>
                  <a:gd name="T67" fmla="*/ 30 h 303"/>
                  <a:gd name="T68" fmla="*/ 93 w 377"/>
                  <a:gd name="T69" fmla="*/ 44 h 303"/>
                  <a:gd name="T70" fmla="*/ 124 w 377"/>
                  <a:gd name="T71" fmla="*/ 59 h 303"/>
                  <a:gd name="T72" fmla="*/ 175 w 377"/>
                  <a:gd name="T73" fmla="*/ 57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77" h="303">
                    <a:moveTo>
                      <a:pt x="176" y="52"/>
                    </a:moveTo>
                    <a:lnTo>
                      <a:pt x="190" y="48"/>
                    </a:lnTo>
                    <a:lnTo>
                      <a:pt x="200" y="36"/>
                    </a:lnTo>
                    <a:lnTo>
                      <a:pt x="211" y="37"/>
                    </a:lnTo>
                    <a:lnTo>
                      <a:pt x="218" y="33"/>
                    </a:lnTo>
                    <a:lnTo>
                      <a:pt x="231" y="35"/>
                    </a:lnTo>
                    <a:lnTo>
                      <a:pt x="252" y="45"/>
                    </a:lnTo>
                    <a:lnTo>
                      <a:pt x="266" y="48"/>
                    </a:lnTo>
                    <a:lnTo>
                      <a:pt x="289" y="66"/>
                    </a:lnTo>
                    <a:lnTo>
                      <a:pt x="302" y="67"/>
                    </a:lnTo>
                    <a:lnTo>
                      <a:pt x="308" y="84"/>
                    </a:lnTo>
                    <a:lnTo>
                      <a:pt x="306" y="110"/>
                    </a:lnTo>
                    <a:lnTo>
                      <a:pt x="304" y="125"/>
                    </a:lnTo>
                    <a:lnTo>
                      <a:pt x="312" y="128"/>
                    </a:lnTo>
                    <a:lnTo>
                      <a:pt x="307" y="139"/>
                    </a:lnTo>
                    <a:lnTo>
                      <a:pt x="315" y="156"/>
                    </a:lnTo>
                    <a:lnTo>
                      <a:pt x="319" y="169"/>
                    </a:lnTo>
                    <a:lnTo>
                      <a:pt x="333" y="173"/>
                    </a:lnTo>
                    <a:lnTo>
                      <a:pt x="337" y="186"/>
                    </a:lnTo>
                    <a:lnTo>
                      <a:pt x="324" y="205"/>
                    </a:lnTo>
                    <a:lnTo>
                      <a:pt x="334" y="216"/>
                    </a:lnTo>
                    <a:lnTo>
                      <a:pt x="343" y="228"/>
                    </a:lnTo>
                    <a:lnTo>
                      <a:pt x="362" y="237"/>
                    </a:lnTo>
                    <a:lnTo>
                      <a:pt x="365" y="256"/>
                    </a:lnTo>
                    <a:lnTo>
                      <a:pt x="374" y="259"/>
                    </a:lnTo>
                    <a:lnTo>
                      <a:pt x="377" y="268"/>
                    </a:lnTo>
                    <a:lnTo>
                      <a:pt x="353" y="279"/>
                    </a:lnTo>
                    <a:lnTo>
                      <a:pt x="349" y="303"/>
                    </a:lnTo>
                    <a:lnTo>
                      <a:pt x="315" y="297"/>
                    </a:lnTo>
                    <a:lnTo>
                      <a:pt x="295" y="292"/>
                    </a:lnTo>
                    <a:lnTo>
                      <a:pt x="274" y="290"/>
                    </a:lnTo>
                    <a:lnTo>
                      <a:pt x="264" y="264"/>
                    </a:lnTo>
                    <a:lnTo>
                      <a:pt x="255" y="260"/>
                    </a:lnTo>
                    <a:lnTo>
                      <a:pt x="241" y="264"/>
                    </a:lnTo>
                    <a:lnTo>
                      <a:pt x="225" y="274"/>
                    </a:lnTo>
                    <a:lnTo>
                      <a:pt x="202" y="268"/>
                    </a:lnTo>
                    <a:lnTo>
                      <a:pt x="182" y="251"/>
                    </a:lnTo>
                    <a:lnTo>
                      <a:pt x="164" y="246"/>
                    </a:lnTo>
                    <a:lnTo>
                      <a:pt x="150" y="226"/>
                    </a:lnTo>
                    <a:lnTo>
                      <a:pt x="133" y="198"/>
                    </a:lnTo>
                    <a:lnTo>
                      <a:pt x="124" y="202"/>
                    </a:lnTo>
                    <a:lnTo>
                      <a:pt x="112" y="195"/>
                    </a:lnTo>
                    <a:lnTo>
                      <a:pt x="107" y="203"/>
                    </a:lnTo>
                    <a:lnTo>
                      <a:pt x="96" y="192"/>
                    </a:lnTo>
                    <a:lnTo>
                      <a:pt x="94" y="181"/>
                    </a:lnTo>
                    <a:lnTo>
                      <a:pt x="88" y="181"/>
                    </a:lnTo>
                    <a:lnTo>
                      <a:pt x="89" y="166"/>
                    </a:lnTo>
                    <a:lnTo>
                      <a:pt x="78" y="150"/>
                    </a:lnTo>
                    <a:lnTo>
                      <a:pt x="55" y="139"/>
                    </a:lnTo>
                    <a:lnTo>
                      <a:pt x="40" y="119"/>
                    </a:lnTo>
                    <a:lnTo>
                      <a:pt x="42" y="103"/>
                    </a:lnTo>
                    <a:lnTo>
                      <a:pt x="49" y="96"/>
                    </a:lnTo>
                    <a:lnTo>
                      <a:pt x="46" y="84"/>
                    </a:lnTo>
                    <a:lnTo>
                      <a:pt x="34" y="77"/>
                    </a:lnTo>
                    <a:lnTo>
                      <a:pt x="19" y="53"/>
                    </a:lnTo>
                    <a:lnTo>
                      <a:pt x="7" y="36"/>
                    </a:lnTo>
                    <a:lnTo>
                      <a:pt x="9" y="30"/>
                    </a:lnTo>
                    <a:lnTo>
                      <a:pt x="0" y="6"/>
                    </a:lnTo>
                    <a:lnTo>
                      <a:pt x="11" y="0"/>
                    </a:lnTo>
                    <a:lnTo>
                      <a:pt x="15" y="8"/>
                    </a:lnTo>
                    <a:lnTo>
                      <a:pt x="25" y="18"/>
                    </a:lnTo>
                    <a:lnTo>
                      <a:pt x="37" y="20"/>
                    </a:lnTo>
                    <a:lnTo>
                      <a:pt x="43" y="20"/>
                    </a:lnTo>
                    <a:lnTo>
                      <a:pt x="60" y="5"/>
                    </a:lnTo>
                    <a:lnTo>
                      <a:pt x="67" y="3"/>
                    </a:lnTo>
                    <a:lnTo>
                      <a:pt x="73" y="9"/>
                    </a:lnTo>
                    <a:lnTo>
                      <a:pt x="69" y="19"/>
                    </a:lnTo>
                    <a:lnTo>
                      <a:pt x="81" y="30"/>
                    </a:lnTo>
                    <a:lnTo>
                      <a:pt x="85" y="29"/>
                    </a:lnTo>
                    <a:lnTo>
                      <a:pt x="93" y="44"/>
                    </a:lnTo>
                    <a:lnTo>
                      <a:pt x="110" y="49"/>
                    </a:lnTo>
                    <a:lnTo>
                      <a:pt x="124" y="59"/>
                    </a:lnTo>
                    <a:lnTo>
                      <a:pt x="149" y="63"/>
                    </a:lnTo>
                    <a:lnTo>
                      <a:pt x="175" y="57"/>
                    </a:lnTo>
                    <a:lnTo>
                      <a:pt x="176" y="5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0" name="Freeform 90"/>
              <p:cNvSpPr>
                <a:spLocks/>
              </p:cNvSpPr>
              <p:nvPr/>
            </p:nvSpPr>
            <p:spPr bwMode="auto">
              <a:xfrm>
                <a:off x="5254625" y="2676525"/>
                <a:ext cx="285750" cy="273050"/>
              </a:xfrm>
              <a:custGeom>
                <a:avLst/>
                <a:gdLst>
                  <a:gd name="T0" fmla="*/ 107 w 180"/>
                  <a:gd name="T1" fmla="*/ 29 h 172"/>
                  <a:gd name="T2" fmla="*/ 119 w 180"/>
                  <a:gd name="T3" fmla="*/ 36 h 172"/>
                  <a:gd name="T4" fmla="*/ 122 w 180"/>
                  <a:gd name="T5" fmla="*/ 48 h 172"/>
                  <a:gd name="T6" fmla="*/ 115 w 180"/>
                  <a:gd name="T7" fmla="*/ 55 h 172"/>
                  <a:gd name="T8" fmla="*/ 113 w 180"/>
                  <a:gd name="T9" fmla="*/ 71 h 172"/>
                  <a:gd name="T10" fmla="*/ 128 w 180"/>
                  <a:gd name="T11" fmla="*/ 91 h 172"/>
                  <a:gd name="T12" fmla="*/ 151 w 180"/>
                  <a:gd name="T13" fmla="*/ 102 h 172"/>
                  <a:gd name="T14" fmla="*/ 162 w 180"/>
                  <a:gd name="T15" fmla="*/ 118 h 172"/>
                  <a:gd name="T16" fmla="*/ 161 w 180"/>
                  <a:gd name="T17" fmla="*/ 133 h 172"/>
                  <a:gd name="T18" fmla="*/ 167 w 180"/>
                  <a:gd name="T19" fmla="*/ 133 h 172"/>
                  <a:gd name="T20" fmla="*/ 169 w 180"/>
                  <a:gd name="T21" fmla="*/ 144 h 172"/>
                  <a:gd name="T22" fmla="*/ 180 w 180"/>
                  <a:gd name="T23" fmla="*/ 155 h 172"/>
                  <a:gd name="T24" fmla="*/ 169 w 180"/>
                  <a:gd name="T25" fmla="*/ 154 h 172"/>
                  <a:gd name="T26" fmla="*/ 157 w 180"/>
                  <a:gd name="T27" fmla="*/ 152 h 172"/>
                  <a:gd name="T28" fmla="*/ 147 w 180"/>
                  <a:gd name="T29" fmla="*/ 172 h 172"/>
                  <a:gd name="T30" fmla="*/ 114 w 180"/>
                  <a:gd name="T31" fmla="*/ 170 h 172"/>
                  <a:gd name="T32" fmla="*/ 59 w 180"/>
                  <a:gd name="T33" fmla="*/ 129 h 172"/>
                  <a:gd name="T34" fmla="*/ 31 w 180"/>
                  <a:gd name="T35" fmla="*/ 114 h 172"/>
                  <a:gd name="T36" fmla="*/ 10 w 180"/>
                  <a:gd name="T37" fmla="*/ 109 h 172"/>
                  <a:gd name="T38" fmla="*/ 0 w 180"/>
                  <a:gd name="T39" fmla="*/ 83 h 172"/>
                  <a:gd name="T40" fmla="*/ 35 w 180"/>
                  <a:gd name="T41" fmla="*/ 62 h 172"/>
                  <a:gd name="T42" fmla="*/ 38 w 180"/>
                  <a:gd name="T43" fmla="*/ 37 h 172"/>
                  <a:gd name="T44" fmla="*/ 35 w 180"/>
                  <a:gd name="T45" fmla="*/ 22 h 172"/>
                  <a:gd name="T46" fmla="*/ 43 w 180"/>
                  <a:gd name="T47" fmla="*/ 17 h 172"/>
                  <a:gd name="T48" fmla="*/ 50 w 180"/>
                  <a:gd name="T49" fmla="*/ 4 h 172"/>
                  <a:gd name="T50" fmla="*/ 57 w 180"/>
                  <a:gd name="T51" fmla="*/ 0 h 172"/>
                  <a:gd name="T52" fmla="*/ 78 w 180"/>
                  <a:gd name="T53" fmla="*/ 3 h 172"/>
                  <a:gd name="T54" fmla="*/ 84 w 180"/>
                  <a:gd name="T55" fmla="*/ 8 h 172"/>
                  <a:gd name="T56" fmla="*/ 92 w 180"/>
                  <a:gd name="T57" fmla="*/ 5 h 172"/>
                  <a:gd name="T58" fmla="*/ 107 w 180"/>
                  <a:gd name="T59" fmla="*/ 29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80" h="172">
                    <a:moveTo>
                      <a:pt x="107" y="29"/>
                    </a:moveTo>
                    <a:lnTo>
                      <a:pt x="119" y="36"/>
                    </a:lnTo>
                    <a:lnTo>
                      <a:pt x="122" y="48"/>
                    </a:lnTo>
                    <a:lnTo>
                      <a:pt x="115" y="55"/>
                    </a:lnTo>
                    <a:lnTo>
                      <a:pt x="113" y="71"/>
                    </a:lnTo>
                    <a:lnTo>
                      <a:pt x="128" y="91"/>
                    </a:lnTo>
                    <a:lnTo>
                      <a:pt x="151" y="102"/>
                    </a:lnTo>
                    <a:lnTo>
                      <a:pt x="162" y="118"/>
                    </a:lnTo>
                    <a:lnTo>
                      <a:pt x="161" y="133"/>
                    </a:lnTo>
                    <a:lnTo>
                      <a:pt x="167" y="133"/>
                    </a:lnTo>
                    <a:lnTo>
                      <a:pt x="169" y="144"/>
                    </a:lnTo>
                    <a:lnTo>
                      <a:pt x="180" y="155"/>
                    </a:lnTo>
                    <a:lnTo>
                      <a:pt x="169" y="154"/>
                    </a:lnTo>
                    <a:lnTo>
                      <a:pt x="157" y="152"/>
                    </a:lnTo>
                    <a:lnTo>
                      <a:pt x="147" y="172"/>
                    </a:lnTo>
                    <a:lnTo>
                      <a:pt x="114" y="170"/>
                    </a:lnTo>
                    <a:lnTo>
                      <a:pt x="59" y="129"/>
                    </a:lnTo>
                    <a:lnTo>
                      <a:pt x="31" y="114"/>
                    </a:lnTo>
                    <a:lnTo>
                      <a:pt x="10" y="109"/>
                    </a:lnTo>
                    <a:lnTo>
                      <a:pt x="0" y="83"/>
                    </a:lnTo>
                    <a:lnTo>
                      <a:pt x="35" y="62"/>
                    </a:lnTo>
                    <a:lnTo>
                      <a:pt x="38" y="37"/>
                    </a:lnTo>
                    <a:lnTo>
                      <a:pt x="35" y="22"/>
                    </a:lnTo>
                    <a:lnTo>
                      <a:pt x="43" y="17"/>
                    </a:lnTo>
                    <a:lnTo>
                      <a:pt x="50" y="4"/>
                    </a:lnTo>
                    <a:lnTo>
                      <a:pt x="57" y="0"/>
                    </a:lnTo>
                    <a:lnTo>
                      <a:pt x="78" y="3"/>
                    </a:lnTo>
                    <a:lnTo>
                      <a:pt x="84" y="8"/>
                    </a:lnTo>
                    <a:lnTo>
                      <a:pt x="92" y="5"/>
                    </a:lnTo>
                    <a:lnTo>
                      <a:pt x="107" y="2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1" name="Freeform 91"/>
              <p:cNvSpPr>
                <a:spLocks/>
              </p:cNvSpPr>
              <p:nvPr/>
            </p:nvSpPr>
            <p:spPr bwMode="auto">
              <a:xfrm>
                <a:off x="3646487" y="1758950"/>
                <a:ext cx="234950" cy="88900"/>
              </a:xfrm>
              <a:custGeom>
                <a:avLst/>
                <a:gdLst>
                  <a:gd name="T0" fmla="*/ 138 w 148"/>
                  <a:gd name="T1" fmla="*/ 1 h 56"/>
                  <a:gd name="T2" fmla="*/ 133 w 148"/>
                  <a:gd name="T3" fmla="*/ 13 h 56"/>
                  <a:gd name="T4" fmla="*/ 148 w 148"/>
                  <a:gd name="T5" fmla="*/ 25 h 56"/>
                  <a:gd name="T6" fmla="*/ 128 w 148"/>
                  <a:gd name="T7" fmla="*/ 39 h 56"/>
                  <a:gd name="T8" fmla="*/ 85 w 148"/>
                  <a:gd name="T9" fmla="*/ 52 h 56"/>
                  <a:gd name="T10" fmla="*/ 73 w 148"/>
                  <a:gd name="T11" fmla="*/ 56 h 56"/>
                  <a:gd name="T12" fmla="*/ 54 w 148"/>
                  <a:gd name="T13" fmla="*/ 53 h 56"/>
                  <a:gd name="T14" fmla="*/ 16 w 148"/>
                  <a:gd name="T15" fmla="*/ 47 h 56"/>
                  <a:gd name="T16" fmla="*/ 31 w 148"/>
                  <a:gd name="T17" fmla="*/ 39 h 56"/>
                  <a:gd name="T18" fmla="*/ 2 w 148"/>
                  <a:gd name="T19" fmla="*/ 30 h 56"/>
                  <a:gd name="T20" fmla="*/ 28 w 148"/>
                  <a:gd name="T21" fmla="*/ 26 h 56"/>
                  <a:gd name="T22" fmla="*/ 28 w 148"/>
                  <a:gd name="T23" fmla="*/ 21 h 56"/>
                  <a:gd name="T24" fmla="*/ 0 w 148"/>
                  <a:gd name="T25" fmla="*/ 17 h 56"/>
                  <a:gd name="T26" fmla="*/ 12 w 148"/>
                  <a:gd name="T27" fmla="*/ 5 h 56"/>
                  <a:gd name="T28" fmla="*/ 33 w 148"/>
                  <a:gd name="T29" fmla="*/ 2 h 56"/>
                  <a:gd name="T30" fmla="*/ 52 w 148"/>
                  <a:gd name="T31" fmla="*/ 14 h 56"/>
                  <a:gd name="T32" fmla="*/ 75 w 148"/>
                  <a:gd name="T33" fmla="*/ 4 h 56"/>
                  <a:gd name="T34" fmla="*/ 91 w 148"/>
                  <a:gd name="T35" fmla="*/ 9 h 56"/>
                  <a:gd name="T36" fmla="*/ 115 w 148"/>
                  <a:gd name="T37" fmla="*/ 0 h 56"/>
                  <a:gd name="T38" fmla="*/ 138 w 148"/>
                  <a:gd name="T39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8" h="56">
                    <a:moveTo>
                      <a:pt x="138" y="1"/>
                    </a:moveTo>
                    <a:lnTo>
                      <a:pt x="133" y="13"/>
                    </a:lnTo>
                    <a:lnTo>
                      <a:pt x="148" y="25"/>
                    </a:lnTo>
                    <a:lnTo>
                      <a:pt x="128" y="39"/>
                    </a:lnTo>
                    <a:lnTo>
                      <a:pt x="85" y="52"/>
                    </a:lnTo>
                    <a:lnTo>
                      <a:pt x="73" y="56"/>
                    </a:lnTo>
                    <a:lnTo>
                      <a:pt x="54" y="53"/>
                    </a:lnTo>
                    <a:lnTo>
                      <a:pt x="16" y="47"/>
                    </a:lnTo>
                    <a:lnTo>
                      <a:pt x="31" y="39"/>
                    </a:lnTo>
                    <a:lnTo>
                      <a:pt x="2" y="30"/>
                    </a:lnTo>
                    <a:lnTo>
                      <a:pt x="28" y="26"/>
                    </a:lnTo>
                    <a:lnTo>
                      <a:pt x="28" y="21"/>
                    </a:lnTo>
                    <a:lnTo>
                      <a:pt x="0" y="17"/>
                    </a:lnTo>
                    <a:lnTo>
                      <a:pt x="12" y="5"/>
                    </a:lnTo>
                    <a:lnTo>
                      <a:pt x="33" y="2"/>
                    </a:lnTo>
                    <a:lnTo>
                      <a:pt x="52" y="14"/>
                    </a:lnTo>
                    <a:lnTo>
                      <a:pt x="75" y="4"/>
                    </a:lnTo>
                    <a:lnTo>
                      <a:pt x="91" y="9"/>
                    </a:lnTo>
                    <a:lnTo>
                      <a:pt x="115" y="0"/>
                    </a:lnTo>
                    <a:lnTo>
                      <a:pt x="138" y="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2" name="Freeform 92"/>
              <p:cNvSpPr>
                <a:spLocks/>
              </p:cNvSpPr>
              <p:nvPr/>
            </p:nvSpPr>
            <p:spPr bwMode="auto">
              <a:xfrm>
                <a:off x="5135562" y="2811462"/>
                <a:ext cx="38100" cy="125413"/>
              </a:xfrm>
              <a:custGeom>
                <a:avLst/>
                <a:gdLst>
                  <a:gd name="T0" fmla="*/ 23 w 24"/>
                  <a:gd name="T1" fmla="*/ 12 h 79"/>
                  <a:gd name="T2" fmla="*/ 20 w 24"/>
                  <a:gd name="T3" fmla="*/ 19 h 79"/>
                  <a:gd name="T4" fmla="*/ 14 w 24"/>
                  <a:gd name="T5" fmla="*/ 16 h 79"/>
                  <a:gd name="T6" fmla="*/ 11 w 24"/>
                  <a:gd name="T7" fmla="*/ 30 h 79"/>
                  <a:gd name="T8" fmla="*/ 16 w 24"/>
                  <a:gd name="T9" fmla="*/ 32 h 79"/>
                  <a:gd name="T10" fmla="*/ 12 w 24"/>
                  <a:gd name="T11" fmla="*/ 35 h 79"/>
                  <a:gd name="T12" fmla="*/ 12 w 24"/>
                  <a:gd name="T13" fmla="*/ 40 h 79"/>
                  <a:gd name="T14" fmla="*/ 20 w 24"/>
                  <a:gd name="T15" fmla="*/ 37 h 79"/>
                  <a:gd name="T16" fmla="*/ 21 w 24"/>
                  <a:gd name="T17" fmla="*/ 45 h 79"/>
                  <a:gd name="T18" fmla="*/ 15 w 24"/>
                  <a:gd name="T19" fmla="*/ 79 h 79"/>
                  <a:gd name="T20" fmla="*/ 0 w 24"/>
                  <a:gd name="T21" fmla="*/ 43 h 79"/>
                  <a:gd name="T22" fmla="*/ 5 w 24"/>
                  <a:gd name="T23" fmla="*/ 36 h 79"/>
                  <a:gd name="T24" fmla="*/ 3 w 24"/>
                  <a:gd name="T25" fmla="*/ 35 h 79"/>
                  <a:gd name="T26" fmla="*/ 7 w 24"/>
                  <a:gd name="T27" fmla="*/ 25 h 79"/>
                  <a:gd name="T28" fmla="*/ 9 w 24"/>
                  <a:gd name="T29" fmla="*/ 10 h 79"/>
                  <a:gd name="T30" fmla="*/ 11 w 24"/>
                  <a:gd name="T31" fmla="*/ 4 h 79"/>
                  <a:gd name="T32" fmla="*/ 11 w 24"/>
                  <a:gd name="T33" fmla="*/ 4 h 79"/>
                  <a:gd name="T34" fmla="*/ 17 w 24"/>
                  <a:gd name="T35" fmla="*/ 4 h 79"/>
                  <a:gd name="T36" fmla="*/ 18 w 24"/>
                  <a:gd name="T37" fmla="*/ 1 h 79"/>
                  <a:gd name="T38" fmla="*/ 23 w 24"/>
                  <a:gd name="T39" fmla="*/ 0 h 79"/>
                  <a:gd name="T40" fmla="*/ 24 w 24"/>
                  <a:gd name="T41" fmla="*/ 9 h 79"/>
                  <a:gd name="T42" fmla="*/ 22 w 24"/>
                  <a:gd name="T43" fmla="*/ 12 h 79"/>
                  <a:gd name="T44" fmla="*/ 23 w 24"/>
                  <a:gd name="T45" fmla="*/ 12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79">
                    <a:moveTo>
                      <a:pt x="23" y="12"/>
                    </a:moveTo>
                    <a:lnTo>
                      <a:pt x="20" y="19"/>
                    </a:lnTo>
                    <a:lnTo>
                      <a:pt x="14" y="16"/>
                    </a:lnTo>
                    <a:lnTo>
                      <a:pt x="11" y="30"/>
                    </a:lnTo>
                    <a:lnTo>
                      <a:pt x="16" y="32"/>
                    </a:lnTo>
                    <a:lnTo>
                      <a:pt x="12" y="35"/>
                    </a:lnTo>
                    <a:lnTo>
                      <a:pt x="12" y="40"/>
                    </a:lnTo>
                    <a:lnTo>
                      <a:pt x="20" y="37"/>
                    </a:lnTo>
                    <a:lnTo>
                      <a:pt x="21" y="45"/>
                    </a:lnTo>
                    <a:lnTo>
                      <a:pt x="15" y="79"/>
                    </a:lnTo>
                    <a:lnTo>
                      <a:pt x="0" y="43"/>
                    </a:lnTo>
                    <a:lnTo>
                      <a:pt x="5" y="36"/>
                    </a:lnTo>
                    <a:lnTo>
                      <a:pt x="3" y="35"/>
                    </a:lnTo>
                    <a:lnTo>
                      <a:pt x="7" y="25"/>
                    </a:lnTo>
                    <a:lnTo>
                      <a:pt x="9" y="10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7" y="4"/>
                    </a:lnTo>
                    <a:lnTo>
                      <a:pt x="18" y="1"/>
                    </a:lnTo>
                    <a:lnTo>
                      <a:pt x="23" y="0"/>
                    </a:lnTo>
                    <a:lnTo>
                      <a:pt x="24" y="9"/>
                    </a:lnTo>
                    <a:lnTo>
                      <a:pt x="22" y="12"/>
                    </a:lnTo>
                    <a:lnTo>
                      <a:pt x="23" y="1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3" name="Freeform 93"/>
              <p:cNvSpPr>
                <a:spLocks/>
              </p:cNvSpPr>
              <p:nvPr/>
            </p:nvSpPr>
            <p:spPr bwMode="auto">
              <a:xfrm>
                <a:off x="4519612" y="2649537"/>
                <a:ext cx="82550" cy="52388"/>
              </a:xfrm>
              <a:custGeom>
                <a:avLst/>
                <a:gdLst>
                  <a:gd name="T0" fmla="*/ 52 w 52"/>
                  <a:gd name="T1" fmla="*/ 0 h 33"/>
                  <a:gd name="T2" fmla="*/ 47 w 52"/>
                  <a:gd name="T3" fmla="*/ 16 h 33"/>
                  <a:gd name="T4" fmla="*/ 50 w 52"/>
                  <a:gd name="T5" fmla="*/ 23 h 33"/>
                  <a:gd name="T6" fmla="*/ 47 w 52"/>
                  <a:gd name="T7" fmla="*/ 33 h 33"/>
                  <a:gd name="T8" fmla="*/ 33 w 52"/>
                  <a:gd name="T9" fmla="*/ 25 h 33"/>
                  <a:gd name="T10" fmla="*/ 24 w 52"/>
                  <a:gd name="T11" fmla="*/ 23 h 33"/>
                  <a:gd name="T12" fmla="*/ 0 w 52"/>
                  <a:gd name="T13" fmla="*/ 13 h 33"/>
                  <a:gd name="T14" fmla="*/ 2 w 52"/>
                  <a:gd name="T15" fmla="*/ 2 h 33"/>
                  <a:gd name="T16" fmla="*/ 22 w 52"/>
                  <a:gd name="T17" fmla="*/ 4 h 33"/>
                  <a:gd name="T18" fmla="*/ 39 w 52"/>
                  <a:gd name="T19" fmla="*/ 2 h 33"/>
                  <a:gd name="T20" fmla="*/ 52 w 52"/>
                  <a:gd name="T21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33">
                    <a:moveTo>
                      <a:pt x="52" y="0"/>
                    </a:moveTo>
                    <a:lnTo>
                      <a:pt x="47" y="16"/>
                    </a:lnTo>
                    <a:lnTo>
                      <a:pt x="50" y="23"/>
                    </a:lnTo>
                    <a:lnTo>
                      <a:pt x="47" y="33"/>
                    </a:lnTo>
                    <a:lnTo>
                      <a:pt x="33" y="25"/>
                    </a:lnTo>
                    <a:lnTo>
                      <a:pt x="24" y="23"/>
                    </a:lnTo>
                    <a:lnTo>
                      <a:pt x="0" y="13"/>
                    </a:lnTo>
                    <a:lnTo>
                      <a:pt x="2" y="2"/>
                    </a:lnTo>
                    <a:lnTo>
                      <a:pt x="22" y="4"/>
                    </a:lnTo>
                    <a:lnTo>
                      <a:pt x="39" y="2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4" name="Freeform 94"/>
              <p:cNvSpPr>
                <a:spLocks/>
              </p:cNvSpPr>
              <p:nvPr/>
            </p:nvSpPr>
            <p:spPr bwMode="auto">
              <a:xfrm>
                <a:off x="4400550" y="2551112"/>
                <a:ext cx="44450" cy="76200"/>
              </a:xfrm>
              <a:custGeom>
                <a:avLst/>
                <a:gdLst>
                  <a:gd name="T0" fmla="*/ 17 w 28"/>
                  <a:gd name="T1" fmla="*/ 0 h 48"/>
                  <a:gd name="T2" fmla="*/ 28 w 28"/>
                  <a:gd name="T3" fmla="*/ 15 h 48"/>
                  <a:gd name="T4" fmla="*/ 27 w 28"/>
                  <a:gd name="T5" fmla="*/ 42 h 48"/>
                  <a:gd name="T6" fmla="*/ 19 w 28"/>
                  <a:gd name="T7" fmla="*/ 41 h 48"/>
                  <a:gd name="T8" fmla="*/ 12 w 28"/>
                  <a:gd name="T9" fmla="*/ 48 h 48"/>
                  <a:gd name="T10" fmla="*/ 6 w 28"/>
                  <a:gd name="T11" fmla="*/ 43 h 48"/>
                  <a:gd name="T12" fmla="*/ 4 w 28"/>
                  <a:gd name="T13" fmla="*/ 18 h 48"/>
                  <a:gd name="T14" fmla="*/ 0 w 28"/>
                  <a:gd name="T15" fmla="*/ 6 h 48"/>
                  <a:gd name="T16" fmla="*/ 9 w 28"/>
                  <a:gd name="T17" fmla="*/ 7 h 48"/>
                  <a:gd name="T18" fmla="*/ 17 w 28"/>
                  <a:gd name="T1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" h="48">
                    <a:moveTo>
                      <a:pt x="17" y="0"/>
                    </a:moveTo>
                    <a:lnTo>
                      <a:pt x="28" y="15"/>
                    </a:lnTo>
                    <a:lnTo>
                      <a:pt x="27" y="42"/>
                    </a:lnTo>
                    <a:lnTo>
                      <a:pt x="19" y="41"/>
                    </a:lnTo>
                    <a:lnTo>
                      <a:pt x="12" y="48"/>
                    </a:lnTo>
                    <a:lnTo>
                      <a:pt x="6" y="43"/>
                    </a:lnTo>
                    <a:lnTo>
                      <a:pt x="4" y="18"/>
                    </a:lnTo>
                    <a:lnTo>
                      <a:pt x="0" y="6"/>
                    </a:lnTo>
                    <a:lnTo>
                      <a:pt x="9" y="7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5" name="Freeform 95"/>
              <p:cNvSpPr>
                <a:spLocks/>
              </p:cNvSpPr>
              <p:nvPr/>
            </p:nvSpPr>
            <p:spPr bwMode="auto">
              <a:xfrm>
                <a:off x="4359275" y="2360612"/>
                <a:ext cx="319088" cy="298450"/>
              </a:xfrm>
              <a:custGeom>
                <a:avLst/>
                <a:gdLst>
                  <a:gd name="T0" fmla="*/ 114 w 201"/>
                  <a:gd name="T1" fmla="*/ 12 h 188"/>
                  <a:gd name="T2" fmla="*/ 117 w 201"/>
                  <a:gd name="T3" fmla="*/ 31 h 188"/>
                  <a:gd name="T4" fmla="*/ 91 w 201"/>
                  <a:gd name="T5" fmla="*/ 35 h 188"/>
                  <a:gd name="T6" fmla="*/ 91 w 201"/>
                  <a:gd name="T7" fmla="*/ 51 h 188"/>
                  <a:gd name="T8" fmla="*/ 113 w 201"/>
                  <a:gd name="T9" fmla="*/ 72 h 188"/>
                  <a:gd name="T10" fmla="*/ 142 w 201"/>
                  <a:gd name="T11" fmla="*/ 105 h 188"/>
                  <a:gd name="T12" fmla="*/ 160 w 201"/>
                  <a:gd name="T13" fmla="*/ 110 h 188"/>
                  <a:gd name="T14" fmla="*/ 171 w 201"/>
                  <a:gd name="T15" fmla="*/ 121 h 188"/>
                  <a:gd name="T16" fmla="*/ 199 w 201"/>
                  <a:gd name="T17" fmla="*/ 138 h 188"/>
                  <a:gd name="T18" fmla="*/ 198 w 201"/>
                  <a:gd name="T19" fmla="*/ 149 h 188"/>
                  <a:gd name="T20" fmla="*/ 173 w 201"/>
                  <a:gd name="T21" fmla="*/ 136 h 188"/>
                  <a:gd name="T22" fmla="*/ 180 w 201"/>
                  <a:gd name="T23" fmla="*/ 157 h 188"/>
                  <a:gd name="T24" fmla="*/ 172 w 201"/>
                  <a:gd name="T25" fmla="*/ 169 h 188"/>
                  <a:gd name="T26" fmla="*/ 156 w 201"/>
                  <a:gd name="T27" fmla="*/ 188 h 188"/>
                  <a:gd name="T28" fmla="*/ 159 w 201"/>
                  <a:gd name="T29" fmla="*/ 171 h 188"/>
                  <a:gd name="T30" fmla="*/ 155 w 201"/>
                  <a:gd name="T31" fmla="*/ 155 h 188"/>
                  <a:gd name="T32" fmla="*/ 142 w 201"/>
                  <a:gd name="T33" fmla="*/ 142 h 188"/>
                  <a:gd name="T34" fmla="*/ 125 w 201"/>
                  <a:gd name="T35" fmla="*/ 129 h 188"/>
                  <a:gd name="T36" fmla="*/ 105 w 201"/>
                  <a:gd name="T37" fmla="*/ 120 h 188"/>
                  <a:gd name="T38" fmla="*/ 76 w 201"/>
                  <a:gd name="T39" fmla="*/ 97 h 188"/>
                  <a:gd name="T40" fmla="*/ 58 w 201"/>
                  <a:gd name="T41" fmla="*/ 65 h 188"/>
                  <a:gd name="T42" fmla="*/ 35 w 201"/>
                  <a:gd name="T43" fmla="*/ 56 h 188"/>
                  <a:gd name="T44" fmla="*/ 19 w 201"/>
                  <a:gd name="T45" fmla="*/ 68 h 188"/>
                  <a:gd name="T46" fmla="*/ 13 w 201"/>
                  <a:gd name="T47" fmla="*/ 61 h 188"/>
                  <a:gd name="T48" fmla="*/ 0 w 201"/>
                  <a:gd name="T49" fmla="*/ 42 h 188"/>
                  <a:gd name="T50" fmla="*/ 0 w 201"/>
                  <a:gd name="T51" fmla="*/ 28 h 188"/>
                  <a:gd name="T52" fmla="*/ 8 w 201"/>
                  <a:gd name="T53" fmla="*/ 27 h 188"/>
                  <a:gd name="T54" fmla="*/ 25 w 201"/>
                  <a:gd name="T55" fmla="*/ 19 h 188"/>
                  <a:gd name="T56" fmla="*/ 35 w 201"/>
                  <a:gd name="T57" fmla="*/ 22 h 188"/>
                  <a:gd name="T58" fmla="*/ 51 w 201"/>
                  <a:gd name="T59" fmla="*/ 16 h 188"/>
                  <a:gd name="T60" fmla="*/ 58 w 201"/>
                  <a:gd name="T61" fmla="*/ 4 h 188"/>
                  <a:gd name="T62" fmla="*/ 70 w 201"/>
                  <a:gd name="T63" fmla="*/ 3 h 188"/>
                  <a:gd name="T64" fmla="*/ 90 w 201"/>
                  <a:gd name="T65" fmla="*/ 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1" h="188">
                    <a:moveTo>
                      <a:pt x="90" y="7"/>
                    </a:moveTo>
                    <a:lnTo>
                      <a:pt x="114" y="12"/>
                    </a:lnTo>
                    <a:lnTo>
                      <a:pt x="113" y="22"/>
                    </a:lnTo>
                    <a:lnTo>
                      <a:pt x="117" y="31"/>
                    </a:lnTo>
                    <a:lnTo>
                      <a:pt x="104" y="28"/>
                    </a:lnTo>
                    <a:lnTo>
                      <a:pt x="91" y="35"/>
                    </a:lnTo>
                    <a:lnTo>
                      <a:pt x="93" y="45"/>
                    </a:lnTo>
                    <a:lnTo>
                      <a:pt x="91" y="51"/>
                    </a:lnTo>
                    <a:lnTo>
                      <a:pt x="97" y="61"/>
                    </a:lnTo>
                    <a:lnTo>
                      <a:pt x="113" y="72"/>
                    </a:lnTo>
                    <a:lnTo>
                      <a:pt x="122" y="89"/>
                    </a:lnTo>
                    <a:lnTo>
                      <a:pt x="142" y="105"/>
                    </a:lnTo>
                    <a:lnTo>
                      <a:pt x="155" y="105"/>
                    </a:lnTo>
                    <a:lnTo>
                      <a:pt x="160" y="110"/>
                    </a:lnTo>
                    <a:lnTo>
                      <a:pt x="155" y="114"/>
                    </a:lnTo>
                    <a:lnTo>
                      <a:pt x="171" y="121"/>
                    </a:lnTo>
                    <a:lnTo>
                      <a:pt x="183" y="127"/>
                    </a:lnTo>
                    <a:lnTo>
                      <a:pt x="199" y="138"/>
                    </a:lnTo>
                    <a:lnTo>
                      <a:pt x="201" y="142"/>
                    </a:lnTo>
                    <a:lnTo>
                      <a:pt x="198" y="149"/>
                    </a:lnTo>
                    <a:lnTo>
                      <a:pt x="188" y="140"/>
                    </a:lnTo>
                    <a:lnTo>
                      <a:pt x="173" y="136"/>
                    </a:lnTo>
                    <a:lnTo>
                      <a:pt x="167" y="150"/>
                    </a:lnTo>
                    <a:lnTo>
                      <a:pt x="180" y="157"/>
                    </a:lnTo>
                    <a:lnTo>
                      <a:pt x="179" y="168"/>
                    </a:lnTo>
                    <a:lnTo>
                      <a:pt x="172" y="169"/>
                    </a:lnTo>
                    <a:lnTo>
                      <a:pt x="163" y="187"/>
                    </a:lnTo>
                    <a:lnTo>
                      <a:pt x="156" y="188"/>
                    </a:lnTo>
                    <a:lnTo>
                      <a:pt x="156" y="182"/>
                    </a:lnTo>
                    <a:lnTo>
                      <a:pt x="159" y="171"/>
                    </a:lnTo>
                    <a:lnTo>
                      <a:pt x="162" y="167"/>
                    </a:lnTo>
                    <a:lnTo>
                      <a:pt x="155" y="155"/>
                    </a:lnTo>
                    <a:lnTo>
                      <a:pt x="149" y="144"/>
                    </a:lnTo>
                    <a:lnTo>
                      <a:pt x="142" y="142"/>
                    </a:lnTo>
                    <a:lnTo>
                      <a:pt x="136" y="133"/>
                    </a:lnTo>
                    <a:lnTo>
                      <a:pt x="125" y="129"/>
                    </a:lnTo>
                    <a:lnTo>
                      <a:pt x="118" y="121"/>
                    </a:lnTo>
                    <a:lnTo>
                      <a:pt x="105" y="120"/>
                    </a:lnTo>
                    <a:lnTo>
                      <a:pt x="91" y="110"/>
                    </a:lnTo>
                    <a:lnTo>
                      <a:pt x="76" y="97"/>
                    </a:lnTo>
                    <a:lnTo>
                      <a:pt x="64" y="85"/>
                    </a:lnTo>
                    <a:lnTo>
                      <a:pt x="58" y="65"/>
                    </a:lnTo>
                    <a:lnTo>
                      <a:pt x="49" y="63"/>
                    </a:lnTo>
                    <a:lnTo>
                      <a:pt x="35" y="56"/>
                    </a:lnTo>
                    <a:lnTo>
                      <a:pt x="28" y="58"/>
                    </a:lnTo>
                    <a:lnTo>
                      <a:pt x="19" y="68"/>
                    </a:lnTo>
                    <a:lnTo>
                      <a:pt x="12" y="69"/>
                    </a:lnTo>
                    <a:lnTo>
                      <a:pt x="13" y="61"/>
                    </a:lnTo>
                    <a:lnTo>
                      <a:pt x="4" y="58"/>
                    </a:lnTo>
                    <a:lnTo>
                      <a:pt x="0" y="42"/>
                    </a:lnTo>
                    <a:lnTo>
                      <a:pt x="5" y="36"/>
                    </a:lnTo>
                    <a:lnTo>
                      <a:pt x="0" y="28"/>
                    </a:lnTo>
                    <a:lnTo>
                      <a:pt x="0" y="23"/>
                    </a:lnTo>
                    <a:lnTo>
                      <a:pt x="8" y="27"/>
                    </a:lnTo>
                    <a:lnTo>
                      <a:pt x="16" y="26"/>
                    </a:lnTo>
                    <a:lnTo>
                      <a:pt x="25" y="19"/>
                    </a:lnTo>
                    <a:lnTo>
                      <a:pt x="27" y="22"/>
                    </a:lnTo>
                    <a:lnTo>
                      <a:pt x="35" y="22"/>
                    </a:lnTo>
                    <a:lnTo>
                      <a:pt x="38" y="13"/>
                    </a:lnTo>
                    <a:lnTo>
                      <a:pt x="51" y="16"/>
                    </a:lnTo>
                    <a:lnTo>
                      <a:pt x="58" y="12"/>
                    </a:lnTo>
                    <a:lnTo>
                      <a:pt x="58" y="4"/>
                    </a:lnTo>
                    <a:lnTo>
                      <a:pt x="68" y="7"/>
                    </a:lnTo>
                    <a:lnTo>
                      <a:pt x="70" y="3"/>
                    </a:lnTo>
                    <a:lnTo>
                      <a:pt x="86" y="0"/>
                    </a:lnTo>
                    <a:lnTo>
                      <a:pt x="90" y="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6" name="Freeform 96"/>
              <p:cNvSpPr>
                <a:spLocks/>
              </p:cNvSpPr>
              <p:nvPr/>
            </p:nvSpPr>
            <p:spPr bwMode="auto">
              <a:xfrm>
                <a:off x="1930400" y="3298825"/>
                <a:ext cx="60325" cy="26988"/>
              </a:xfrm>
              <a:custGeom>
                <a:avLst/>
                <a:gdLst>
                  <a:gd name="T0" fmla="*/ 14 w 38"/>
                  <a:gd name="T1" fmla="*/ 0 h 17"/>
                  <a:gd name="T2" fmla="*/ 26 w 38"/>
                  <a:gd name="T3" fmla="*/ 2 h 17"/>
                  <a:gd name="T4" fmla="*/ 35 w 38"/>
                  <a:gd name="T5" fmla="*/ 7 h 17"/>
                  <a:gd name="T6" fmla="*/ 38 w 38"/>
                  <a:gd name="T7" fmla="*/ 13 h 17"/>
                  <a:gd name="T8" fmla="*/ 25 w 38"/>
                  <a:gd name="T9" fmla="*/ 13 h 17"/>
                  <a:gd name="T10" fmla="*/ 19 w 38"/>
                  <a:gd name="T11" fmla="*/ 17 h 17"/>
                  <a:gd name="T12" fmla="*/ 9 w 38"/>
                  <a:gd name="T13" fmla="*/ 13 h 17"/>
                  <a:gd name="T14" fmla="*/ 0 w 38"/>
                  <a:gd name="T15" fmla="*/ 6 h 17"/>
                  <a:gd name="T16" fmla="*/ 2 w 38"/>
                  <a:gd name="T17" fmla="*/ 1 h 17"/>
                  <a:gd name="T18" fmla="*/ 10 w 38"/>
                  <a:gd name="T19" fmla="*/ 0 h 17"/>
                  <a:gd name="T20" fmla="*/ 14 w 38"/>
                  <a:gd name="T2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8" h="17">
                    <a:moveTo>
                      <a:pt x="14" y="0"/>
                    </a:moveTo>
                    <a:lnTo>
                      <a:pt x="26" y="2"/>
                    </a:lnTo>
                    <a:lnTo>
                      <a:pt x="35" y="7"/>
                    </a:lnTo>
                    <a:lnTo>
                      <a:pt x="38" y="13"/>
                    </a:lnTo>
                    <a:lnTo>
                      <a:pt x="25" y="13"/>
                    </a:lnTo>
                    <a:lnTo>
                      <a:pt x="19" y="17"/>
                    </a:lnTo>
                    <a:lnTo>
                      <a:pt x="9" y="13"/>
                    </a:lnTo>
                    <a:lnTo>
                      <a:pt x="0" y="6"/>
                    </a:lnTo>
                    <a:lnTo>
                      <a:pt x="2" y="1"/>
                    </a:lnTo>
                    <a:lnTo>
                      <a:pt x="10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7" name="Freeform 97"/>
              <p:cNvSpPr>
                <a:spLocks/>
              </p:cNvSpPr>
              <p:nvPr/>
            </p:nvSpPr>
            <p:spPr bwMode="auto">
              <a:xfrm>
                <a:off x="5159375" y="2808287"/>
                <a:ext cx="111125" cy="138113"/>
              </a:xfrm>
              <a:custGeom>
                <a:avLst/>
                <a:gdLst>
                  <a:gd name="T0" fmla="*/ 5 w 70"/>
                  <a:gd name="T1" fmla="*/ 21 h 87"/>
                  <a:gd name="T2" fmla="*/ 8 w 70"/>
                  <a:gd name="T3" fmla="*/ 14 h 87"/>
                  <a:gd name="T4" fmla="*/ 28 w 70"/>
                  <a:gd name="T5" fmla="*/ 22 h 87"/>
                  <a:gd name="T6" fmla="*/ 60 w 70"/>
                  <a:gd name="T7" fmla="*/ 0 h 87"/>
                  <a:gd name="T8" fmla="*/ 70 w 70"/>
                  <a:gd name="T9" fmla="*/ 26 h 87"/>
                  <a:gd name="T10" fmla="*/ 67 w 70"/>
                  <a:gd name="T11" fmla="*/ 29 h 87"/>
                  <a:gd name="T12" fmla="*/ 33 w 70"/>
                  <a:gd name="T13" fmla="*/ 39 h 87"/>
                  <a:gd name="T14" fmla="*/ 52 w 70"/>
                  <a:gd name="T15" fmla="*/ 60 h 87"/>
                  <a:gd name="T16" fmla="*/ 47 w 70"/>
                  <a:gd name="T17" fmla="*/ 63 h 87"/>
                  <a:gd name="T18" fmla="*/ 45 w 70"/>
                  <a:gd name="T19" fmla="*/ 70 h 87"/>
                  <a:gd name="T20" fmla="*/ 32 w 70"/>
                  <a:gd name="T21" fmla="*/ 73 h 87"/>
                  <a:gd name="T22" fmla="*/ 28 w 70"/>
                  <a:gd name="T23" fmla="*/ 81 h 87"/>
                  <a:gd name="T24" fmla="*/ 21 w 70"/>
                  <a:gd name="T25" fmla="*/ 87 h 87"/>
                  <a:gd name="T26" fmla="*/ 1 w 70"/>
                  <a:gd name="T27" fmla="*/ 84 h 87"/>
                  <a:gd name="T28" fmla="*/ 0 w 70"/>
                  <a:gd name="T29" fmla="*/ 81 h 87"/>
                  <a:gd name="T30" fmla="*/ 6 w 70"/>
                  <a:gd name="T31" fmla="*/ 47 h 87"/>
                  <a:gd name="T32" fmla="*/ 5 w 70"/>
                  <a:gd name="T33" fmla="*/ 39 h 87"/>
                  <a:gd name="T34" fmla="*/ 7 w 70"/>
                  <a:gd name="T35" fmla="*/ 33 h 87"/>
                  <a:gd name="T36" fmla="*/ 5 w 70"/>
                  <a:gd name="T37" fmla="*/ 2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0" h="87">
                    <a:moveTo>
                      <a:pt x="5" y="21"/>
                    </a:moveTo>
                    <a:lnTo>
                      <a:pt x="8" y="14"/>
                    </a:lnTo>
                    <a:lnTo>
                      <a:pt x="28" y="22"/>
                    </a:lnTo>
                    <a:lnTo>
                      <a:pt x="60" y="0"/>
                    </a:lnTo>
                    <a:lnTo>
                      <a:pt x="70" y="26"/>
                    </a:lnTo>
                    <a:lnTo>
                      <a:pt x="67" y="29"/>
                    </a:lnTo>
                    <a:lnTo>
                      <a:pt x="33" y="39"/>
                    </a:lnTo>
                    <a:lnTo>
                      <a:pt x="52" y="60"/>
                    </a:lnTo>
                    <a:lnTo>
                      <a:pt x="47" y="63"/>
                    </a:lnTo>
                    <a:lnTo>
                      <a:pt x="45" y="70"/>
                    </a:lnTo>
                    <a:lnTo>
                      <a:pt x="32" y="73"/>
                    </a:lnTo>
                    <a:lnTo>
                      <a:pt x="28" y="81"/>
                    </a:lnTo>
                    <a:lnTo>
                      <a:pt x="21" y="87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6" y="47"/>
                    </a:lnTo>
                    <a:lnTo>
                      <a:pt x="5" y="39"/>
                    </a:lnTo>
                    <a:lnTo>
                      <a:pt x="7" y="33"/>
                    </a:lnTo>
                    <a:lnTo>
                      <a:pt x="5" y="2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8" name="Freeform 98"/>
              <p:cNvSpPr>
                <a:spLocks/>
              </p:cNvSpPr>
              <p:nvPr/>
            </p:nvSpPr>
            <p:spPr bwMode="auto">
              <a:xfrm>
                <a:off x="7839075" y="2776537"/>
                <a:ext cx="60325" cy="53975"/>
              </a:xfrm>
              <a:custGeom>
                <a:avLst/>
                <a:gdLst>
                  <a:gd name="T0" fmla="*/ 33 w 38"/>
                  <a:gd name="T1" fmla="*/ 4 h 34"/>
                  <a:gd name="T2" fmla="*/ 38 w 38"/>
                  <a:gd name="T3" fmla="*/ 11 h 34"/>
                  <a:gd name="T4" fmla="*/ 34 w 38"/>
                  <a:gd name="T5" fmla="*/ 24 h 34"/>
                  <a:gd name="T6" fmla="*/ 24 w 38"/>
                  <a:gd name="T7" fmla="*/ 17 h 34"/>
                  <a:gd name="T8" fmla="*/ 17 w 38"/>
                  <a:gd name="T9" fmla="*/ 22 h 34"/>
                  <a:gd name="T10" fmla="*/ 17 w 38"/>
                  <a:gd name="T11" fmla="*/ 34 h 34"/>
                  <a:gd name="T12" fmla="*/ 4 w 38"/>
                  <a:gd name="T13" fmla="*/ 28 h 34"/>
                  <a:gd name="T14" fmla="*/ 0 w 38"/>
                  <a:gd name="T15" fmla="*/ 18 h 34"/>
                  <a:gd name="T16" fmla="*/ 4 w 38"/>
                  <a:gd name="T17" fmla="*/ 6 h 34"/>
                  <a:gd name="T18" fmla="*/ 15 w 38"/>
                  <a:gd name="T19" fmla="*/ 8 h 34"/>
                  <a:gd name="T20" fmla="*/ 19 w 38"/>
                  <a:gd name="T21" fmla="*/ 0 h 34"/>
                  <a:gd name="T22" fmla="*/ 33 w 38"/>
                  <a:gd name="T23" fmla="*/ 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34">
                    <a:moveTo>
                      <a:pt x="33" y="4"/>
                    </a:moveTo>
                    <a:lnTo>
                      <a:pt x="38" y="11"/>
                    </a:lnTo>
                    <a:lnTo>
                      <a:pt x="34" y="24"/>
                    </a:lnTo>
                    <a:lnTo>
                      <a:pt x="24" y="17"/>
                    </a:lnTo>
                    <a:lnTo>
                      <a:pt x="17" y="22"/>
                    </a:lnTo>
                    <a:lnTo>
                      <a:pt x="17" y="34"/>
                    </a:lnTo>
                    <a:lnTo>
                      <a:pt x="4" y="28"/>
                    </a:lnTo>
                    <a:lnTo>
                      <a:pt x="0" y="18"/>
                    </a:lnTo>
                    <a:lnTo>
                      <a:pt x="4" y="6"/>
                    </a:lnTo>
                    <a:lnTo>
                      <a:pt x="15" y="8"/>
                    </a:lnTo>
                    <a:lnTo>
                      <a:pt x="19" y="0"/>
                    </a:lnTo>
                    <a:lnTo>
                      <a:pt x="33" y="4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09" name="Freeform 99"/>
              <p:cNvSpPr>
                <a:spLocks/>
              </p:cNvSpPr>
              <p:nvPr/>
            </p:nvSpPr>
            <p:spPr bwMode="auto">
              <a:xfrm>
                <a:off x="7759700" y="2546350"/>
                <a:ext cx="276225" cy="339725"/>
              </a:xfrm>
              <a:custGeom>
                <a:avLst/>
                <a:gdLst>
                  <a:gd name="T0" fmla="*/ 164 w 174"/>
                  <a:gd name="T1" fmla="*/ 87 h 214"/>
                  <a:gd name="T2" fmla="*/ 166 w 174"/>
                  <a:gd name="T3" fmla="*/ 104 h 214"/>
                  <a:gd name="T4" fmla="*/ 174 w 174"/>
                  <a:gd name="T5" fmla="*/ 114 h 214"/>
                  <a:gd name="T6" fmla="*/ 171 w 174"/>
                  <a:gd name="T7" fmla="*/ 129 h 214"/>
                  <a:gd name="T8" fmla="*/ 154 w 174"/>
                  <a:gd name="T9" fmla="*/ 139 h 214"/>
                  <a:gd name="T10" fmla="*/ 124 w 174"/>
                  <a:gd name="T11" fmla="*/ 140 h 214"/>
                  <a:gd name="T12" fmla="*/ 109 w 174"/>
                  <a:gd name="T13" fmla="*/ 163 h 214"/>
                  <a:gd name="T14" fmla="*/ 94 w 174"/>
                  <a:gd name="T15" fmla="*/ 155 h 214"/>
                  <a:gd name="T16" fmla="*/ 87 w 174"/>
                  <a:gd name="T17" fmla="*/ 140 h 214"/>
                  <a:gd name="T18" fmla="*/ 59 w 174"/>
                  <a:gd name="T19" fmla="*/ 145 h 214"/>
                  <a:gd name="T20" fmla="*/ 42 w 174"/>
                  <a:gd name="T21" fmla="*/ 154 h 214"/>
                  <a:gd name="T22" fmla="*/ 22 w 174"/>
                  <a:gd name="T23" fmla="*/ 155 h 214"/>
                  <a:gd name="T24" fmla="*/ 46 w 174"/>
                  <a:gd name="T25" fmla="*/ 170 h 214"/>
                  <a:gd name="T26" fmla="*/ 48 w 174"/>
                  <a:gd name="T27" fmla="*/ 205 h 214"/>
                  <a:gd name="T28" fmla="*/ 40 w 174"/>
                  <a:gd name="T29" fmla="*/ 214 h 214"/>
                  <a:gd name="T30" fmla="*/ 28 w 174"/>
                  <a:gd name="T31" fmla="*/ 206 h 214"/>
                  <a:gd name="T32" fmla="*/ 26 w 174"/>
                  <a:gd name="T33" fmla="*/ 187 h 214"/>
                  <a:gd name="T34" fmla="*/ 12 w 174"/>
                  <a:gd name="T35" fmla="*/ 181 h 214"/>
                  <a:gd name="T36" fmla="*/ 0 w 174"/>
                  <a:gd name="T37" fmla="*/ 167 h 214"/>
                  <a:gd name="T38" fmla="*/ 14 w 174"/>
                  <a:gd name="T39" fmla="*/ 160 h 214"/>
                  <a:gd name="T40" fmla="*/ 17 w 174"/>
                  <a:gd name="T41" fmla="*/ 148 h 214"/>
                  <a:gd name="T42" fmla="*/ 30 w 174"/>
                  <a:gd name="T43" fmla="*/ 137 h 214"/>
                  <a:gd name="T44" fmla="*/ 37 w 174"/>
                  <a:gd name="T45" fmla="*/ 123 h 214"/>
                  <a:gd name="T46" fmla="*/ 68 w 174"/>
                  <a:gd name="T47" fmla="*/ 117 h 214"/>
                  <a:gd name="T48" fmla="*/ 89 w 174"/>
                  <a:gd name="T49" fmla="*/ 121 h 214"/>
                  <a:gd name="T50" fmla="*/ 89 w 174"/>
                  <a:gd name="T51" fmla="*/ 84 h 214"/>
                  <a:gd name="T52" fmla="*/ 106 w 174"/>
                  <a:gd name="T53" fmla="*/ 94 h 214"/>
                  <a:gd name="T54" fmla="*/ 120 w 174"/>
                  <a:gd name="T55" fmla="*/ 73 h 214"/>
                  <a:gd name="T56" fmla="*/ 126 w 174"/>
                  <a:gd name="T57" fmla="*/ 65 h 214"/>
                  <a:gd name="T58" fmla="*/ 123 w 174"/>
                  <a:gd name="T59" fmla="*/ 40 h 214"/>
                  <a:gd name="T60" fmla="*/ 108 w 174"/>
                  <a:gd name="T61" fmla="*/ 17 h 214"/>
                  <a:gd name="T62" fmla="*/ 107 w 174"/>
                  <a:gd name="T63" fmla="*/ 4 h 214"/>
                  <a:gd name="T64" fmla="*/ 123 w 174"/>
                  <a:gd name="T65" fmla="*/ 0 h 214"/>
                  <a:gd name="T66" fmla="*/ 149 w 174"/>
                  <a:gd name="T67" fmla="*/ 29 h 214"/>
                  <a:gd name="T68" fmla="*/ 157 w 174"/>
                  <a:gd name="T69" fmla="*/ 45 h 214"/>
                  <a:gd name="T70" fmla="*/ 153 w 174"/>
                  <a:gd name="T71" fmla="*/ 66 h 214"/>
                  <a:gd name="T72" fmla="*/ 164 w 174"/>
                  <a:gd name="T73" fmla="*/ 87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4" h="214">
                    <a:moveTo>
                      <a:pt x="164" y="87"/>
                    </a:moveTo>
                    <a:lnTo>
                      <a:pt x="166" y="104"/>
                    </a:lnTo>
                    <a:lnTo>
                      <a:pt x="174" y="114"/>
                    </a:lnTo>
                    <a:lnTo>
                      <a:pt x="171" y="129"/>
                    </a:lnTo>
                    <a:lnTo>
                      <a:pt x="154" y="139"/>
                    </a:lnTo>
                    <a:lnTo>
                      <a:pt x="124" y="140"/>
                    </a:lnTo>
                    <a:lnTo>
                      <a:pt x="109" y="163"/>
                    </a:lnTo>
                    <a:lnTo>
                      <a:pt x="94" y="155"/>
                    </a:lnTo>
                    <a:lnTo>
                      <a:pt x="87" y="140"/>
                    </a:lnTo>
                    <a:lnTo>
                      <a:pt x="59" y="145"/>
                    </a:lnTo>
                    <a:lnTo>
                      <a:pt x="42" y="154"/>
                    </a:lnTo>
                    <a:lnTo>
                      <a:pt x="22" y="155"/>
                    </a:lnTo>
                    <a:lnTo>
                      <a:pt x="46" y="170"/>
                    </a:lnTo>
                    <a:lnTo>
                      <a:pt x="48" y="205"/>
                    </a:lnTo>
                    <a:lnTo>
                      <a:pt x="40" y="214"/>
                    </a:lnTo>
                    <a:lnTo>
                      <a:pt x="28" y="206"/>
                    </a:lnTo>
                    <a:lnTo>
                      <a:pt x="26" y="187"/>
                    </a:lnTo>
                    <a:lnTo>
                      <a:pt x="12" y="181"/>
                    </a:lnTo>
                    <a:lnTo>
                      <a:pt x="0" y="167"/>
                    </a:lnTo>
                    <a:lnTo>
                      <a:pt x="14" y="160"/>
                    </a:lnTo>
                    <a:lnTo>
                      <a:pt x="17" y="148"/>
                    </a:lnTo>
                    <a:lnTo>
                      <a:pt x="30" y="137"/>
                    </a:lnTo>
                    <a:lnTo>
                      <a:pt x="37" y="123"/>
                    </a:lnTo>
                    <a:lnTo>
                      <a:pt x="68" y="117"/>
                    </a:lnTo>
                    <a:lnTo>
                      <a:pt x="89" y="121"/>
                    </a:lnTo>
                    <a:lnTo>
                      <a:pt x="89" y="84"/>
                    </a:lnTo>
                    <a:lnTo>
                      <a:pt x="106" y="94"/>
                    </a:lnTo>
                    <a:lnTo>
                      <a:pt x="120" y="73"/>
                    </a:lnTo>
                    <a:lnTo>
                      <a:pt x="126" y="65"/>
                    </a:lnTo>
                    <a:lnTo>
                      <a:pt x="123" y="40"/>
                    </a:lnTo>
                    <a:lnTo>
                      <a:pt x="108" y="17"/>
                    </a:lnTo>
                    <a:lnTo>
                      <a:pt x="107" y="4"/>
                    </a:lnTo>
                    <a:lnTo>
                      <a:pt x="123" y="0"/>
                    </a:lnTo>
                    <a:lnTo>
                      <a:pt x="149" y="29"/>
                    </a:lnTo>
                    <a:lnTo>
                      <a:pt x="157" y="45"/>
                    </a:lnTo>
                    <a:lnTo>
                      <a:pt x="153" y="66"/>
                    </a:lnTo>
                    <a:lnTo>
                      <a:pt x="164" y="8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0" name="Freeform 100"/>
              <p:cNvSpPr>
                <a:spLocks/>
              </p:cNvSpPr>
              <p:nvPr/>
            </p:nvSpPr>
            <p:spPr bwMode="auto">
              <a:xfrm>
                <a:off x="7885112" y="2409825"/>
                <a:ext cx="142875" cy="130175"/>
              </a:xfrm>
              <a:custGeom>
                <a:avLst/>
                <a:gdLst>
                  <a:gd name="T0" fmla="*/ 51 w 90"/>
                  <a:gd name="T1" fmla="*/ 29 h 82"/>
                  <a:gd name="T2" fmla="*/ 65 w 90"/>
                  <a:gd name="T3" fmla="*/ 33 h 82"/>
                  <a:gd name="T4" fmla="*/ 71 w 90"/>
                  <a:gd name="T5" fmla="*/ 24 h 82"/>
                  <a:gd name="T6" fmla="*/ 90 w 90"/>
                  <a:gd name="T7" fmla="*/ 47 h 82"/>
                  <a:gd name="T8" fmla="*/ 69 w 90"/>
                  <a:gd name="T9" fmla="*/ 53 h 82"/>
                  <a:gd name="T10" fmla="*/ 67 w 90"/>
                  <a:gd name="T11" fmla="*/ 73 h 82"/>
                  <a:gd name="T12" fmla="*/ 32 w 90"/>
                  <a:gd name="T13" fmla="*/ 59 h 82"/>
                  <a:gd name="T14" fmla="*/ 36 w 90"/>
                  <a:gd name="T15" fmla="*/ 82 h 82"/>
                  <a:gd name="T16" fmla="*/ 18 w 90"/>
                  <a:gd name="T17" fmla="*/ 82 h 82"/>
                  <a:gd name="T18" fmla="*/ 3 w 90"/>
                  <a:gd name="T19" fmla="*/ 62 h 82"/>
                  <a:gd name="T20" fmla="*/ 2 w 90"/>
                  <a:gd name="T21" fmla="*/ 46 h 82"/>
                  <a:gd name="T22" fmla="*/ 19 w 90"/>
                  <a:gd name="T23" fmla="*/ 45 h 82"/>
                  <a:gd name="T24" fmla="*/ 6 w 90"/>
                  <a:gd name="T25" fmla="*/ 16 h 82"/>
                  <a:gd name="T26" fmla="*/ 0 w 90"/>
                  <a:gd name="T27" fmla="*/ 0 h 82"/>
                  <a:gd name="T28" fmla="*/ 33 w 90"/>
                  <a:gd name="T29" fmla="*/ 22 h 82"/>
                  <a:gd name="T30" fmla="*/ 51 w 90"/>
                  <a:gd name="T31" fmla="*/ 2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0" h="82">
                    <a:moveTo>
                      <a:pt x="51" y="29"/>
                    </a:moveTo>
                    <a:lnTo>
                      <a:pt x="65" y="33"/>
                    </a:lnTo>
                    <a:lnTo>
                      <a:pt x="71" y="24"/>
                    </a:lnTo>
                    <a:lnTo>
                      <a:pt x="90" y="47"/>
                    </a:lnTo>
                    <a:lnTo>
                      <a:pt x="69" y="53"/>
                    </a:lnTo>
                    <a:lnTo>
                      <a:pt x="67" y="73"/>
                    </a:lnTo>
                    <a:lnTo>
                      <a:pt x="32" y="59"/>
                    </a:lnTo>
                    <a:lnTo>
                      <a:pt x="36" y="82"/>
                    </a:lnTo>
                    <a:lnTo>
                      <a:pt x="18" y="82"/>
                    </a:lnTo>
                    <a:lnTo>
                      <a:pt x="3" y="62"/>
                    </a:lnTo>
                    <a:lnTo>
                      <a:pt x="2" y="46"/>
                    </a:lnTo>
                    <a:lnTo>
                      <a:pt x="19" y="45"/>
                    </a:lnTo>
                    <a:lnTo>
                      <a:pt x="6" y="16"/>
                    </a:lnTo>
                    <a:lnTo>
                      <a:pt x="0" y="0"/>
                    </a:lnTo>
                    <a:lnTo>
                      <a:pt x="33" y="22"/>
                    </a:lnTo>
                    <a:lnTo>
                      <a:pt x="51" y="2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1" name="Freeform 101"/>
              <p:cNvSpPr>
                <a:spLocks/>
              </p:cNvSpPr>
              <p:nvPr/>
            </p:nvSpPr>
            <p:spPr bwMode="auto">
              <a:xfrm>
                <a:off x="5372100" y="2095500"/>
                <a:ext cx="1035050" cy="474663"/>
              </a:xfrm>
              <a:custGeom>
                <a:avLst/>
                <a:gdLst>
                  <a:gd name="T0" fmla="*/ 429 w 652"/>
                  <a:gd name="T1" fmla="*/ 270 h 299"/>
                  <a:gd name="T2" fmla="*/ 408 w 652"/>
                  <a:gd name="T3" fmla="*/ 299 h 299"/>
                  <a:gd name="T4" fmla="*/ 395 w 652"/>
                  <a:gd name="T5" fmla="*/ 289 h 299"/>
                  <a:gd name="T6" fmla="*/ 365 w 652"/>
                  <a:gd name="T7" fmla="*/ 272 h 299"/>
                  <a:gd name="T8" fmla="*/ 352 w 652"/>
                  <a:gd name="T9" fmla="*/ 251 h 299"/>
                  <a:gd name="T10" fmla="*/ 300 w 652"/>
                  <a:gd name="T11" fmla="*/ 237 h 299"/>
                  <a:gd name="T12" fmla="*/ 260 w 652"/>
                  <a:gd name="T13" fmla="*/ 222 h 299"/>
                  <a:gd name="T14" fmla="*/ 215 w 652"/>
                  <a:gd name="T15" fmla="*/ 200 h 299"/>
                  <a:gd name="T16" fmla="*/ 172 w 652"/>
                  <a:gd name="T17" fmla="*/ 210 h 299"/>
                  <a:gd name="T18" fmla="*/ 183 w 652"/>
                  <a:gd name="T19" fmla="*/ 286 h 299"/>
                  <a:gd name="T20" fmla="*/ 155 w 652"/>
                  <a:gd name="T21" fmla="*/ 265 h 299"/>
                  <a:gd name="T22" fmla="*/ 131 w 652"/>
                  <a:gd name="T23" fmla="*/ 276 h 299"/>
                  <a:gd name="T24" fmla="*/ 131 w 652"/>
                  <a:gd name="T25" fmla="*/ 262 h 299"/>
                  <a:gd name="T26" fmla="*/ 106 w 652"/>
                  <a:gd name="T27" fmla="*/ 248 h 299"/>
                  <a:gd name="T28" fmla="*/ 84 w 652"/>
                  <a:gd name="T29" fmla="*/ 224 h 299"/>
                  <a:gd name="T30" fmla="*/ 98 w 652"/>
                  <a:gd name="T31" fmla="*/ 220 h 299"/>
                  <a:gd name="T32" fmla="*/ 108 w 652"/>
                  <a:gd name="T33" fmla="*/ 201 h 299"/>
                  <a:gd name="T34" fmla="*/ 121 w 652"/>
                  <a:gd name="T35" fmla="*/ 184 h 299"/>
                  <a:gd name="T36" fmla="*/ 99 w 652"/>
                  <a:gd name="T37" fmla="*/ 173 h 299"/>
                  <a:gd name="T38" fmla="*/ 67 w 652"/>
                  <a:gd name="T39" fmla="*/ 177 h 299"/>
                  <a:gd name="T40" fmla="*/ 44 w 652"/>
                  <a:gd name="T41" fmla="*/ 178 h 299"/>
                  <a:gd name="T42" fmla="*/ 29 w 652"/>
                  <a:gd name="T43" fmla="*/ 154 h 299"/>
                  <a:gd name="T44" fmla="*/ 0 w 652"/>
                  <a:gd name="T45" fmla="*/ 140 h 299"/>
                  <a:gd name="T46" fmla="*/ 0 w 652"/>
                  <a:gd name="T47" fmla="*/ 121 h 299"/>
                  <a:gd name="T48" fmla="*/ 26 w 652"/>
                  <a:gd name="T49" fmla="*/ 110 h 299"/>
                  <a:gd name="T50" fmla="*/ 51 w 652"/>
                  <a:gd name="T51" fmla="*/ 74 h 299"/>
                  <a:gd name="T52" fmla="*/ 115 w 652"/>
                  <a:gd name="T53" fmla="*/ 87 h 299"/>
                  <a:gd name="T54" fmla="*/ 150 w 652"/>
                  <a:gd name="T55" fmla="*/ 87 h 299"/>
                  <a:gd name="T56" fmla="*/ 199 w 652"/>
                  <a:gd name="T57" fmla="*/ 97 h 299"/>
                  <a:gd name="T58" fmla="*/ 224 w 652"/>
                  <a:gd name="T59" fmla="*/ 92 h 299"/>
                  <a:gd name="T60" fmla="*/ 194 w 652"/>
                  <a:gd name="T61" fmla="*/ 69 h 299"/>
                  <a:gd name="T62" fmla="*/ 201 w 652"/>
                  <a:gd name="T63" fmla="*/ 53 h 299"/>
                  <a:gd name="T64" fmla="*/ 198 w 652"/>
                  <a:gd name="T65" fmla="*/ 34 h 299"/>
                  <a:gd name="T66" fmla="*/ 257 w 652"/>
                  <a:gd name="T67" fmla="*/ 21 h 299"/>
                  <a:gd name="T68" fmla="*/ 298 w 652"/>
                  <a:gd name="T69" fmla="*/ 9 h 299"/>
                  <a:gd name="T70" fmla="*/ 338 w 652"/>
                  <a:gd name="T71" fmla="*/ 5 h 299"/>
                  <a:gd name="T72" fmla="*/ 366 w 652"/>
                  <a:gd name="T73" fmla="*/ 20 h 299"/>
                  <a:gd name="T74" fmla="*/ 393 w 652"/>
                  <a:gd name="T75" fmla="*/ 38 h 299"/>
                  <a:gd name="T76" fmla="*/ 437 w 652"/>
                  <a:gd name="T77" fmla="*/ 18 h 299"/>
                  <a:gd name="T78" fmla="*/ 462 w 652"/>
                  <a:gd name="T79" fmla="*/ 39 h 299"/>
                  <a:gd name="T80" fmla="*/ 524 w 652"/>
                  <a:gd name="T81" fmla="*/ 80 h 299"/>
                  <a:gd name="T82" fmla="*/ 571 w 652"/>
                  <a:gd name="T83" fmla="*/ 86 h 299"/>
                  <a:gd name="T84" fmla="*/ 595 w 652"/>
                  <a:gd name="T85" fmla="*/ 102 h 299"/>
                  <a:gd name="T86" fmla="*/ 619 w 652"/>
                  <a:gd name="T87" fmla="*/ 114 h 299"/>
                  <a:gd name="T88" fmla="*/ 652 w 652"/>
                  <a:gd name="T89" fmla="*/ 124 h 299"/>
                  <a:gd name="T90" fmla="*/ 634 w 652"/>
                  <a:gd name="T91" fmla="*/ 139 h 299"/>
                  <a:gd name="T92" fmla="*/ 637 w 652"/>
                  <a:gd name="T93" fmla="*/ 169 h 299"/>
                  <a:gd name="T94" fmla="*/ 605 w 652"/>
                  <a:gd name="T95" fmla="*/ 199 h 299"/>
                  <a:gd name="T96" fmla="*/ 569 w 652"/>
                  <a:gd name="T97" fmla="*/ 211 h 299"/>
                  <a:gd name="T98" fmla="*/ 588 w 652"/>
                  <a:gd name="T99" fmla="*/ 252 h 299"/>
                  <a:gd name="T100" fmla="*/ 581 w 652"/>
                  <a:gd name="T101" fmla="*/ 261 h 299"/>
                  <a:gd name="T102" fmla="*/ 545 w 652"/>
                  <a:gd name="T103" fmla="*/ 252 h 299"/>
                  <a:gd name="T104" fmla="*/ 512 w 652"/>
                  <a:gd name="T105" fmla="*/ 253 h 299"/>
                  <a:gd name="T106" fmla="*/ 477 w 652"/>
                  <a:gd name="T107" fmla="*/ 249 h 299"/>
                  <a:gd name="T108" fmla="*/ 449 w 652"/>
                  <a:gd name="T109" fmla="*/ 254 h 299"/>
                  <a:gd name="T110" fmla="*/ 438 w 652"/>
                  <a:gd name="T111" fmla="*/ 266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652" h="299">
                    <a:moveTo>
                      <a:pt x="438" y="266"/>
                    </a:moveTo>
                    <a:lnTo>
                      <a:pt x="429" y="270"/>
                    </a:lnTo>
                    <a:lnTo>
                      <a:pt x="412" y="284"/>
                    </a:lnTo>
                    <a:lnTo>
                      <a:pt x="408" y="299"/>
                    </a:lnTo>
                    <a:lnTo>
                      <a:pt x="402" y="299"/>
                    </a:lnTo>
                    <a:lnTo>
                      <a:pt x="395" y="289"/>
                    </a:lnTo>
                    <a:lnTo>
                      <a:pt x="373" y="288"/>
                    </a:lnTo>
                    <a:lnTo>
                      <a:pt x="365" y="272"/>
                    </a:lnTo>
                    <a:lnTo>
                      <a:pt x="357" y="271"/>
                    </a:lnTo>
                    <a:lnTo>
                      <a:pt x="352" y="251"/>
                    </a:lnTo>
                    <a:lnTo>
                      <a:pt x="328" y="236"/>
                    </a:lnTo>
                    <a:lnTo>
                      <a:pt x="300" y="237"/>
                    </a:lnTo>
                    <a:lnTo>
                      <a:pt x="281" y="240"/>
                    </a:lnTo>
                    <a:lnTo>
                      <a:pt x="260" y="222"/>
                    </a:lnTo>
                    <a:lnTo>
                      <a:pt x="245" y="214"/>
                    </a:lnTo>
                    <a:lnTo>
                      <a:pt x="215" y="200"/>
                    </a:lnTo>
                    <a:lnTo>
                      <a:pt x="211" y="198"/>
                    </a:lnTo>
                    <a:lnTo>
                      <a:pt x="172" y="210"/>
                    </a:lnTo>
                    <a:lnTo>
                      <a:pt x="192" y="285"/>
                    </a:lnTo>
                    <a:lnTo>
                      <a:pt x="183" y="286"/>
                    </a:lnTo>
                    <a:lnTo>
                      <a:pt x="168" y="270"/>
                    </a:lnTo>
                    <a:lnTo>
                      <a:pt x="155" y="265"/>
                    </a:lnTo>
                    <a:lnTo>
                      <a:pt x="137" y="269"/>
                    </a:lnTo>
                    <a:lnTo>
                      <a:pt x="131" y="276"/>
                    </a:lnTo>
                    <a:lnTo>
                      <a:pt x="129" y="271"/>
                    </a:lnTo>
                    <a:lnTo>
                      <a:pt x="131" y="262"/>
                    </a:lnTo>
                    <a:lnTo>
                      <a:pt x="127" y="255"/>
                    </a:lnTo>
                    <a:lnTo>
                      <a:pt x="106" y="248"/>
                    </a:lnTo>
                    <a:lnTo>
                      <a:pt x="94" y="230"/>
                    </a:lnTo>
                    <a:lnTo>
                      <a:pt x="84" y="224"/>
                    </a:lnTo>
                    <a:lnTo>
                      <a:pt x="81" y="218"/>
                    </a:lnTo>
                    <a:lnTo>
                      <a:pt x="98" y="220"/>
                    </a:lnTo>
                    <a:lnTo>
                      <a:pt x="95" y="205"/>
                    </a:lnTo>
                    <a:lnTo>
                      <a:pt x="108" y="201"/>
                    </a:lnTo>
                    <a:lnTo>
                      <a:pt x="123" y="204"/>
                    </a:lnTo>
                    <a:lnTo>
                      <a:pt x="121" y="184"/>
                    </a:lnTo>
                    <a:lnTo>
                      <a:pt x="115" y="172"/>
                    </a:lnTo>
                    <a:lnTo>
                      <a:pt x="99" y="173"/>
                    </a:lnTo>
                    <a:lnTo>
                      <a:pt x="84" y="168"/>
                    </a:lnTo>
                    <a:lnTo>
                      <a:pt x="67" y="177"/>
                    </a:lnTo>
                    <a:lnTo>
                      <a:pt x="53" y="181"/>
                    </a:lnTo>
                    <a:lnTo>
                      <a:pt x="44" y="178"/>
                    </a:lnTo>
                    <a:lnTo>
                      <a:pt x="43" y="167"/>
                    </a:lnTo>
                    <a:lnTo>
                      <a:pt x="29" y="154"/>
                    </a:lnTo>
                    <a:lnTo>
                      <a:pt x="17" y="154"/>
                    </a:lnTo>
                    <a:lnTo>
                      <a:pt x="0" y="140"/>
                    </a:lnTo>
                    <a:lnTo>
                      <a:pt x="6" y="125"/>
                    </a:lnTo>
                    <a:lnTo>
                      <a:pt x="0" y="121"/>
                    </a:lnTo>
                    <a:lnTo>
                      <a:pt x="7" y="99"/>
                    </a:lnTo>
                    <a:lnTo>
                      <a:pt x="26" y="110"/>
                    </a:lnTo>
                    <a:lnTo>
                      <a:pt x="25" y="96"/>
                    </a:lnTo>
                    <a:lnTo>
                      <a:pt x="51" y="74"/>
                    </a:lnTo>
                    <a:lnTo>
                      <a:pt x="76" y="73"/>
                    </a:lnTo>
                    <a:lnTo>
                      <a:pt x="115" y="87"/>
                    </a:lnTo>
                    <a:lnTo>
                      <a:pt x="136" y="95"/>
                    </a:lnTo>
                    <a:lnTo>
                      <a:pt x="150" y="87"/>
                    </a:lnTo>
                    <a:lnTo>
                      <a:pt x="175" y="87"/>
                    </a:lnTo>
                    <a:lnTo>
                      <a:pt x="199" y="97"/>
                    </a:lnTo>
                    <a:lnTo>
                      <a:pt x="202" y="91"/>
                    </a:lnTo>
                    <a:lnTo>
                      <a:pt x="224" y="92"/>
                    </a:lnTo>
                    <a:lnTo>
                      <a:pt x="225" y="82"/>
                    </a:lnTo>
                    <a:lnTo>
                      <a:pt x="194" y="69"/>
                    </a:lnTo>
                    <a:lnTo>
                      <a:pt x="206" y="59"/>
                    </a:lnTo>
                    <a:lnTo>
                      <a:pt x="201" y="53"/>
                    </a:lnTo>
                    <a:lnTo>
                      <a:pt x="214" y="48"/>
                    </a:lnTo>
                    <a:lnTo>
                      <a:pt x="198" y="34"/>
                    </a:lnTo>
                    <a:lnTo>
                      <a:pt x="202" y="28"/>
                    </a:lnTo>
                    <a:lnTo>
                      <a:pt x="257" y="21"/>
                    </a:lnTo>
                    <a:lnTo>
                      <a:pt x="263" y="16"/>
                    </a:lnTo>
                    <a:lnTo>
                      <a:pt x="298" y="9"/>
                    </a:lnTo>
                    <a:lnTo>
                      <a:pt x="309" y="0"/>
                    </a:lnTo>
                    <a:lnTo>
                      <a:pt x="338" y="5"/>
                    </a:lnTo>
                    <a:lnTo>
                      <a:pt x="352" y="25"/>
                    </a:lnTo>
                    <a:lnTo>
                      <a:pt x="366" y="20"/>
                    </a:lnTo>
                    <a:lnTo>
                      <a:pt x="389" y="27"/>
                    </a:lnTo>
                    <a:lnTo>
                      <a:pt x="393" y="38"/>
                    </a:lnTo>
                    <a:lnTo>
                      <a:pt x="407" y="37"/>
                    </a:lnTo>
                    <a:lnTo>
                      <a:pt x="437" y="18"/>
                    </a:lnTo>
                    <a:lnTo>
                      <a:pt x="434" y="24"/>
                    </a:lnTo>
                    <a:lnTo>
                      <a:pt x="462" y="39"/>
                    </a:lnTo>
                    <a:lnTo>
                      <a:pt x="520" y="90"/>
                    </a:lnTo>
                    <a:lnTo>
                      <a:pt x="524" y="80"/>
                    </a:lnTo>
                    <a:lnTo>
                      <a:pt x="551" y="92"/>
                    </a:lnTo>
                    <a:lnTo>
                      <a:pt x="571" y="86"/>
                    </a:lnTo>
                    <a:lnTo>
                      <a:pt x="582" y="90"/>
                    </a:lnTo>
                    <a:lnTo>
                      <a:pt x="595" y="102"/>
                    </a:lnTo>
                    <a:lnTo>
                      <a:pt x="608" y="106"/>
                    </a:lnTo>
                    <a:lnTo>
                      <a:pt x="619" y="114"/>
                    </a:lnTo>
                    <a:lnTo>
                      <a:pt x="638" y="111"/>
                    </a:lnTo>
                    <a:lnTo>
                      <a:pt x="652" y="124"/>
                    </a:lnTo>
                    <a:lnTo>
                      <a:pt x="647" y="137"/>
                    </a:lnTo>
                    <a:lnTo>
                      <a:pt x="634" y="139"/>
                    </a:lnTo>
                    <a:lnTo>
                      <a:pt x="642" y="160"/>
                    </a:lnTo>
                    <a:lnTo>
                      <a:pt x="637" y="169"/>
                    </a:lnTo>
                    <a:lnTo>
                      <a:pt x="602" y="162"/>
                    </a:lnTo>
                    <a:lnTo>
                      <a:pt x="605" y="199"/>
                    </a:lnTo>
                    <a:lnTo>
                      <a:pt x="599" y="203"/>
                    </a:lnTo>
                    <a:lnTo>
                      <a:pt x="569" y="211"/>
                    </a:lnTo>
                    <a:lnTo>
                      <a:pt x="597" y="247"/>
                    </a:lnTo>
                    <a:lnTo>
                      <a:pt x="588" y="252"/>
                    </a:lnTo>
                    <a:lnTo>
                      <a:pt x="593" y="264"/>
                    </a:lnTo>
                    <a:lnTo>
                      <a:pt x="581" y="261"/>
                    </a:lnTo>
                    <a:lnTo>
                      <a:pt x="571" y="254"/>
                    </a:lnTo>
                    <a:lnTo>
                      <a:pt x="545" y="252"/>
                    </a:lnTo>
                    <a:lnTo>
                      <a:pt x="517" y="251"/>
                    </a:lnTo>
                    <a:lnTo>
                      <a:pt x="512" y="253"/>
                    </a:lnTo>
                    <a:lnTo>
                      <a:pt x="485" y="245"/>
                    </a:lnTo>
                    <a:lnTo>
                      <a:pt x="477" y="249"/>
                    </a:lnTo>
                    <a:lnTo>
                      <a:pt x="479" y="261"/>
                    </a:lnTo>
                    <a:lnTo>
                      <a:pt x="449" y="254"/>
                    </a:lnTo>
                    <a:lnTo>
                      <a:pt x="439" y="257"/>
                    </a:lnTo>
                    <a:lnTo>
                      <a:pt x="438" y="266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2" name="Freeform 102"/>
              <p:cNvSpPr>
                <a:spLocks/>
              </p:cNvSpPr>
              <p:nvPr/>
            </p:nvSpPr>
            <p:spPr bwMode="auto">
              <a:xfrm>
                <a:off x="5170487" y="3727450"/>
                <a:ext cx="231775" cy="336550"/>
              </a:xfrm>
              <a:custGeom>
                <a:avLst/>
                <a:gdLst>
                  <a:gd name="T0" fmla="*/ 131 w 146"/>
                  <a:gd name="T1" fmla="*/ 132 h 212"/>
                  <a:gd name="T2" fmla="*/ 141 w 146"/>
                  <a:gd name="T3" fmla="*/ 149 h 212"/>
                  <a:gd name="T4" fmla="*/ 128 w 146"/>
                  <a:gd name="T5" fmla="*/ 158 h 212"/>
                  <a:gd name="T6" fmla="*/ 124 w 146"/>
                  <a:gd name="T7" fmla="*/ 166 h 212"/>
                  <a:gd name="T8" fmla="*/ 117 w 146"/>
                  <a:gd name="T9" fmla="*/ 168 h 212"/>
                  <a:gd name="T10" fmla="*/ 114 w 146"/>
                  <a:gd name="T11" fmla="*/ 183 h 212"/>
                  <a:gd name="T12" fmla="*/ 108 w 146"/>
                  <a:gd name="T13" fmla="*/ 191 h 212"/>
                  <a:gd name="T14" fmla="*/ 104 w 146"/>
                  <a:gd name="T15" fmla="*/ 205 h 212"/>
                  <a:gd name="T16" fmla="*/ 97 w 146"/>
                  <a:gd name="T17" fmla="*/ 212 h 212"/>
                  <a:gd name="T18" fmla="*/ 71 w 146"/>
                  <a:gd name="T19" fmla="*/ 191 h 212"/>
                  <a:gd name="T20" fmla="*/ 70 w 146"/>
                  <a:gd name="T21" fmla="*/ 179 h 212"/>
                  <a:gd name="T22" fmla="*/ 3 w 146"/>
                  <a:gd name="T23" fmla="*/ 136 h 212"/>
                  <a:gd name="T24" fmla="*/ 0 w 146"/>
                  <a:gd name="T25" fmla="*/ 134 h 212"/>
                  <a:gd name="T26" fmla="*/ 0 w 146"/>
                  <a:gd name="T27" fmla="*/ 112 h 212"/>
                  <a:gd name="T28" fmla="*/ 5 w 146"/>
                  <a:gd name="T29" fmla="*/ 104 h 212"/>
                  <a:gd name="T30" fmla="*/ 14 w 146"/>
                  <a:gd name="T31" fmla="*/ 90 h 212"/>
                  <a:gd name="T32" fmla="*/ 21 w 146"/>
                  <a:gd name="T33" fmla="*/ 75 h 212"/>
                  <a:gd name="T34" fmla="*/ 13 w 146"/>
                  <a:gd name="T35" fmla="*/ 51 h 212"/>
                  <a:gd name="T36" fmla="*/ 11 w 146"/>
                  <a:gd name="T37" fmla="*/ 41 h 212"/>
                  <a:gd name="T38" fmla="*/ 2 w 146"/>
                  <a:gd name="T39" fmla="*/ 26 h 212"/>
                  <a:gd name="T40" fmla="*/ 13 w 146"/>
                  <a:gd name="T41" fmla="*/ 14 h 212"/>
                  <a:gd name="T42" fmla="*/ 25 w 146"/>
                  <a:gd name="T43" fmla="*/ 0 h 212"/>
                  <a:gd name="T44" fmla="*/ 35 w 146"/>
                  <a:gd name="T45" fmla="*/ 4 h 212"/>
                  <a:gd name="T46" fmla="*/ 35 w 146"/>
                  <a:gd name="T47" fmla="*/ 15 h 212"/>
                  <a:gd name="T48" fmla="*/ 41 w 146"/>
                  <a:gd name="T49" fmla="*/ 22 h 212"/>
                  <a:gd name="T50" fmla="*/ 54 w 146"/>
                  <a:gd name="T51" fmla="*/ 22 h 212"/>
                  <a:gd name="T52" fmla="*/ 77 w 146"/>
                  <a:gd name="T53" fmla="*/ 40 h 212"/>
                  <a:gd name="T54" fmla="*/ 83 w 146"/>
                  <a:gd name="T55" fmla="*/ 40 h 212"/>
                  <a:gd name="T56" fmla="*/ 88 w 146"/>
                  <a:gd name="T57" fmla="*/ 39 h 212"/>
                  <a:gd name="T58" fmla="*/ 92 w 146"/>
                  <a:gd name="T59" fmla="*/ 42 h 212"/>
                  <a:gd name="T60" fmla="*/ 104 w 146"/>
                  <a:gd name="T61" fmla="*/ 43 h 212"/>
                  <a:gd name="T62" fmla="*/ 109 w 146"/>
                  <a:gd name="T63" fmla="*/ 35 h 212"/>
                  <a:gd name="T64" fmla="*/ 126 w 146"/>
                  <a:gd name="T65" fmla="*/ 26 h 212"/>
                  <a:gd name="T66" fmla="*/ 133 w 146"/>
                  <a:gd name="T67" fmla="*/ 33 h 212"/>
                  <a:gd name="T68" fmla="*/ 146 w 146"/>
                  <a:gd name="T69" fmla="*/ 33 h 212"/>
                  <a:gd name="T70" fmla="*/ 130 w 146"/>
                  <a:gd name="T71" fmla="*/ 56 h 212"/>
                  <a:gd name="T72" fmla="*/ 131 w 146"/>
                  <a:gd name="T73" fmla="*/ 13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6" h="212">
                    <a:moveTo>
                      <a:pt x="131" y="132"/>
                    </a:moveTo>
                    <a:lnTo>
                      <a:pt x="141" y="149"/>
                    </a:lnTo>
                    <a:lnTo>
                      <a:pt x="128" y="158"/>
                    </a:lnTo>
                    <a:lnTo>
                      <a:pt x="124" y="166"/>
                    </a:lnTo>
                    <a:lnTo>
                      <a:pt x="117" y="168"/>
                    </a:lnTo>
                    <a:lnTo>
                      <a:pt x="114" y="183"/>
                    </a:lnTo>
                    <a:lnTo>
                      <a:pt x="108" y="191"/>
                    </a:lnTo>
                    <a:lnTo>
                      <a:pt x="104" y="205"/>
                    </a:lnTo>
                    <a:lnTo>
                      <a:pt x="97" y="212"/>
                    </a:lnTo>
                    <a:lnTo>
                      <a:pt x="71" y="191"/>
                    </a:lnTo>
                    <a:lnTo>
                      <a:pt x="70" y="179"/>
                    </a:lnTo>
                    <a:lnTo>
                      <a:pt x="3" y="136"/>
                    </a:lnTo>
                    <a:lnTo>
                      <a:pt x="0" y="134"/>
                    </a:lnTo>
                    <a:lnTo>
                      <a:pt x="0" y="112"/>
                    </a:lnTo>
                    <a:lnTo>
                      <a:pt x="5" y="104"/>
                    </a:lnTo>
                    <a:lnTo>
                      <a:pt x="14" y="90"/>
                    </a:lnTo>
                    <a:lnTo>
                      <a:pt x="21" y="75"/>
                    </a:lnTo>
                    <a:lnTo>
                      <a:pt x="13" y="51"/>
                    </a:lnTo>
                    <a:lnTo>
                      <a:pt x="11" y="41"/>
                    </a:lnTo>
                    <a:lnTo>
                      <a:pt x="2" y="26"/>
                    </a:lnTo>
                    <a:lnTo>
                      <a:pt x="13" y="14"/>
                    </a:lnTo>
                    <a:lnTo>
                      <a:pt x="25" y="0"/>
                    </a:lnTo>
                    <a:lnTo>
                      <a:pt x="35" y="4"/>
                    </a:lnTo>
                    <a:lnTo>
                      <a:pt x="35" y="15"/>
                    </a:lnTo>
                    <a:lnTo>
                      <a:pt x="41" y="22"/>
                    </a:lnTo>
                    <a:lnTo>
                      <a:pt x="54" y="22"/>
                    </a:lnTo>
                    <a:lnTo>
                      <a:pt x="77" y="40"/>
                    </a:lnTo>
                    <a:lnTo>
                      <a:pt x="83" y="40"/>
                    </a:lnTo>
                    <a:lnTo>
                      <a:pt x="88" y="39"/>
                    </a:lnTo>
                    <a:lnTo>
                      <a:pt x="92" y="42"/>
                    </a:lnTo>
                    <a:lnTo>
                      <a:pt x="104" y="43"/>
                    </a:lnTo>
                    <a:lnTo>
                      <a:pt x="109" y="35"/>
                    </a:lnTo>
                    <a:lnTo>
                      <a:pt x="126" y="26"/>
                    </a:lnTo>
                    <a:lnTo>
                      <a:pt x="133" y="33"/>
                    </a:lnTo>
                    <a:lnTo>
                      <a:pt x="146" y="33"/>
                    </a:lnTo>
                    <a:lnTo>
                      <a:pt x="130" y="56"/>
                    </a:lnTo>
                    <a:lnTo>
                      <a:pt x="131" y="132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3" name="Freeform 103"/>
              <p:cNvSpPr>
                <a:spLocks/>
              </p:cNvSpPr>
              <p:nvPr/>
            </p:nvSpPr>
            <p:spPr bwMode="auto">
              <a:xfrm>
                <a:off x="6049962" y="2484437"/>
                <a:ext cx="263525" cy="130175"/>
              </a:xfrm>
              <a:custGeom>
                <a:avLst/>
                <a:gdLst>
                  <a:gd name="T0" fmla="*/ 11 w 166"/>
                  <a:gd name="T1" fmla="*/ 21 h 82"/>
                  <a:gd name="T2" fmla="*/ 12 w 166"/>
                  <a:gd name="T3" fmla="*/ 12 h 82"/>
                  <a:gd name="T4" fmla="*/ 22 w 166"/>
                  <a:gd name="T5" fmla="*/ 9 h 82"/>
                  <a:gd name="T6" fmla="*/ 52 w 166"/>
                  <a:gd name="T7" fmla="*/ 16 h 82"/>
                  <a:gd name="T8" fmla="*/ 50 w 166"/>
                  <a:gd name="T9" fmla="*/ 4 h 82"/>
                  <a:gd name="T10" fmla="*/ 58 w 166"/>
                  <a:gd name="T11" fmla="*/ 0 h 82"/>
                  <a:gd name="T12" fmla="*/ 85 w 166"/>
                  <a:gd name="T13" fmla="*/ 8 h 82"/>
                  <a:gd name="T14" fmla="*/ 90 w 166"/>
                  <a:gd name="T15" fmla="*/ 6 h 82"/>
                  <a:gd name="T16" fmla="*/ 118 w 166"/>
                  <a:gd name="T17" fmla="*/ 7 h 82"/>
                  <a:gd name="T18" fmla="*/ 144 w 166"/>
                  <a:gd name="T19" fmla="*/ 9 h 82"/>
                  <a:gd name="T20" fmla="*/ 154 w 166"/>
                  <a:gd name="T21" fmla="*/ 16 h 82"/>
                  <a:gd name="T22" fmla="*/ 166 w 166"/>
                  <a:gd name="T23" fmla="*/ 19 h 82"/>
                  <a:gd name="T24" fmla="*/ 165 w 166"/>
                  <a:gd name="T25" fmla="*/ 24 h 82"/>
                  <a:gd name="T26" fmla="*/ 142 w 166"/>
                  <a:gd name="T27" fmla="*/ 35 h 82"/>
                  <a:gd name="T28" fmla="*/ 139 w 166"/>
                  <a:gd name="T29" fmla="*/ 43 h 82"/>
                  <a:gd name="T30" fmla="*/ 118 w 166"/>
                  <a:gd name="T31" fmla="*/ 46 h 82"/>
                  <a:gd name="T32" fmla="*/ 116 w 166"/>
                  <a:gd name="T33" fmla="*/ 58 h 82"/>
                  <a:gd name="T34" fmla="*/ 97 w 166"/>
                  <a:gd name="T35" fmla="*/ 56 h 82"/>
                  <a:gd name="T36" fmla="*/ 87 w 166"/>
                  <a:gd name="T37" fmla="*/ 60 h 82"/>
                  <a:gd name="T38" fmla="*/ 74 w 166"/>
                  <a:gd name="T39" fmla="*/ 70 h 82"/>
                  <a:gd name="T40" fmla="*/ 77 w 166"/>
                  <a:gd name="T41" fmla="*/ 74 h 82"/>
                  <a:gd name="T42" fmla="*/ 74 w 166"/>
                  <a:gd name="T43" fmla="*/ 79 h 82"/>
                  <a:gd name="T44" fmla="*/ 43 w 166"/>
                  <a:gd name="T45" fmla="*/ 82 h 82"/>
                  <a:gd name="T46" fmla="*/ 20 w 166"/>
                  <a:gd name="T47" fmla="*/ 76 h 82"/>
                  <a:gd name="T48" fmla="*/ 2 w 166"/>
                  <a:gd name="T49" fmla="*/ 77 h 82"/>
                  <a:gd name="T50" fmla="*/ 0 w 166"/>
                  <a:gd name="T51" fmla="*/ 65 h 82"/>
                  <a:gd name="T52" fmla="*/ 20 w 166"/>
                  <a:gd name="T53" fmla="*/ 69 h 82"/>
                  <a:gd name="T54" fmla="*/ 24 w 166"/>
                  <a:gd name="T55" fmla="*/ 62 h 82"/>
                  <a:gd name="T56" fmla="*/ 37 w 166"/>
                  <a:gd name="T57" fmla="*/ 64 h 82"/>
                  <a:gd name="T58" fmla="*/ 55 w 166"/>
                  <a:gd name="T59" fmla="*/ 49 h 82"/>
                  <a:gd name="T60" fmla="*/ 31 w 166"/>
                  <a:gd name="T61" fmla="*/ 39 h 82"/>
                  <a:gd name="T62" fmla="*/ 21 w 166"/>
                  <a:gd name="T63" fmla="*/ 44 h 82"/>
                  <a:gd name="T64" fmla="*/ 6 w 166"/>
                  <a:gd name="T65" fmla="*/ 36 h 82"/>
                  <a:gd name="T66" fmla="*/ 16 w 166"/>
                  <a:gd name="T67" fmla="*/ 23 h 82"/>
                  <a:gd name="T68" fmla="*/ 11 w 166"/>
                  <a:gd name="T69" fmla="*/ 2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6" h="82">
                    <a:moveTo>
                      <a:pt x="11" y="21"/>
                    </a:moveTo>
                    <a:lnTo>
                      <a:pt x="12" y="12"/>
                    </a:lnTo>
                    <a:lnTo>
                      <a:pt x="22" y="9"/>
                    </a:lnTo>
                    <a:lnTo>
                      <a:pt x="52" y="16"/>
                    </a:lnTo>
                    <a:lnTo>
                      <a:pt x="50" y="4"/>
                    </a:lnTo>
                    <a:lnTo>
                      <a:pt x="58" y="0"/>
                    </a:lnTo>
                    <a:lnTo>
                      <a:pt x="85" y="8"/>
                    </a:lnTo>
                    <a:lnTo>
                      <a:pt x="90" y="6"/>
                    </a:lnTo>
                    <a:lnTo>
                      <a:pt x="118" y="7"/>
                    </a:lnTo>
                    <a:lnTo>
                      <a:pt x="144" y="9"/>
                    </a:lnTo>
                    <a:lnTo>
                      <a:pt x="154" y="16"/>
                    </a:lnTo>
                    <a:lnTo>
                      <a:pt x="166" y="19"/>
                    </a:lnTo>
                    <a:lnTo>
                      <a:pt x="165" y="24"/>
                    </a:lnTo>
                    <a:lnTo>
                      <a:pt x="142" y="35"/>
                    </a:lnTo>
                    <a:lnTo>
                      <a:pt x="139" y="43"/>
                    </a:lnTo>
                    <a:lnTo>
                      <a:pt x="118" y="46"/>
                    </a:lnTo>
                    <a:lnTo>
                      <a:pt x="116" y="58"/>
                    </a:lnTo>
                    <a:lnTo>
                      <a:pt x="97" y="56"/>
                    </a:lnTo>
                    <a:lnTo>
                      <a:pt x="87" y="60"/>
                    </a:lnTo>
                    <a:lnTo>
                      <a:pt x="74" y="70"/>
                    </a:lnTo>
                    <a:lnTo>
                      <a:pt x="77" y="74"/>
                    </a:lnTo>
                    <a:lnTo>
                      <a:pt x="74" y="79"/>
                    </a:lnTo>
                    <a:lnTo>
                      <a:pt x="43" y="82"/>
                    </a:lnTo>
                    <a:lnTo>
                      <a:pt x="20" y="76"/>
                    </a:lnTo>
                    <a:lnTo>
                      <a:pt x="2" y="77"/>
                    </a:lnTo>
                    <a:lnTo>
                      <a:pt x="0" y="65"/>
                    </a:lnTo>
                    <a:lnTo>
                      <a:pt x="20" y="69"/>
                    </a:lnTo>
                    <a:lnTo>
                      <a:pt x="24" y="62"/>
                    </a:lnTo>
                    <a:lnTo>
                      <a:pt x="37" y="64"/>
                    </a:lnTo>
                    <a:lnTo>
                      <a:pt x="55" y="49"/>
                    </a:lnTo>
                    <a:lnTo>
                      <a:pt x="31" y="39"/>
                    </a:lnTo>
                    <a:lnTo>
                      <a:pt x="21" y="44"/>
                    </a:lnTo>
                    <a:lnTo>
                      <a:pt x="6" y="36"/>
                    </a:lnTo>
                    <a:lnTo>
                      <a:pt x="16" y="23"/>
                    </a:lnTo>
                    <a:lnTo>
                      <a:pt x="11" y="2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4" name="Freeform 104"/>
              <p:cNvSpPr>
                <a:spLocks/>
              </p:cNvSpPr>
              <p:nvPr/>
            </p:nvSpPr>
            <p:spPr bwMode="auto">
              <a:xfrm>
                <a:off x="7143750" y="3429000"/>
                <a:ext cx="153988" cy="134938"/>
              </a:xfrm>
              <a:custGeom>
                <a:avLst/>
                <a:gdLst>
                  <a:gd name="T0" fmla="*/ 27 w 97"/>
                  <a:gd name="T1" fmla="*/ 81 h 85"/>
                  <a:gd name="T2" fmla="*/ 18 w 97"/>
                  <a:gd name="T3" fmla="*/ 71 h 85"/>
                  <a:gd name="T4" fmla="*/ 7 w 97"/>
                  <a:gd name="T5" fmla="*/ 49 h 85"/>
                  <a:gd name="T6" fmla="*/ 0 w 97"/>
                  <a:gd name="T7" fmla="*/ 24 h 85"/>
                  <a:gd name="T8" fmla="*/ 10 w 97"/>
                  <a:gd name="T9" fmla="*/ 7 h 85"/>
                  <a:gd name="T10" fmla="*/ 33 w 97"/>
                  <a:gd name="T11" fmla="*/ 3 h 85"/>
                  <a:gd name="T12" fmla="*/ 51 w 97"/>
                  <a:gd name="T13" fmla="*/ 6 h 85"/>
                  <a:gd name="T14" fmla="*/ 67 w 97"/>
                  <a:gd name="T15" fmla="*/ 14 h 85"/>
                  <a:gd name="T16" fmla="*/ 73 w 97"/>
                  <a:gd name="T17" fmla="*/ 0 h 85"/>
                  <a:gd name="T18" fmla="*/ 90 w 97"/>
                  <a:gd name="T19" fmla="*/ 7 h 85"/>
                  <a:gd name="T20" fmla="*/ 96 w 97"/>
                  <a:gd name="T21" fmla="*/ 21 h 85"/>
                  <a:gd name="T22" fmla="*/ 97 w 97"/>
                  <a:gd name="T23" fmla="*/ 46 h 85"/>
                  <a:gd name="T24" fmla="*/ 68 w 97"/>
                  <a:gd name="T25" fmla="*/ 62 h 85"/>
                  <a:gd name="T26" fmla="*/ 77 w 97"/>
                  <a:gd name="T27" fmla="*/ 75 h 85"/>
                  <a:gd name="T28" fmla="*/ 58 w 97"/>
                  <a:gd name="T29" fmla="*/ 76 h 85"/>
                  <a:gd name="T30" fmla="*/ 42 w 97"/>
                  <a:gd name="T31" fmla="*/ 85 h 85"/>
                  <a:gd name="T32" fmla="*/ 27 w 97"/>
                  <a:gd name="T33" fmla="*/ 8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7" h="85">
                    <a:moveTo>
                      <a:pt x="27" y="81"/>
                    </a:moveTo>
                    <a:lnTo>
                      <a:pt x="18" y="71"/>
                    </a:lnTo>
                    <a:lnTo>
                      <a:pt x="7" y="49"/>
                    </a:lnTo>
                    <a:lnTo>
                      <a:pt x="0" y="24"/>
                    </a:lnTo>
                    <a:lnTo>
                      <a:pt x="10" y="7"/>
                    </a:lnTo>
                    <a:lnTo>
                      <a:pt x="33" y="3"/>
                    </a:lnTo>
                    <a:lnTo>
                      <a:pt x="51" y="6"/>
                    </a:lnTo>
                    <a:lnTo>
                      <a:pt x="67" y="14"/>
                    </a:lnTo>
                    <a:lnTo>
                      <a:pt x="73" y="0"/>
                    </a:lnTo>
                    <a:lnTo>
                      <a:pt x="90" y="7"/>
                    </a:lnTo>
                    <a:lnTo>
                      <a:pt x="96" y="21"/>
                    </a:lnTo>
                    <a:lnTo>
                      <a:pt x="97" y="46"/>
                    </a:lnTo>
                    <a:lnTo>
                      <a:pt x="68" y="62"/>
                    </a:lnTo>
                    <a:lnTo>
                      <a:pt x="77" y="75"/>
                    </a:lnTo>
                    <a:lnTo>
                      <a:pt x="58" y="76"/>
                    </a:lnTo>
                    <a:lnTo>
                      <a:pt x="42" y="85"/>
                    </a:lnTo>
                    <a:lnTo>
                      <a:pt x="27" y="81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5" name="Freeform 105"/>
              <p:cNvSpPr>
                <a:spLocks/>
              </p:cNvSpPr>
              <p:nvPr/>
            </p:nvSpPr>
            <p:spPr bwMode="auto">
              <a:xfrm>
                <a:off x="7607300" y="2636837"/>
                <a:ext cx="122238" cy="138113"/>
              </a:xfrm>
              <a:custGeom>
                <a:avLst/>
                <a:gdLst>
                  <a:gd name="T0" fmla="*/ 29 w 77"/>
                  <a:gd name="T1" fmla="*/ 0 h 87"/>
                  <a:gd name="T2" fmla="*/ 55 w 77"/>
                  <a:gd name="T3" fmla="*/ 24 h 87"/>
                  <a:gd name="T4" fmla="*/ 66 w 77"/>
                  <a:gd name="T5" fmla="*/ 38 h 87"/>
                  <a:gd name="T6" fmla="*/ 77 w 77"/>
                  <a:gd name="T7" fmla="*/ 62 h 87"/>
                  <a:gd name="T8" fmla="*/ 75 w 77"/>
                  <a:gd name="T9" fmla="*/ 73 h 87"/>
                  <a:gd name="T10" fmla="*/ 61 w 77"/>
                  <a:gd name="T11" fmla="*/ 77 h 87"/>
                  <a:gd name="T12" fmla="*/ 51 w 77"/>
                  <a:gd name="T13" fmla="*/ 85 h 87"/>
                  <a:gd name="T14" fmla="*/ 36 w 77"/>
                  <a:gd name="T15" fmla="*/ 87 h 87"/>
                  <a:gd name="T16" fmla="*/ 29 w 77"/>
                  <a:gd name="T17" fmla="*/ 76 h 87"/>
                  <a:gd name="T18" fmla="*/ 26 w 77"/>
                  <a:gd name="T19" fmla="*/ 61 h 87"/>
                  <a:gd name="T20" fmla="*/ 9 w 77"/>
                  <a:gd name="T21" fmla="*/ 39 h 87"/>
                  <a:gd name="T22" fmla="*/ 20 w 77"/>
                  <a:gd name="T23" fmla="*/ 35 h 87"/>
                  <a:gd name="T24" fmla="*/ 0 w 77"/>
                  <a:gd name="T25" fmla="*/ 18 h 87"/>
                  <a:gd name="T26" fmla="*/ 1 w 77"/>
                  <a:gd name="T27" fmla="*/ 16 h 87"/>
                  <a:gd name="T28" fmla="*/ 8 w 77"/>
                  <a:gd name="T29" fmla="*/ 17 h 87"/>
                  <a:gd name="T30" fmla="*/ 11 w 77"/>
                  <a:gd name="T31" fmla="*/ 7 h 87"/>
                  <a:gd name="T32" fmla="*/ 22 w 77"/>
                  <a:gd name="T33" fmla="*/ 6 h 87"/>
                  <a:gd name="T34" fmla="*/ 29 w 77"/>
                  <a:gd name="T35" fmla="*/ 5 h 87"/>
                  <a:gd name="T36" fmla="*/ 29 w 77"/>
                  <a:gd name="T37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7" h="87">
                    <a:moveTo>
                      <a:pt x="29" y="0"/>
                    </a:moveTo>
                    <a:lnTo>
                      <a:pt x="55" y="24"/>
                    </a:lnTo>
                    <a:lnTo>
                      <a:pt x="66" y="38"/>
                    </a:lnTo>
                    <a:lnTo>
                      <a:pt x="77" y="62"/>
                    </a:lnTo>
                    <a:lnTo>
                      <a:pt x="75" y="73"/>
                    </a:lnTo>
                    <a:lnTo>
                      <a:pt x="61" y="77"/>
                    </a:lnTo>
                    <a:lnTo>
                      <a:pt x="51" y="85"/>
                    </a:lnTo>
                    <a:lnTo>
                      <a:pt x="36" y="87"/>
                    </a:lnTo>
                    <a:lnTo>
                      <a:pt x="29" y="76"/>
                    </a:lnTo>
                    <a:lnTo>
                      <a:pt x="26" y="61"/>
                    </a:lnTo>
                    <a:lnTo>
                      <a:pt x="9" y="39"/>
                    </a:lnTo>
                    <a:lnTo>
                      <a:pt x="20" y="35"/>
                    </a:lnTo>
                    <a:lnTo>
                      <a:pt x="0" y="18"/>
                    </a:lnTo>
                    <a:lnTo>
                      <a:pt x="1" y="16"/>
                    </a:lnTo>
                    <a:lnTo>
                      <a:pt x="8" y="17"/>
                    </a:lnTo>
                    <a:lnTo>
                      <a:pt x="11" y="7"/>
                    </a:lnTo>
                    <a:lnTo>
                      <a:pt x="22" y="6"/>
                    </a:lnTo>
                    <a:lnTo>
                      <a:pt x="29" y="5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6" name="Freeform 106"/>
              <p:cNvSpPr>
                <a:spLocks/>
              </p:cNvSpPr>
              <p:nvPr/>
            </p:nvSpPr>
            <p:spPr bwMode="auto">
              <a:xfrm>
                <a:off x="4714875" y="2484437"/>
                <a:ext cx="44450" cy="46038"/>
              </a:xfrm>
              <a:custGeom>
                <a:avLst/>
                <a:gdLst>
                  <a:gd name="T0" fmla="*/ 12 w 28"/>
                  <a:gd name="T1" fmla="*/ 25 h 29"/>
                  <a:gd name="T2" fmla="*/ 12 w 28"/>
                  <a:gd name="T3" fmla="*/ 29 h 29"/>
                  <a:gd name="T4" fmla="*/ 10 w 28"/>
                  <a:gd name="T5" fmla="*/ 29 h 29"/>
                  <a:gd name="T6" fmla="*/ 8 w 28"/>
                  <a:gd name="T7" fmla="*/ 22 h 29"/>
                  <a:gd name="T8" fmla="*/ 4 w 28"/>
                  <a:gd name="T9" fmla="*/ 20 h 29"/>
                  <a:gd name="T10" fmla="*/ 0 w 28"/>
                  <a:gd name="T11" fmla="*/ 14 h 29"/>
                  <a:gd name="T12" fmla="*/ 2 w 28"/>
                  <a:gd name="T13" fmla="*/ 9 h 29"/>
                  <a:gd name="T14" fmla="*/ 6 w 28"/>
                  <a:gd name="T15" fmla="*/ 8 h 29"/>
                  <a:gd name="T16" fmla="*/ 8 w 28"/>
                  <a:gd name="T17" fmla="*/ 1 h 29"/>
                  <a:gd name="T18" fmla="*/ 11 w 28"/>
                  <a:gd name="T19" fmla="*/ 0 h 29"/>
                  <a:gd name="T20" fmla="*/ 13 w 28"/>
                  <a:gd name="T21" fmla="*/ 3 h 29"/>
                  <a:gd name="T22" fmla="*/ 17 w 28"/>
                  <a:gd name="T23" fmla="*/ 4 h 29"/>
                  <a:gd name="T24" fmla="*/ 19 w 28"/>
                  <a:gd name="T25" fmla="*/ 7 h 29"/>
                  <a:gd name="T26" fmla="*/ 22 w 28"/>
                  <a:gd name="T27" fmla="*/ 8 h 29"/>
                  <a:gd name="T28" fmla="*/ 26 w 28"/>
                  <a:gd name="T29" fmla="*/ 12 h 29"/>
                  <a:gd name="T30" fmla="*/ 28 w 28"/>
                  <a:gd name="T31" fmla="*/ 12 h 29"/>
                  <a:gd name="T32" fmla="*/ 27 w 28"/>
                  <a:gd name="T33" fmla="*/ 17 h 29"/>
                  <a:gd name="T34" fmla="*/ 25 w 28"/>
                  <a:gd name="T35" fmla="*/ 20 h 29"/>
                  <a:gd name="T36" fmla="*/ 25 w 28"/>
                  <a:gd name="T37" fmla="*/ 21 h 29"/>
                  <a:gd name="T38" fmla="*/ 22 w 28"/>
                  <a:gd name="T39" fmla="*/ 22 h 29"/>
                  <a:gd name="T40" fmla="*/ 12 w 28"/>
                  <a:gd name="T41" fmla="*/ 25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8" h="29">
                    <a:moveTo>
                      <a:pt x="12" y="25"/>
                    </a:moveTo>
                    <a:lnTo>
                      <a:pt x="12" y="29"/>
                    </a:lnTo>
                    <a:lnTo>
                      <a:pt x="10" y="29"/>
                    </a:lnTo>
                    <a:lnTo>
                      <a:pt x="8" y="22"/>
                    </a:lnTo>
                    <a:lnTo>
                      <a:pt x="4" y="20"/>
                    </a:lnTo>
                    <a:lnTo>
                      <a:pt x="0" y="14"/>
                    </a:lnTo>
                    <a:lnTo>
                      <a:pt x="2" y="9"/>
                    </a:lnTo>
                    <a:lnTo>
                      <a:pt x="6" y="8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3" y="3"/>
                    </a:lnTo>
                    <a:lnTo>
                      <a:pt x="17" y="4"/>
                    </a:lnTo>
                    <a:lnTo>
                      <a:pt x="19" y="7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8" y="12"/>
                    </a:lnTo>
                    <a:lnTo>
                      <a:pt x="27" y="17"/>
                    </a:lnTo>
                    <a:lnTo>
                      <a:pt x="25" y="20"/>
                    </a:lnTo>
                    <a:lnTo>
                      <a:pt x="25" y="21"/>
                    </a:lnTo>
                    <a:lnTo>
                      <a:pt x="22" y="22"/>
                    </a:lnTo>
                    <a:lnTo>
                      <a:pt x="12" y="2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7" name="Freeform 107"/>
              <p:cNvSpPr>
                <a:spLocks/>
              </p:cNvSpPr>
              <p:nvPr/>
            </p:nvSpPr>
            <p:spPr bwMode="auto">
              <a:xfrm>
                <a:off x="5487987" y="2917825"/>
                <a:ext cx="53975" cy="50800"/>
              </a:xfrm>
              <a:custGeom>
                <a:avLst/>
                <a:gdLst>
                  <a:gd name="T0" fmla="*/ 22 w 34"/>
                  <a:gd name="T1" fmla="*/ 2 h 32"/>
                  <a:gd name="T2" fmla="*/ 27 w 34"/>
                  <a:gd name="T3" fmla="*/ 11 h 32"/>
                  <a:gd name="T4" fmla="*/ 26 w 34"/>
                  <a:gd name="T5" fmla="*/ 16 h 32"/>
                  <a:gd name="T6" fmla="*/ 34 w 34"/>
                  <a:gd name="T7" fmla="*/ 31 h 32"/>
                  <a:gd name="T8" fmla="*/ 21 w 34"/>
                  <a:gd name="T9" fmla="*/ 32 h 32"/>
                  <a:gd name="T10" fmla="*/ 16 w 34"/>
                  <a:gd name="T11" fmla="*/ 22 h 32"/>
                  <a:gd name="T12" fmla="*/ 0 w 34"/>
                  <a:gd name="T13" fmla="*/ 20 h 32"/>
                  <a:gd name="T14" fmla="*/ 10 w 34"/>
                  <a:gd name="T15" fmla="*/ 0 h 32"/>
                  <a:gd name="T16" fmla="*/ 22 w 34"/>
                  <a:gd name="T17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32">
                    <a:moveTo>
                      <a:pt x="22" y="2"/>
                    </a:moveTo>
                    <a:lnTo>
                      <a:pt x="27" y="11"/>
                    </a:lnTo>
                    <a:lnTo>
                      <a:pt x="26" y="16"/>
                    </a:lnTo>
                    <a:lnTo>
                      <a:pt x="34" y="31"/>
                    </a:lnTo>
                    <a:lnTo>
                      <a:pt x="21" y="32"/>
                    </a:lnTo>
                    <a:lnTo>
                      <a:pt x="16" y="22"/>
                    </a:lnTo>
                    <a:lnTo>
                      <a:pt x="0" y="20"/>
                    </a:lnTo>
                    <a:lnTo>
                      <a:pt x="10" y="0"/>
                    </a:lnTo>
                    <a:lnTo>
                      <a:pt x="22" y="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8" name="Freeform 108"/>
              <p:cNvSpPr>
                <a:spLocks/>
              </p:cNvSpPr>
              <p:nvPr/>
            </p:nvSpPr>
            <p:spPr bwMode="auto">
              <a:xfrm>
                <a:off x="7048500" y="3168650"/>
                <a:ext cx="239713" cy="282575"/>
              </a:xfrm>
              <a:custGeom>
                <a:avLst/>
                <a:gdLst>
                  <a:gd name="T0" fmla="*/ 111 w 151"/>
                  <a:gd name="T1" fmla="*/ 170 h 178"/>
                  <a:gd name="T2" fmla="*/ 116 w 151"/>
                  <a:gd name="T3" fmla="*/ 161 h 178"/>
                  <a:gd name="T4" fmla="*/ 114 w 151"/>
                  <a:gd name="T5" fmla="*/ 143 h 178"/>
                  <a:gd name="T6" fmla="*/ 97 w 151"/>
                  <a:gd name="T7" fmla="*/ 125 h 178"/>
                  <a:gd name="T8" fmla="*/ 93 w 151"/>
                  <a:gd name="T9" fmla="*/ 104 h 178"/>
                  <a:gd name="T10" fmla="*/ 77 w 151"/>
                  <a:gd name="T11" fmla="*/ 87 h 178"/>
                  <a:gd name="T12" fmla="*/ 63 w 151"/>
                  <a:gd name="T13" fmla="*/ 86 h 178"/>
                  <a:gd name="T14" fmla="*/ 60 w 151"/>
                  <a:gd name="T15" fmla="*/ 93 h 178"/>
                  <a:gd name="T16" fmla="*/ 50 w 151"/>
                  <a:gd name="T17" fmla="*/ 94 h 178"/>
                  <a:gd name="T18" fmla="*/ 44 w 151"/>
                  <a:gd name="T19" fmla="*/ 90 h 178"/>
                  <a:gd name="T20" fmla="*/ 26 w 151"/>
                  <a:gd name="T21" fmla="*/ 103 h 178"/>
                  <a:gd name="T22" fmla="*/ 23 w 151"/>
                  <a:gd name="T23" fmla="*/ 84 h 178"/>
                  <a:gd name="T24" fmla="*/ 24 w 151"/>
                  <a:gd name="T25" fmla="*/ 62 h 178"/>
                  <a:gd name="T26" fmla="*/ 12 w 151"/>
                  <a:gd name="T27" fmla="*/ 61 h 178"/>
                  <a:gd name="T28" fmla="*/ 9 w 151"/>
                  <a:gd name="T29" fmla="*/ 49 h 178"/>
                  <a:gd name="T30" fmla="*/ 0 w 151"/>
                  <a:gd name="T31" fmla="*/ 42 h 178"/>
                  <a:gd name="T32" fmla="*/ 3 w 151"/>
                  <a:gd name="T33" fmla="*/ 34 h 178"/>
                  <a:gd name="T34" fmla="*/ 16 w 151"/>
                  <a:gd name="T35" fmla="*/ 21 h 178"/>
                  <a:gd name="T36" fmla="*/ 18 w 151"/>
                  <a:gd name="T37" fmla="*/ 26 h 178"/>
                  <a:gd name="T38" fmla="*/ 28 w 151"/>
                  <a:gd name="T39" fmla="*/ 26 h 178"/>
                  <a:gd name="T40" fmla="*/ 21 w 151"/>
                  <a:gd name="T41" fmla="*/ 3 h 178"/>
                  <a:gd name="T42" fmla="*/ 30 w 151"/>
                  <a:gd name="T43" fmla="*/ 0 h 178"/>
                  <a:gd name="T44" fmla="*/ 43 w 151"/>
                  <a:gd name="T45" fmla="*/ 16 h 178"/>
                  <a:gd name="T46" fmla="*/ 55 w 151"/>
                  <a:gd name="T47" fmla="*/ 35 h 178"/>
                  <a:gd name="T48" fmla="*/ 77 w 151"/>
                  <a:gd name="T49" fmla="*/ 35 h 178"/>
                  <a:gd name="T50" fmla="*/ 87 w 151"/>
                  <a:gd name="T51" fmla="*/ 53 h 178"/>
                  <a:gd name="T52" fmla="*/ 76 w 151"/>
                  <a:gd name="T53" fmla="*/ 59 h 178"/>
                  <a:gd name="T54" fmla="*/ 72 w 151"/>
                  <a:gd name="T55" fmla="*/ 66 h 178"/>
                  <a:gd name="T56" fmla="*/ 96 w 151"/>
                  <a:gd name="T57" fmla="*/ 79 h 178"/>
                  <a:gd name="T58" fmla="*/ 115 w 151"/>
                  <a:gd name="T59" fmla="*/ 103 h 178"/>
                  <a:gd name="T60" fmla="*/ 129 w 151"/>
                  <a:gd name="T61" fmla="*/ 122 h 178"/>
                  <a:gd name="T62" fmla="*/ 145 w 151"/>
                  <a:gd name="T63" fmla="*/ 136 h 178"/>
                  <a:gd name="T64" fmla="*/ 151 w 151"/>
                  <a:gd name="T65" fmla="*/ 151 h 178"/>
                  <a:gd name="T66" fmla="*/ 150 w 151"/>
                  <a:gd name="T67" fmla="*/ 171 h 178"/>
                  <a:gd name="T68" fmla="*/ 133 w 151"/>
                  <a:gd name="T69" fmla="*/ 164 h 178"/>
                  <a:gd name="T70" fmla="*/ 127 w 151"/>
                  <a:gd name="T71" fmla="*/ 178 h 178"/>
                  <a:gd name="T72" fmla="*/ 111 w 151"/>
                  <a:gd name="T73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1" h="178">
                    <a:moveTo>
                      <a:pt x="111" y="170"/>
                    </a:moveTo>
                    <a:lnTo>
                      <a:pt x="116" y="161"/>
                    </a:lnTo>
                    <a:lnTo>
                      <a:pt x="114" y="143"/>
                    </a:lnTo>
                    <a:lnTo>
                      <a:pt x="97" y="125"/>
                    </a:lnTo>
                    <a:lnTo>
                      <a:pt x="93" y="104"/>
                    </a:lnTo>
                    <a:lnTo>
                      <a:pt x="77" y="87"/>
                    </a:lnTo>
                    <a:lnTo>
                      <a:pt x="63" y="86"/>
                    </a:lnTo>
                    <a:lnTo>
                      <a:pt x="60" y="93"/>
                    </a:lnTo>
                    <a:lnTo>
                      <a:pt x="50" y="94"/>
                    </a:lnTo>
                    <a:lnTo>
                      <a:pt x="44" y="90"/>
                    </a:lnTo>
                    <a:lnTo>
                      <a:pt x="26" y="103"/>
                    </a:lnTo>
                    <a:lnTo>
                      <a:pt x="23" y="84"/>
                    </a:lnTo>
                    <a:lnTo>
                      <a:pt x="24" y="62"/>
                    </a:lnTo>
                    <a:lnTo>
                      <a:pt x="12" y="61"/>
                    </a:lnTo>
                    <a:lnTo>
                      <a:pt x="9" y="49"/>
                    </a:lnTo>
                    <a:lnTo>
                      <a:pt x="0" y="42"/>
                    </a:lnTo>
                    <a:lnTo>
                      <a:pt x="3" y="34"/>
                    </a:lnTo>
                    <a:lnTo>
                      <a:pt x="16" y="21"/>
                    </a:lnTo>
                    <a:lnTo>
                      <a:pt x="18" y="26"/>
                    </a:lnTo>
                    <a:lnTo>
                      <a:pt x="28" y="26"/>
                    </a:lnTo>
                    <a:lnTo>
                      <a:pt x="21" y="3"/>
                    </a:lnTo>
                    <a:lnTo>
                      <a:pt x="30" y="0"/>
                    </a:lnTo>
                    <a:lnTo>
                      <a:pt x="43" y="16"/>
                    </a:lnTo>
                    <a:lnTo>
                      <a:pt x="55" y="35"/>
                    </a:lnTo>
                    <a:lnTo>
                      <a:pt x="77" y="35"/>
                    </a:lnTo>
                    <a:lnTo>
                      <a:pt x="87" y="53"/>
                    </a:lnTo>
                    <a:lnTo>
                      <a:pt x="76" y="59"/>
                    </a:lnTo>
                    <a:lnTo>
                      <a:pt x="72" y="66"/>
                    </a:lnTo>
                    <a:lnTo>
                      <a:pt x="96" y="79"/>
                    </a:lnTo>
                    <a:lnTo>
                      <a:pt x="115" y="103"/>
                    </a:lnTo>
                    <a:lnTo>
                      <a:pt x="129" y="122"/>
                    </a:lnTo>
                    <a:lnTo>
                      <a:pt x="145" y="136"/>
                    </a:lnTo>
                    <a:lnTo>
                      <a:pt x="151" y="151"/>
                    </a:lnTo>
                    <a:lnTo>
                      <a:pt x="150" y="171"/>
                    </a:lnTo>
                    <a:lnTo>
                      <a:pt x="133" y="164"/>
                    </a:lnTo>
                    <a:lnTo>
                      <a:pt x="127" y="178"/>
                    </a:lnTo>
                    <a:lnTo>
                      <a:pt x="111" y="17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19" name="Freeform 109"/>
              <p:cNvSpPr>
                <a:spLocks/>
              </p:cNvSpPr>
              <p:nvPr/>
            </p:nvSpPr>
            <p:spPr bwMode="auto">
              <a:xfrm>
                <a:off x="5153025" y="2767012"/>
                <a:ext cx="38100" cy="50800"/>
              </a:xfrm>
              <a:custGeom>
                <a:avLst/>
                <a:gdLst>
                  <a:gd name="T0" fmla="*/ 12 w 24"/>
                  <a:gd name="T1" fmla="*/ 28 h 32"/>
                  <a:gd name="T2" fmla="*/ 7 w 24"/>
                  <a:gd name="T3" fmla="*/ 29 h 32"/>
                  <a:gd name="T4" fmla="*/ 6 w 24"/>
                  <a:gd name="T5" fmla="*/ 32 h 32"/>
                  <a:gd name="T6" fmla="*/ 0 w 24"/>
                  <a:gd name="T7" fmla="*/ 32 h 32"/>
                  <a:gd name="T8" fmla="*/ 5 w 24"/>
                  <a:gd name="T9" fmla="*/ 15 h 32"/>
                  <a:gd name="T10" fmla="*/ 12 w 24"/>
                  <a:gd name="T11" fmla="*/ 1 h 32"/>
                  <a:gd name="T12" fmla="*/ 12 w 24"/>
                  <a:gd name="T13" fmla="*/ 0 h 32"/>
                  <a:gd name="T14" fmla="*/ 20 w 24"/>
                  <a:gd name="T15" fmla="*/ 1 h 32"/>
                  <a:gd name="T16" fmla="*/ 24 w 24"/>
                  <a:gd name="T17" fmla="*/ 9 h 32"/>
                  <a:gd name="T18" fmla="*/ 15 w 24"/>
                  <a:gd name="T19" fmla="*/ 17 h 32"/>
                  <a:gd name="T20" fmla="*/ 12 w 24"/>
                  <a:gd name="T21" fmla="*/ 2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2">
                    <a:moveTo>
                      <a:pt x="12" y="28"/>
                    </a:moveTo>
                    <a:lnTo>
                      <a:pt x="7" y="29"/>
                    </a:lnTo>
                    <a:lnTo>
                      <a:pt x="6" y="32"/>
                    </a:lnTo>
                    <a:lnTo>
                      <a:pt x="0" y="32"/>
                    </a:lnTo>
                    <a:lnTo>
                      <a:pt x="5" y="15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20" y="1"/>
                    </a:lnTo>
                    <a:lnTo>
                      <a:pt x="24" y="9"/>
                    </a:lnTo>
                    <a:lnTo>
                      <a:pt x="15" y="17"/>
                    </a:lnTo>
                    <a:lnTo>
                      <a:pt x="12" y="28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0" name="Freeform 110"/>
              <p:cNvSpPr>
                <a:spLocks/>
              </p:cNvSpPr>
              <p:nvPr/>
            </p:nvSpPr>
            <p:spPr bwMode="auto">
              <a:xfrm>
                <a:off x="3849687" y="3627438"/>
                <a:ext cx="112713" cy="138113"/>
              </a:xfrm>
              <a:custGeom>
                <a:avLst/>
                <a:gdLst>
                  <a:gd name="T0" fmla="*/ 68 w 71"/>
                  <a:gd name="T1" fmla="*/ 87 h 87"/>
                  <a:gd name="T2" fmla="*/ 63 w 71"/>
                  <a:gd name="T3" fmla="*/ 87 h 87"/>
                  <a:gd name="T4" fmla="*/ 44 w 71"/>
                  <a:gd name="T5" fmla="*/ 77 h 87"/>
                  <a:gd name="T6" fmla="*/ 27 w 71"/>
                  <a:gd name="T7" fmla="*/ 61 h 87"/>
                  <a:gd name="T8" fmla="*/ 12 w 71"/>
                  <a:gd name="T9" fmla="*/ 50 h 87"/>
                  <a:gd name="T10" fmla="*/ 0 w 71"/>
                  <a:gd name="T11" fmla="*/ 37 h 87"/>
                  <a:gd name="T12" fmla="*/ 4 w 71"/>
                  <a:gd name="T13" fmla="*/ 30 h 87"/>
                  <a:gd name="T14" fmla="*/ 5 w 71"/>
                  <a:gd name="T15" fmla="*/ 24 h 87"/>
                  <a:gd name="T16" fmla="*/ 13 w 71"/>
                  <a:gd name="T17" fmla="*/ 12 h 87"/>
                  <a:gd name="T18" fmla="*/ 22 w 71"/>
                  <a:gd name="T19" fmla="*/ 3 h 87"/>
                  <a:gd name="T20" fmla="*/ 26 w 71"/>
                  <a:gd name="T21" fmla="*/ 2 h 87"/>
                  <a:gd name="T22" fmla="*/ 31 w 71"/>
                  <a:gd name="T23" fmla="*/ 0 h 87"/>
                  <a:gd name="T24" fmla="*/ 38 w 71"/>
                  <a:gd name="T25" fmla="*/ 13 h 87"/>
                  <a:gd name="T26" fmla="*/ 37 w 71"/>
                  <a:gd name="T27" fmla="*/ 21 h 87"/>
                  <a:gd name="T28" fmla="*/ 41 w 71"/>
                  <a:gd name="T29" fmla="*/ 26 h 87"/>
                  <a:gd name="T30" fmla="*/ 46 w 71"/>
                  <a:gd name="T31" fmla="*/ 26 h 87"/>
                  <a:gd name="T32" fmla="*/ 49 w 71"/>
                  <a:gd name="T33" fmla="*/ 17 h 87"/>
                  <a:gd name="T34" fmla="*/ 55 w 71"/>
                  <a:gd name="T35" fmla="*/ 18 h 87"/>
                  <a:gd name="T36" fmla="*/ 54 w 71"/>
                  <a:gd name="T37" fmla="*/ 24 h 87"/>
                  <a:gd name="T38" fmla="*/ 55 w 71"/>
                  <a:gd name="T39" fmla="*/ 34 h 87"/>
                  <a:gd name="T40" fmla="*/ 52 w 71"/>
                  <a:gd name="T41" fmla="*/ 43 h 87"/>
                  <a:gd name="T42" fmla="*/ 57 w 71"/>
                  <a:gd name="T43" fmla="*/ 49 h 87"/>
                  <a:gd name="T44" fmla="*/ 63 w 71"/>
                  <a:gd name="T45" fmla="*/ 50 h 87"/>
                  <a:gd name="T46" fmla="*/ 70 w 71"/>
                  <a:gd name="T47" fmla="*/ 59 h 87"/>
                  <a:gd name="T48" fmla="*/ 71 w 71"/>
                  <a:gd name="T49" fmla="*/ 67 h 87"/>
                  <a:gd name="T50" fmla="*/ 69 w 71"/>
                  <a:gd name="T51" fmla="*/ 70 h 87"/>
                  <a:gd name="T52" fmla="*/ 68 w 71"/>
                  <a:gd name="T53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1" h="87">
                    <a:moveTo>
                      <a:pt x="68" y="87"/>
                    </a:moveTo>
                    <a:lnTo>
                      <a:pt x="63" y="87"/>
                    </a:lnTo>
                    <a:lnTo>
                      <a:pt x="44" y="77"/>
                    </a:lnTo>
                    <a:lnTo>
                      <a:pt x="27" y="61"/>
                    </a:lnTo>
                    <a:lnTo>
                      <a:pt x="12" y="50"/>
                    </a:lnTo>
                    <a:lnTo>
                      <a:pt x="0" y="37"/>
                    </a:lnTo>
                    <a:lnTo>
                      <a:pt x="4" y="30"/>
                    </a:lnTo>
                    <a:lnTo>
                      <a:pt x="5" y="24"/>
                    </a:lnTo>
                    <a:lnTo>
                      <a:pt x="13" y="12"/>
                    </a:lnTo>
                    <a:lnTo>
                      <a:pt x="22" y="3"/>
                    </a:lnTo>
                    <a:lnTo>
                      <a:pt x="26" y="2"/>
                    </a:lnTo>
                    <a:lnTo>
                      <a:pt x="31" y="0"/>
                    </a:lnTo>
                    <a:lnTo>
                      <a:pt x="38" y="13"/>
                    </a:lnTo>
                    <a:lnTo>
                      <a:pt x="37" y="21"/>
                    </a:lnTo>
                    <a:lnTo>
                      <a:pt x="41" y="26"/>
                    </a:lnTo>
                    <a:lnTo>
                      <a:pt x="46" y="26"/>
                    </a:lnTo>
                    <a:lnTo>
                      <a:pt x="49" y="17"/>
                    </a:lnTo>
                    <a:lnTo>
                      <a:pt x="55" y="18"/>
                    </a:lnTo>
                    <a:lnTo>
                      <a:pt x="54" y="24"/>
                    </a:lnTo>
                    <a:lnTo>
                      <a:pt x="55" y="34"/>
                    </a:lnTo>
                    <a:lnTo>
                      <a:pt x="52" y="43"/>
                    </a:lnTo>
                    <a:lnTo>
                      <a:pt x="57" y="49"/>
                    </a:lnTo>
                    <a:lnTo>
                      <a:pt x="63" y="50"/>
                    </a:lnTo>
                    <a:lnTo>
                      <a:pt x="70" y="59"/>
                    </a:lnTo>
                    <a:lnTo>
                      <a:pt x="71" y="67"/>
                    </a:lnTo>
                    <a:lnTo>
                      <a:pt x="69" y="70"/>
                    </a:lnTo>
                    <a:lnTo>
                      <a:pt x="68" y="87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1" name="Freeform 111"/>
              <p:cNvSpPr>
                <a:spLocks/>
              </p:cNvSpPr>
              <p:nvPr/>
            </p:nvSpPr>
            <p:spPr bwMode="auto">
              <a:xfrm>
                <a:off x="4445000" y="2816225"/>
                <a:ext cx="454025" cy="447675"/>
              </a:xfrm>
              <a:custGeom>
                <a:avLst/>
                <a:gdLst>
                  <a:gd name="T0" fmla="*/ 101 w 286"/>
                  <a:gd name="T1" fmla="*/ 213 h 282"/>
                  <a:gd name="T2" fmla="*/ 88 w 286"/>
                  <a:gd name="T3" fmla="*/ 221 h 282"/>
                  <a:gd name="T4" fmla="*/ 78 w 286"/>
                  <a:gd name="T5" fmla="*/ 210 h 282"/>
                  <a:gd name="T6" fmla="*/ 49 w 286"/>
                  <a:gd name="T7" fmla="*/ 201 h 282"/>
                  <a:gd name="T8" fmla="*/ 41 w 286"/>
                  <a:gd name="T9" fmla="*/ 188 h 282"/>
                  <a:gd name="T10" fmla="*/ 27 w 286"/>
                  <a:gd name="T11" fmla="*/ 178 h 282"/>
                  <a:gd name="T12" fmla="*/ 19 w 286"/>
                  <a:gd name="T13" fmla="*/ 182 h 282"/>
                  <a:gd name="T14" fmla="*/ 12 w 286"/>
                  <a:gd name="T15" fmla="*/ 170 h 282"/>
                  <a:gd name="T16" fmla="*/ 11 w 286"/>
                  <a:gd name="T17" fmla="*/ 162 h 282"/>
                  <a:gd name="T18" fmla="*/ 0 w 286"/>
                  <a:gd name="T19" fmla="*/ 146 h 282"/>
                  <a:gd name="T20" fmla="*/ 7 w 286"/>
                  <a:gd name="T21" fmla="*/ 138 h 282"/>
                  <a:gd name="T22" fmla="*/ 5 w 286"/>
                  <a:gd name="T23" fmla="*/ 125 h 282"/>
                  <a:gd name="T24" fmla="*/ 7 w 286"/>
                  <a:gd name="T25" fmla="*/ 113 h 282"/>
                  <a:gd name="T26" fmla="*/ 6 w 286"/>
                  <a:gd name="T27" fmla="*/ 104 h 282"/>
                  <a:gd name="T28" fmla="*/ 9 w 286"/>
                  <a:gd name="T29" fmla="*/ 87 h 282"/>
                  <a:gd name="T30" fmla="*/ 7 w 286"/>
                  <a:gd name="T31" fmla="*/ 77 h 282"/>
                  <a:gd name="T32" fmla="*/ 1 w 286"/>
                  <a:gd name="T33" fmla="*/ 59 h 282"/>
                  <a:gd name="T34" fmla="*/ 10 w 286"/>
                  <a:gd name="T35" fmla="*/ 54 h 282"/>
                  <a:gd name="T36" fmla="*/ 11 w 286"/>
                  <a:gd name="T37" fmla="*/ 45 h 282"/>
                  <a:gd name="T38" fmla="*/ 9 w 286"/>
                  <a:gd name="T39" fmla="*/ 37 h 282"/>
                  <a:gd name="T40" fmla="*/ 21 w 286"/>
                  <a:gd name="T41" fmla="*/ 29 h 282"/>
                  <a:gd name="T42" fmla="*/ 26 w 286"/>
                  <a:gd name="T43" fmla="*/ 22 h 282"/>
                  <a:gd name="T44" fmla="*/ 34 w 286"/>
                  <a:gd name="T45" fmla="*/ 16 h 282"/>
                  <a:gd name="T46" fmla="*/ 35 w 286"/>
                  <a:gd name="T47" fmla="*/ 0 h 282"/>
                  <a:gd name="T48" fmla="*/ 55 w 286"/>
                  <a:gd name="T49" fmla="*/ 7 h 282"/>
                  <a:gd name="T50" fmla="*/ 63 w 286"/>
                  <a:gd name="T51" fmla="*/ 6 h 282"/>
                  <a:gd name="T52" fmla="*/ 77 w 286"/>
                  <a:gd name="T53" fmla="*/ 9 h 282"/>
                  <a:gd name="T54" fmla="*/ 101 w 286"/>
                  <a:gd name="T55" fmla="*/ 18 h 282"/>
                  <a:gd name="T56" fmla="*/ 110 w 286"/>
                  <a:gd name="T57" fmla="*/ 37 h 282"/>
                  <a:gd name="T58" fmla="*/ 126 w 286"/>
                  <a:gd name="T59" fmla="*/ 41 h 282"/>
                  <a:gd name="T60" fmla="*/ 151 w 286"/>
                  <a:gd name="T61" fmla="*/ 50 h 282"/>
                  <a:gd name="T62" fmla="*/ 170 w 286"/>
                  <a:gd name="T63" fmla="*/ 60 h 282"/>
                  <a:gd name="T64" fmla="*/ 178 w 286"/>
                  <a:gd name="T65" fmla="*/ 54 h 282"/>
                  <a:gd name="T66" fmla="*/ 186 w 286"/>
                  <a:gd name="T67" fmla="*/ 45 h 282"/>
                  <a:gd name="T68" fmla="*/ 181 w 286"/>
                  <a:gd name="T69" fmla="*/ 29 h 282"/>
                  <a:gd name="T70" fmla="*/ 186 w 286"/>
                  <a:gd name="T71" fmla="*/ 19 h 282"/>
                  <a:gd name="T72" fmla="*/ 198 w 286"/>
                  <a:gd name="T73" fmla="*/ 9 h 282"/>
                  <a:gd name="T74" fmla="*/ 210 w 286"/>
                  <a:gd name="T75" fmla="*/ 6 h 282"/>
                  <a:gd name="T76" fmla="*/ 234 w 286"/>
                  <a:gd name="T77" fmla="*/ 11 h 282"/>
                  <a:gd name="T78" fmla="*/ 241 w 286"/>
                  <a:gd name="T79" fmla="*/ 20 h 282"/>
                  <a:gd name="T80" fmla="*/ 247 w 286"/>
                  <a:gd name="T81" fmla="*/ 20 h 282"/>
                  <a:gd name="T82" fmla="*/ 253 w 286"/>
                  <a:gd name="T83" fmla="*/ 23 h 282"/>
                  <a:gd name="T84" fmla="*/ 270 w 286"/>
                  <a:gd name="T85" fmla="*/ 26 h 282"/>
                  <a:gd name="T86" fmla="*/ 275 w 286"/>
                  <a:gd name="T87" fmla="*/ 33 h 282"/>
                  <a:gd name="T88" fmla="*/ 270 w 286"/>
                  <a:gd name="T89" fmla="*/ 43 h 282"/>
                  <a:gd name="T90" fmla="*/ 273 w 286"/>
                  <a:gd name="T91" fmla="*/ 51 h 282"/>
                  <a:gd name="T92" fmla="*/ 269 w 286"/>
                  <a:gd name="T93" fmla="*/ 64 h 282"/>
                  <a:gd name="T94" fmla="*/ 275 w 286"/>
                  <a:gd name="T95" fmla="*/ 81 h 282"/>
                  <a:gd name="T96" fmla="*/ 280 w 286"/>
                  <a:gd name="T97" fmla="*/ 155 h 282"/>
                  <a:gd name="T98" fmla="*/ 284 w 286"/>
                  <a:gd name="T99" fmla="*/ 231 h 282"/>
                  <a:gd name="T100" fmla="*/ 286 w 286"/>
                  <a:gd name="T101" fmla="*/ 273 h 282"/>
                  <a:gd name="T102" fmla="*/ 265 w 286"/>
                  <a:gd name="T103" fmla="*/ 273 h 282"/>
                  <a:gd name="T104" fmla="*/ 265 w 286"/>
                  <a:gd name="T105" fmla="*/ 282 h 282"/>
                  <a:gd name="T106" fmla="*/ 192 w 286"/>
                  <a:gd name="T107" fmla="*/ 242 h 282"/>
                  <a:gd name="T108" fmla="*/ 119 w 286"/>
                  <a:gd name="T109" fmla="*/ 202 h 282"/>
                  <a:gd name="T110" fmla="*/ 101 w 286"/>
                  <a:gd name="T111" fmla="*/ 213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6" h="282">
                    <a:moveTo>
                      <a:pt x="101" y="213"/>
                    </a:moveTo>
                    <a:lnTo>
                      <a:pt x="88" y="221"/>
                    </a:lnTo>
                    <a:lnTo>
                      <a:pt x="78" y="210"/>
                    </a:lnTo>
                    <a:lnTo>
                      <a:pt x="49" y="201"/>
                    </a:lnTo>
                    <a:lnTo>
                      <a:pt x="41" y="188"/>
                    </a:lnTo>
                    <a:lnTo>
                      <a:pt x="27" y="178"/>
                    </a:lnTo>
                    <a:lnTo>
                      <a:pt x="19" y="182"/>
                    </a:lnTo>
                    <a:lnTo>
                      <a:pt x="12" y="170"/>
                    </a:lnTo>
                    <a:lnTo>
                      <a:pt x="11" y="162"/>
                    </a:lnTo>
                    <a:lnTo>
                      <a:pt x="0" y="146"/>
                    </a:lnTo>
                    <a:lnTo>
                      <a:pt x="7" y="138"/>
                    </a:lnTo>
                    <a:lnTo>
                      <a:pt x="5" y="125"/>
                    </a:lnTo>
                    <a:lnTo>
                      <a:pt x="7" y="113"/>
                    </a:lnTo>
                    <a:lnTo>
                      <a:pt x="6" y="104"/>
                    </a:lnTo>
                    <a:lnTo>
                      <a:pt x="9" y="87"/>
                    </a:lnTo>
                    <a:lnTo>
                      <a:pt x="7" y="77"/>
                    </a:lnTo>
                    <a:lnTo>
                      <a:pt x="1" y="59"/>
                    </a:lnTo>
                    <a:lnTo>
                      <a:pt x="10" y="54"/>
                    </a:lnTo>
                    <a:lnTo>
                      <a:pt x="11" y="45"/>
                    </a:lnTo>
                    <a:lnTo>
                      <a:pt x="9" y="37"/>
                    </a:lnTo>
                    <a:lnTo>
                      <a:pt x="21" y="29"/>
                    </a:lnTo>
                    <a:lnTo>
                      <a:pt x="26" y="22"/>
                    </a:lnTo>
                    <a:lnTo>
                      <a:pt x="34" y="16"/>
                    </a:lnTo>
                    <a:lnTo>
                      <a:pt x="35" y="0"/>
                    </a:lnTo>
                    <a:lnTo>
                      <a:pt x="55" y="7"/>
                    </a:lnTo>
                    <a:lnTo>
                      <a:pt x="63" y="6"/>
                    </a:lnTo>
                    <a:lnTo>
                      <a:pt x="77" y="9"/>
                    </a:lnTo>
                    <a:lnTo>
                      <a:pt x="101" y="18"/>
                    </a:lnTo>
                    <a:lnTo>
                      <a:pt x="110" y="37"/>
                    </a:lnTo>
                    <a:lnTo>
                      <a:pt x="126" y="41"/>
                    </a:lnTo>
                    <a:lnTo>
                      <a:pt x="151" y="50"/>
                    </a:lnTo>
                    <a:lnTo>
                      <a:pt x="170" y="60"/>
                    </a:lnTo>
                    <a:lnTo>
                      <a:pt x="178" y="54"/>
                    </a:lnTo>
                    <a:lnTo>
                      <a:pt x="186" y="45"/>
                    </a:lnTo>
                    <a:lnTo>
                      <a:pt x="181" y="29"/>
                    </a:lnTo>
                    <a:lnTo>
                      <a:pt x="186" y="19"/>
                    </a:lnTo>
                    <a:lnTo>
                      <a:pt x="198" y="9"/>
                    </a:lnTo>
                    <a:lnTo>
                      <a:pt x="210" y="6"/>
                    </a:lnTo>
                    <a:lnTo>
                      <a:pt x="234" y="11"/>
                    </a:lnTo>
                    <a:lnTo>
                      <a:pt x="241" y="20"/>
                    </a:lnTo>
                    <a:lnTo>
                      <a:pt x="247" y="20"/>
                    </a:lnTo>
                    <a:lnTo>
                      <a:pt x="253" y="23"/>
                    </a:lnTo>
                    <a:lnTo>
                      <a:pt x="270" y="26"/>
                    </a:lnTo>
                    <a:lnTo>
                      <a:pt x="275" y="33"/>
                    </a:lnTo>
                    <a:lnTo>
                      <a:pt x="270" y="43"/>
                    </a:lnTo>
                    <a:lnTo>
                      <a:pt x="273" y="51"/>
                    </a:lnTo>
                    <a:lnTo>
                      <a:pt x="269" y="64"/>
                    </a:lnTo>
                    <a:lnTo>
                      <a:pt x="275" y="81"/>
                    </a:lnTo>
                    <a:lnTo>
                      <a:pt x="280" y="155"/>
                    </a:lnTo>
                    <a:lnTo>
                      <a:pt x="284" y="231"/>
                    </a:lnTo>
                    <a:lnTo>
                      <a:pt x="286" y="273"/>
                    </a:lnTo>
                    <a:lnTo>
                      <a:pt x="265" y="273"/>
                    </a:lnTo>
                    <a:lnTo>
                      <a:pt x="265" y="282"/>
                    </a:lnTo>
                    <a:lnTo>
                      <a:pt x="192" y="242"/>
                    </a:lnTo>
                    <a:lnTo>
                      <a:pt x="119" y="202"/>
                    </a:lnTo>
                    <a:lnTo>
                      <a:pt x="101" y="21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2" name="Freeform 112"/>
              <p:cNvSpPr>
                <a:spLocks/>
              </p:cNvSpPr>
              <p:nvPr/>
            </p:nvSpPr>
            <p:spPr bwMode="auto">
              <a:xfrm>
                <a:off x="6500812" y="3584575"/>
                <a:ext cx="61913" cy="127000"/>
              </a:xfrm>
              <a:custGeom>
                <a:avLst/>
                <a:gdLst>
                  <a:gd name="T0" fmla="*/ 39 w 39"/>
                  <a:gd name="T1" fmla="*/ 48 h 80"/>
                  <a:gd name="T2" fmla="*/ 37 w 39"/>
                  <a:gd name="T3" fmla="*/ 70 h 80"/>
                  <a:gd name="T4" fmla="*/ 29 w 39"/>
                  <a:gd name="T5" fmla="*/ 76 h 80"/>
                  <a:gd name="T6" fmla="*/ 14 w 39"/>
                  <a:gd name="T7" fmla="*/ 80 h 80"/>
                  <a:gd name="T8" fmla="*/ 4 w 39"/>
                  <a:gd name="T9" fmla="*/ 64 h 80"/>
                  <a:gd name="T10" fmla="*/ 0 w 39"/>
                  <a:gd name="T11" fmla="*/ 34 h 80"/>
                  <a:gd name="T12" fmla="*/ 6 w 39"/>
                  <a:gd name="T13" fmla="*/ 0 h 80"/>
                  <a:gd name="T14" fmla="*/ 19 w 39"/>
                  <a:gd name="T15" fmla="*/ 12 h 80"/>
                  <a:gd name="T16" fmla="*/ 29 w 39"/>
                  <a:gd name="T17" fmla="*/ 26 h 80"/>
                  <a:gd name="T18" fmla="*/ 39 w 39"/>
                  <a:gd name="T19" fmla="*/ 4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80">
                    <a:moveTo>
                      <a:pt x="39" y="48"/>
                    </a:moveTo>
                    <a:lnTo>
                      <a:pt x="37" y="70"/>
                    </a:lnTo>
                    <a:lnTo>
                      <a:pt x="29" y="76"/>
                    </a:lnTo>
                    <a:lnTo>
                      <a:pt x="14" y="80"/>
                    </a:lnTo>
                    <a:lnTo>
                      <a:pt x="4" y="64"/>
                    </a:lnTo>
                    <a:lnTo>
                      <a:pt x="0" y="34"/>
                    </a:lnTo>
                    <a:lnTo>
                      <a:pt x="6" y="0"/>
                    </a:lnTo>
                    <a:lnTo>
                      <a:pt x="19" y="12"/>
                    </a:lnTo>
                    <a:lnTo>
                      <a:pt x="29" y="26"/>
                    </a:lnTo>
                    <a:lnTo>
                      <a:pt x="39" y="48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3" name="Freeform 113"/>
              <p:cNvSpPr>
                <a:spLocks/>
              </p:cNvSpPr>
              <p:nvPr/>
            </p:nvSpPr>
            <p:spPr bwMode="auto">
              <a:xfrm>
                <a:off x="4937125" y="4854575"/>
                <a:ext cx="66675" cy="65088"/>
              </a:xfrm>
              <a:custGeom>
                <a:avLst/>
                <a:gdLst>
                  <a:gd name="T0" fmla="*/ 36 w 42"/>
                  <a:gd name="T1" fmla="*/ 6 h 41"/>
                  <a:gd name="T2" fmla="*/ 42 w 42"/>
                  <a:gd name="T3" fmla="*/ 12 h 41"/>
                  <a:gd name="T4" fmla="*/ 36 w 42"/>
                  <a:gd name="T5" fmla="*/ 22 h 41"/>
                  <a:gd name="T6" fmla="*/ 32 w 42"/>
                  <a:gd name="T7" fmla="*/ 29 h 41"/>
                  <a:gd name="T8" fmla="*/ 22 w 42"/>
                  <a:gd name="T9" fmla="*/ 32 h 41"/>
                  <a:gd name="T10" fmla="*/ 18 w 42"/>
                  <a:gd name="T11" fmla="*/ 39 h 41"/>
                  <a:gd name="T12" fmla="*/ 12 w 42"/>
                  <a:gd name="T13" fmla="*/ 41 h 41"/>
                  <a:gd name="T14" fmla="*/ 0 w 42"/>
                  <a:gd name="T15" fmla="*/ 25 h 41"/>
                  <a:gd name="T16" fmla="*/ 10 w 42"/>
                  <a:gd name="T17" fmla="*/ 12 h 41"/>
                  <a:gd name="T18" fmla="*/ 20 w 42"/>
                  <a:gd name="T19" fmla="*/ 4 h 41"/>
                  <a:gd name="T20" fmla="*/ 29 w 42"/>
                  <a:gd name="T21" fmla="*/ 0 h 41"/>
                  <a:gd name="T22" fmla="*/ 36 w 42"/>
                  <a:gd name="T23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41">
                    <a:moveTo>
                      <a:pt x="36" y="6"/>
                    </a:moveTo>
                    <a:lnTo>
                      <a:pt x="42" y="12"/>
                    </a:lnTo>
                    <a:lnTo>
                      <a:pt x="36" y="22"/>
                    </a:lnTo>
                    <a:lnTo>
                      <a:pt x="32" y="29"/>
                    </a:lnTo>
                    <a:lnTo>
                      <a:pt x="22" y="32"/>
                    </a:lnTo>
                    <a:lnTo>
                      <a:pt x="18" y="39"/>
                    </a:lnTo>
                    <a:lnTo>
                      <a:pt x="12" y="41"/>
                    </a:lnTo>
                    <a:lnTo>
                      <a:pt x="0" y="25"/>
                    </a:lnTo>
                    <a:lnTo>
                      <a:pt x="10" y="12"/>
                    </a:lnTo>
                    <a:lnTo>
                      <a:pt x="20" y="4"/>
                    </a:lnTo>
                    <a:lnTo>
                      <a:pt x="29" y="0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4" name="Freeform 114"/>
              <p:cNvSpPr>
                <a:spLocks/>
              </p:cNvSpPr>
              <p:nvPr/>
            </p:nvSpPr>
            <p:spPr bwMode="auto">
              <a:xfrm>
                <a:off x="4691062" y="2065337"/>
                <a:ext cx="139700" cy="76200"/>
              </a:xfrm>
              <a:custGeom>
                <a:avLst/>
                <a:gdLst>
                  <a:gd name="T0" fmla="*/ 31 w 88"/>
                  <a:gd name="T1" fmla="*/ 40 h 48"/>
                  <a:gd name="T2" fmla="*/ 29 w 88"/>
                  <a:gd name="T3" fmla="*/ 35 h 48"/>
                  <a:gd name="T4" fmla="*/ 30 w 88"/>
                  <a:gd name="T5" fmla="*/ 30 h 48"/>
                  <a:gd name="T6" fmla="*/ 22 w 88"/>
                  <a:gd name="T7" fmla="*/ 27 h 48"/>
                  <a:gd name="T8" fmla="*/ 6 w 88"/>
                  <a:gd name="T9" fmla="*/ 23 h 48"/>
                  <a:gd name="T10" fmla="*/ 0 w 88"/>
                  <a:gd name="T11" fmla="*/ 7 h 48"/>
                  <a:gd name="T12" fmla="*/ 17 w 88"/>
                  <a:gd name="T13" fmla="*/ 0 h 48"/>
                  <a:gd name="T14" fmla="*/ 42 w 88"/>
                  <a:gd name="T15" fmla="*/ 2 h 48"/>
                  <a:gd name="T16" fmla="*/ 57 w 88"/>
                  <a:gd name="T17" fmla="*/ 0 h 48"/>
                  <a:gd name="T18" fmla="*/ 60 w 88"/>
                  <a:gd name="T19" fmla="*/ 4 h 48"/>
                  <a:gd name="T20" fmla="*/ 68 w 88"/>
                  <a:gd name="T21" fmla="*/ 5 h 48"/>
                  <a:gd name="T22" fmla="*/ 85 w 88"/>
                  <a:gd name="T23" fmla="*/ 15 h 48"/>
                  <a:gd name="T24" fmla="*/ 88 w 88"/>
                  <a:gd name="T25" fmla="*/ 24 h 48"/>
                  <a:gd name="T26" fmla="*/ 76 w 88"/>
                  <a:gd name="T27" fmla="*/ 30 h 48"/>
                  <a:gd name="T28" fmla="*/ 74 w 88"/>
                  <a:gd name="T29" fmla="*/ 41 h 48"/>
                  <a:gd name="T30" fmla="*/ 58 w 88"/>
                  <a:gd name="T31" fmla="*/ 48 h 48"/>
                  <a:gd name="T32" fmla="*/ 44 w 88"/>
                  <a:gd name="T33" fmla="*/ 48 h 48"/>
                  <a:gd name="T34" fmla="*/ 39 w 88"/>
                  <a:gd name="T35" fmla="*/ 42 h 48"/>
                  <a:gd name="T36" fmla="*/ 31 w 88"/>
                  <a:gd name="T37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8" h="48">
                    <a:moveTo>
                      <a:pt x="31" y="40"/>
                    </a:moveTo>
                    <a:lnTo>
                      <a:pt x="29" y="35"/>
                    </a:lnTo>
                    <a:lnTo>
                      <a:pt x="30" y="30"/>
                    </a:lnTo>
                    <a:lnTo>
                      <a:pt x="22" y="27"/>
                    </a:lnTo>
                    <a:lnTo>
                      <a:pt x="6" y="23"/>
                    </a:lnTo>
                    <a:lnTo>
                      <a:pt x="0" y="7"/>
                    </a:lnTo>
                    <a:lnTo>
                      <a:pt x="17" y="0"/>
                    </a:lnTo>
                    <a:lnTo>
                      <a:pt x="42" y="2"/>
                    </a:lnTo>
                    <a:lnTo>
                      <a:pt x="57" y="0"/>
                    </a:lnTo>
                    <a:lnTo>
                      <a:pt x="60" y="4"/>
                    </a:lnTo>
                    <a:lnTo>
                      <a:pt x="68" y="5"/>
                    </a:lnTo>
                    <a:lnTo>
                      <a:pt x="85" y="15"/>
                    </a:lnTo>
                    <a:lnTo>
                      <a:pt x="88" y="24"/>
                    </a:lnTo>
                    <a:lnTo>
                      <a:pt x="76" y="30"/>
                    </a:lnTo>
                    <a:lnTo>
                      <a:pt x="74" y="41"/>
                    </a:lnTo>
                    <a:lnTo>
                      <a:pt x="58" y="48"/>
                    </a:lnTo>
                    <a:lnTo>
                      <a:pt x="44" y="48"/>
                    </a:lnTo>
                    <a:lnTo>
                      <a:pt x="39" y="42"/>
                    </a:lnTo>
                    <a:lnTo>
                      <a:pt x="31" y="4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5" name="Freeform 115"/>
              <p:cNvSpPr>
                <a:spLocks/>
              </p:cNvSpPr>
              <p:nvPr/>
            </p:nvSpPr>
            <p:spPr bwMode="auto">
              <a:xfrm>
                <a:off x="4325937" y="2262187"/>
                <a:ext cx="14288" cy="22225"/>
              </a:xfrm>
              <a:custGeom>
                <a:avLst/>
                <a:gdLst>
                  <a:gd name="T0" fmla="*/ 6 w 9"/>
                  <a:gd name="T1" fmla="*/ 0 h 14"/>
                  <a:gd name="T2" fmla="*/ 9 w 9"/>
                  <a:gd name="T3" fmla="*/ 5 h 14"/>
                  <a:gd name="T4" fmla="*/ 8 w 9"/>
                  <a:gd name="T5" fmla="*/ 14 h 14"/>
                  <a:gd name="T6" fmla="*/ 4 w 9"/>
                  <a:gd name="T7" fmla="*/ 14 h 14"/>
                  <a:gd name="T8" fmla="*/ 0 w 9"/>
                  <a:gd name="T9" fmla="*/ 13 h 14"/>
                  <a:gd name="T10" fmla="*/ 2 w 9"/>
                  <a:gd name="T11" fmla="*/ 1 h 14"/>
                  <a:gd name="T12" fmla="*/ 6 w 9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4">
                    <a:moveTo>
                      <a:pt x="6" y="0"/>
                    </a:moveTo>
                    <a:lnTo>
                      <a:pt x="9" y="5"/>
                    </a:lnTo>
                    <a:lnTo>
                      <a:pt x="8" y="14"/>
                    </a:lnTo>
                    <a:lnTo>
                      <a:pt x="4" y="14"/>
                    </a:lnTo>
                    <a:lnTo>
                      <a:pt x="0" y="13"/>
                    </a:lnTo>
                    <a:lnTo>
                      <a:pt x="2" y="1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6" name="Freeform 116"/>
              <p:cNvSpPr>
                <a:spLocks/>
              </p:cNvSpPr>
              <p:nvPr/>
            </p:nvSpPr>
            <p:spPr bwMode="auto">
              <a:xfrm>
                <a:off x="4689475" y="2014537"/>
                <a:ext cx="173038" cy="74613"/>
              </a:xfrm>
              <a:custGeom>
                <a:avLst/>
                <a:gdLst>
                  <a:gd name="T0" fmla="*/ 1 w 109"/>
                  <a:gd name="T1" fmla="*/ 39 h 47"/>
                  <a:gd name="T2" fmla="*/ 0 w 109"/>
                  <a:gd name="T3" fmla="*/ 24 h 47"/>
                  <a:gd name="T4" fmla="*/ 5 w 109"/>
                  <a:gd name="T5" fmla="*/ 11 h 47"/>
                  <a:gd name="T6" fmla="*/ 18 w 109"/>
                  <a:gd name="T7" fmla="*/ 5 h 47"/>
                  <a:gd name="T8" fmla="*/ 33 w 109"/>
                  <a:gd name="T9" fmla="*/ 19 h 47"/>
                  <a:gd name="T10" fmla="*/ 45 w 109"/>
                  <a:gd name="T11" fmla="*/ 19 h 47"/>
                  <a:gd name="T12" fmla="*/ 45 w 109"/>
                  <a:gd name="T13" fmla="*/ 4 h 47"/>
                  <a:gd name="T14" fmla="*/ 57 w 109"/>
                  <a:gd name="T15" fmla="*/ 0 h 47"/>
                  <a:gd name="T16" fmla="*/ 64 w 109"/>
                  <a:gd name="T17" fmla="*/ 3 h 47"/>
                  <a:gd name="T18" fmla="*/ 79 w 109"/>
                  <a:gd name="T19" fmla="*/ 10 h 47"/>
                  <a:gd name="T20" fmla="*/ 91 w 109"/>
                  <a:gd name="T21" fmla="*/ 10 h 47"/>
                  <a:gd name="T22" fmla="*/ 99 w 109"/>
                  <a:gd name="T23" fmla="*/ 15 h 47"/>
                  <a:gd name="T24" fmla="*/ 102 w 109"/>
                  <a:gd name="T25" fmla="*/ 24 h 47"/>
                  <a:gd name="T26" fmla="*/ 109 w 109"/>
                  <a:gd name="T27" fmla="*/ 36 h 47"/>
                  <a:gd name="T28" fmla="*/ 94 w 109"/>
                  <a:gd name="T29" fmla="*/ 43 h 47"/>
                  <a:gd name="T30" fmla="*/ 86 w 109"/>
                  <a:gd name="T31" fmla="*/ 47 h 47"/>
                  <a:gd name="T32" fmla="*/ 69 w 109"/>
                  <a:gd name="T33" fmla="*/ 37 h 47"/>
                  <a:gd name="T34" fmla="*/ 61 w 109"/>
                  <a:gd name="T35" fmla="*/ 36 h 47"/>
                  <a:gd name="T36" fmla="*/ 58 w 109"/>
                  <a:gd name="T37" fmla="*/ 32 h 47"/>
                  <a:gd name="T38" fmla="*/ 43 w 109"/>
                  <a:gd name="T39" fmla="*/ 34 h 47"/>
                  <a:gd name="T40" fmla="*/ 18 w 109"/>
                  <a:gd name="T41" fmla="*/ 32 h 47"/>
                  <a:gd name="T42" fmla="*/ 1 w 109"/>
                  <a:gd name="T43" fmla="*/ 3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9" h="47">
                    <a:moveTo>
                      <a:pt x="1" y="39"/>
                    </a:moveTo>
                    <a:lnTo>
                      <a:pt x="0" y="24"/>
                    </a:lnTo>
                    <a:lnTo>
                      <a:pt x="5" y="11"/>
                    </a:lnTo>
                    <a:lnTo>
                      <a:pt x="18" y="5"/>
                    </a:lnTo>
                    <a:lnTo>
                      <a:pt x="33" y="19"/>
                    </a:lnTo>
                    <a:lnTo>
                      <a:pt x="45" y="19"/>
                    </a:lnTo>
                    <a:lnTo>
                      <a:pt x="45" y="4"/>
                    </a:lnTo>
                    <a:lnTo>
                      <a:pt x="57" y="0"/>
                    </a:lnTo>
                    <a:lnTo>
                      <a:pt x="64" y="3"/>
                    </a:lnTo>
                    <a:lnTo>
                      <a:pt x="79" y="10"/>
                    </a:lnTo>
                    <a:lnTo>
                      <a:pt x="91" y="10"/>
                    </a:lnTo>
                    <a:lnTo>
                      <a:pt x="99" y="15"/>
                    </a:lnTo>
                    <a:lnTo>
                      <a:pt x="102" y="24"/>
                    </a:lnTo>
                    <a:lnTo>
                      <a:pt x="109" y="36"/>
                    </a:lnTo>
                    <a:lnTo>
                      <a:pt x="94" y="43"/>
                    </a:lnTo>
                    <a:lnTo>
                      <a:pt x="86" y="47"/>
                    </a:lnTo>
                    <a:lnTo>
                      <a:pt x="69" y="37"/>
                    </a:lnTo>
                    <a:lnTo>
                      <a:pt x="61" y="36"/>
                    </a:lnTo>
                    <a:lnTo>
                      <a:pt x="58" y="32"/>
                    </a:lnTo>
                    <a:lnTo>
                      <a:pt x="43" y="34"/>
                    </a:lnTo>
                    <a:lnTo>
                      <a:pt x="18" y="32"/>
                    </a:lnTo>
                    <a:lnTo>
                      <a:pt x="1" y="3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7" name="Freeform 117"/>
              <p:cNvSpPr>
                <a:spLocks/>
              </p:cNvSpPr>
              <p:nvPr/>
            </p:nvSpPr>
            <p:spPr bwMode="auto">
              <a:xfrm>
                <a:off x="3695700" y="2730500"/>
                <a:ext cx="455613" cy="471488"/>
              </a:xfrm>
              <a:custGeom>
                <a:avLst/>
                <a:gdLst>
                  <a:gd name="T0" fmla="*/ 227 w 287"/>
                  <a:gd name="T1" fmla="*/ 9 h 297"/>
                  <a:gd name="T2" fmla="*/ 261 w 287"/>
                  <a:gd name="T3" fmla="*/ 12 h 297"/>
                  <a:gd name="T4" fmla="*/ 275 w 287"/>
                  <a:gd name="T5" fmla="*/ 25 h 297"/>
                  <a:gd name="T6" fmla="*/ 282 w 287"/>
                  <a:gd name="T7" fmla="*/ 60 h 297"/>
                  <a:gd name="T8" fmla="*/ 284 w 287"/>
                  <a:gd name="T9" fmla="*/ 72 h 297"/>
                  <a:gd name="T10" fmla="*/ 253 w 287"/>
                  <a:gd name="T11" fmla="*/ 84 h 297"/>
                  <a:gd name="T12" fmla="*/ 242 w 287"/>
                  <a:gd name="T13" fmla="*/ 101 h 297"/>
                  <a:gd name="T14" fmla="*/ 214 w 287"/>
                  <a:gd name="T15" fmla="*/ 119 h 297"/>
                  <a:gd name="T16" fmla="*/ 182 w 287"/>
                  <a:gd name="T17" fmla="*/ 128 h 297"/>
                  <a:gd name="T18" fmla="*/ 153 w 287"/>
                  <a:gd name="T19" fmla="*/ 168 h 297"/>
                  <a:gd name="T20" fmla="*/ 150 w 287"/>
                  <a:gd name="T21" fmla="*/ 168 h 297"/>
                  <a:gd name="T22" fmla="*/ 139 w 287"/>
                  <a:gd name="T23" fmla="*/ 180 h 297"/>
                  <a:gd name="T24" fmla="*/ 125 w 287"/>
                  <a:gd name="T25" fmla="*/ 184 h 297"/>
                  <a:gd name="T26" fmla="*/ 104 w 287"/>
                  <a:gd name="T27" fmla="*/ 184 h 297"/>
                  <a:gd name="T28" fmla="*/ 92 w 287"/>
                  <a:gd name="T29" fmla="*/ 202 h 297"/>
                  <a:gd name="T30" fmla="*/ 58 w 287"/>
                  <a:gd name="T31" fmla="*/ 250 h 297"/>
                  <a:gd name="T32" fmla="*/ 43 w 287"/>
                  <a:gd name="T33" fmla="*/ 288 h 297"/>
                  <a:gd name="T34" fmla="*/ 0 w 287"/>
                  <a:gd name="T35" fmla="*/ 297 h 297"/>
                  <a:gd name="T36" fmla="*/ 1 w 287"/>
                  <a:gd name="T37" fmla="*/ 288 h 297"/>
                  <a:gd name="T38" fmla="*/ 14 w 287"/>
                  <a:gd name="T39" fmla="*/ 271 h 297"/>
                  <a:gd name="T40" fmla="*/ 20 w 287"/>
                  <a:gd name="T41" fmla="*/ 249 h 297"/>
                  <a:gd name="T42" fmla="*/ 37 w 287"/>
                  <a:gd name="T43" fmla="*/ 233 h 297"/>
                  <a:gd name="T44" fmla="*/ 42 w 287"/>
                  <a:gd name="T45" fmla="*/ 210 h 297"/>
                  <a:gd name="T46" fmla="*/ 61 w 287"/>
                  <a:gd name="T47" fmla="*/ 189 h 297"/>
                  <a:gd name="T48" fmla="*/ 74 w 287"/>
                  <a:gd name="T49" fmla="*/ 168 h 297"/>
                  <a:gd name="T50" fmla="*/ 99 w 287"/>
                  <a:gd name="T51" fmla="*/ 158 h 297"/>
                  <a:gd name="T52" fmla="*/ 123 w 287"/>
                  <a:gd name="T53" fmla="*/ 138 h 297"/>
                  <a:gd name="T54" fmla="*/ 134 w 287"/>
                  <a:gd name="T55" fmla="*/ 95 h 297"/>
                  <a:gd name="T56" fmla="*/ 144 w 287"/>
                  <a:gd name="T57" fmla="*/ 66 h 297"/>
                  <a:gd name="T58" fmla="*/ 173 w 287"/>
                  <a:gd name="T59" fmla="*/ 43 h 297"/>
                  <a:gd name="T60" fmla="*/ 198 w 287"/>
                  <a:gd name="T61" fmla="*/ 13 h 297"/>
                  <a:gd name="T62" fmla="*/ 217 w 287"/>
                  <a:gd name="T63" fmla="*/ 0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7" h="297">
                    <a:moveTo>
                      <a:pt x="217" y="0"/>
                    </a:moveTo>
                    <a:lnTo>
                      <a:pt x="227" y="9"/>
                    </a:lnTo>
                    <a:lnTo>
                      <a:pt x="244" y="7"/>
                    </a:lnTo>
                    <a:lnTo>
                      <a:pt x="261" y="12"/>
                    </a:lnTo>
                    <a:lnTo>
                      <a:pt x="269" y="12"/>
                    </a:lnTo>
                    <a:lnTo>
                      <a:pt x="275" y="25"/>
                    </a:lnTo>
                    <a:lnTo>
                      <a:pt x="276" y="38"/>
                    </a:lnTo>
                    <a:lnTo>
                      <a:pt x="282" y="60"/>
                    </a:lnTo>
                    <a:lnTo>
                      <a:pt x="287" y="64"/>
                    </a:lnTo>
                    <a:lnTo>
                      <a:pt x="284" y="72"/>
                    </a:lnTo>
                    <a:lnTo>
                      <a:pt x="261" y="76"/>
                    </a:lnTo>
                    <a:lnTo>
                      <a:pt x="253" y="84"/>
                    </a:lnTo>
                    <a:lnTo>
                      <a:pt x="242" y="85"/>
                    </a:lnTo>
                    <a:lnTo>
                      <a:pt x="242" y="101"/>
                    </a:lnTo>
                    <a:lnTo>
                      <a:pt x="221" y="109"/>
                    </a:lnTo>
                    <a:lnTo>
                      <a:pt x="214" y="119"/>
                    </a:lnTo>
                    <a:lnTo>
                      <a:pt x="200" y="125"/>
                    </a:lnTo>
                    <a:lnTo>
                      <a:pt x="182" y="128"/>
                    </a:lnTo>
                    <a:lnTo>
                      <a:pt x="153" y="143"/>
                    </a:lnTo>
                    <a:lnTo>
                      <a:pt x="153" y="168"/>
                    </a:lnTo>
                    <a:lnTo>
                      <a:pt x="150" y="168"/>
                    </a:lnTo>
                    <a:lnTo>
                      <a:pt x="150" y="168"/>
                    </a:lnTo>
                    <a:lnTo>
                      <a:pt x="150" y="179"/>
                    </a:lnTo>
                    <a:lnTo>
                      <a:pt x="139" y="180"/>
                    </a:lnTo>
                    <a:lnTo>
                      <a:pt x="133" y="184"/>
                    </a:lnTo>
                    <a:lnTo>
                      <a:pt x="125" y="184"/>
                    </a:lnTo>
                    <a:lnTo>
                      <a:pt x="119" y="182"/>
                    </a:lnTo>
                    <a:lnTo>
                      <a:pt x="104" y="184"/>
                    </a:lnTo>
                    <a:lnTo>
                      <a:pt x="98" y="200"/>
                    </a:lnTo>
                    <a:lnTo>
                      <a:pt x="92" y="202"/>
                    </a:lnTo>
                    <a:lnTo>
                      <a:pt x="83" y="228"/>
                    </a:lnTo>
                    <a:lnTo>
                      <a:pt x="58" y="250"/>
                    </a:lnTo>
                    <a:lnTo>
                      <a:pt x="51" y="279"/>
                    </a:lnTo>
                    <a:lnTo>
                      <a:pt x="43" y="288"/>
                    </a:lnTo>
                    <a:lnTo>
                      <a:pt x="41" y="296"/>
                    </a:lnTo>
                    <a:lnTo>
                      <a:pt x="0" y="297"/>
                    </a:lnTo>
                    <a:lnTo>
                      <a:pt x="0" y="297"/>
                    </a:lnTo>
                    <a:lnTo>
                      <a:pt x="1" y="288"/>
                    </a:lnTo>
                    <a:lnTo>
                      <a:pt x="8" y="282"/>
                    </a:lnTo>
                    <a:lnTo>
                      <a:pt x="14" y="271"/>
                    </a:lnTo>
                    <a:lnTo>
                      <a:pt x="13" y="264"/>
                    </a:lnTo>
                    <a:lnTo>
                      <a:pt x="20" y="249"/>
                    </a:lnTo>
                    <a:lnTo>
                      <a:pt x="30" y="236"/>
                    </a:lnTo>
                    <a:lnTo>
                      <a:pt x="37" y="233"/>
                    </a:lnTo>
                    <a:lnTo>
                      <a:pt x="42" y="221"/>
                    </a:lnTo>
                    <a:lnTo>
                      <a:pt x="42" y="210"/>
                    </a:lnTo>
                    <a:lnTo>
                      <a:pt x="49" y="197"/>
                    </a:lnTo>
                    <a:lnTo>
                      <a:pt x="61" y="189"/>
                    </a:lnTo>
                    <a:lnTo>
                      <a:pt x="73" y="168"/>
                    </a:lnTo>
                    <a:lnTo>
                      <a:pt x="74" y="168"/>
                    </a:lnTo>
                    <a:lnTo>
                      <a:pt x="83" y="160"/>
                    </a:lnTo>
                    <a:lnTo>
                      <a:pt x="99" y="158"/>
                    </a:lnTo>
                    <a:lnTo>
                      <a:pt x="114" y="144"/>
                    </a:lnTo>
                    <a:lnTo>
                      <a:pt x="123" y="138"/>
                    </a:lnTo>
                    <a:lnTo>
                      <a:pt x="138" y="121"/>
                    </a:lnTo>
                    <a:lnTo>
                      <a:pt x="134" y="95"/>
                    </a:lnTo>
                    <a:lnTo>
                      <a:pt x="141" y="77"/>
                    </a:lnTo>
                    <a:lnTo>
                      <a:pt x="144" y="66"/>
                    </a:lnTo>
                    <a:lnTo>
                      <a:pt x="156" y="52"/>
                    </a:lnTo>
                    <a:lnTo>
                      <a:pt x="173" y="43"/>
                    </a:lnTo>
                    <a:lnTo>
                      <a:pt x="186" y="34"/>
                    </a:lnTo>
                    <a:lnTo>
                      <a:pt x="198" y="13"/>
                    </a:lnTo>
                    <a:lnTo>
                      <a:pt x="204" y="0"/>
                    </a:lnTo>
                    <a:lnTo>
                      <a:pt x="217" y="0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chemeClr val="tx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8" name="Freeform 118"/>
              <p:cNvSpPr>
                <a:spLocks/>
              </p:cNvSpPr>
              <p:nvPr/>
            </p:nvSpPr>
            <p:spPr bwMode="auto">
              <a:xfrm>
                <a:off x="4865687" y="2316162"/>
                <a:ext cx="95250" cy="96838"/>
              </a:xfrm>
              <a:custGeom>
                <a:avLst/>
                <a:gdLst>
                  <a:gd name="T0" fmla="*/ 0 w 60"/>
                  <a:gd name="T1" fmla="*/ 5 h 61"/>
                  <a:gd name="T2" fmla="*/ 3 w 60"/>
                  <a:gd name="T3" fmla="*/ 2 h 61"/>
                  <a:gd name="T4" fmla="*/ 13 w 60"/>
                  <a:gd name="T5" fmla="*/ 0 h 61"/>
                  <a:gd name="T6" fmla="*/ 26 w 60"/>
                  <a:gd name="T7" fmla="*/ 6 h 61"/>
                  <a:gd name="T8" fmla="*/ 33 w 60"/>
                  <a:gd name="T9" fmla="*/ 7 h 61"/>
                  <a:gd name="T10" fmla="*/ 41 w 60"/>
                  <a:gd name="T11" fmla="*/ 12 h 61"/>
                  <a:gd name="T12" fmla="*/ 41 w 60"/>
                  <a:gd name="T13" fmla="*/ 20 h 61"/>
                  <a:gd name="T14" fmla="*/ 47 w 60"/>
                  <a:gd name="T15" fmla="*/ 23 h 61"/>
                  <a:gd name="T16" fmla="*/ 51 w 60"/>
                  <a:gd name="T17" fmla="*/ 31 h 61"/>
                  <a:gd name="T18" fmla="*/ 57 w 60"/>
                  <a:gd name="T19" fmla="*/ 37 h 61"/>
                  <a:gd name="T20" fmla="*/ 57 w 60"/>
                  <a:gd name="T21" fmla="*/ 40 h 61"/>
                  <a:gd name="T22" fmla="*/ 60 w 60"/>
                  <a:gd name="T23" fmla="*/ 42 h 61"/>
                  <a:gd name="T24" fmla="*/ 56 w 60"/>
                  <a:gd name="T25" fmla="*/ 43 h 61"/>
                  <a:gd name="T26" fmla="*/ 46 w 60"/>
                  <a:gd name="T27" fmla="*/ 42 h 61"/>
                  <a:gd name="T28" fmla="*/ 44 w 60"/>
                  <a:gd name="T29" fmla="*/ 40 h 61"/>
                  <a:gd name="T30" fmla="*/ 41 w 60"/>
                  <a:gd name="T31" fmla="*/ 41 h 61"/>
                  <a:gd name="T32" fmla="*/ 43 w 60"/>
                  <a:gd name="T33" fmla="*/ 45 h 61"/>
                  <a:gd name="T34" fmla="*/ 39 w 60"/>
                  <a:gd name="T35" fmla="*/ 52 h 61"/>
                  <a:gd name="T36" fmla="*/ 37 w 60"/>
                  <a:gd name="T37" fmla="*/ 59 h 61"/>
                  <a:gd name="T38" fmla="*/ 33 w 60"/>
                  <a:gd name="T39" fmla="*/ 61 h 61"/>
                  <a:gd name="T40" fmla="*/ 29 w 60"/>
                  <a:gd name="T41" fmla="*/ 52 h 61"/>
                  <a:gd name="T42" fmla="*/ 30 w 60"/>
                  <a:gd name="T43" fmla="*/ 43 h 61"/>
                  <a:gd name="T44" fmla="*/ 28 w 60"/>
                  <a:gd name="T45" fmla="*/ 34 h 61"/>
                  <a:gd name="T46" fmla="*/ 17 w 60"/>
                  <a:gd name="T47" fmla="*/ 22 h 61"/>
                  <a:gd name="T48" fmla="*/ 10 w 60"/>
                  <a:gd name="T49" fmla="*/ 13 h 61"/>
                  <a:gd name="T50" fmla="*/ 5 w 60"/>
                  <a:gd name="T51" fmla="*/ 7 h 61"/>
                  <a:gd name="T52" fmla="*/ 0 w 60"/>
                  <a:gd name="T53" fmla="*/ 5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0" h="61">
                    <a:moveTo>
                      <a:pt x="0" y="5"/>
                    </a:moveTo>
                    <a:lnTo>
                      <a:pt x="3" y="2"/>
                    </a:lnTo>
                    <a:lnTo>
                      <a:pt x="13" y="0"/>
                    </a:lnTo>
                    <a:lnTo>
                      <a:pt x="26" y="6"/>
                    </a:lnTo>
                    <a:lnTo>
                      <a:pt x="33" y="7"/>
                    </a:lnTo>
                    <a:lnTo>
                      <a:pt x="41" y="12"/>
                    </a:lnTo>
                    <a:lnTo>
                      <a:pt x="41" y="20"/>
                    </a:lnTo>
                    <a:lnTo>
                      <a:pt x="47" y="23"/>
                    </a:lnTo>
                    <a:lnTo>
                      <a:pt x="51" y="31"/>
                    </a:lnTo>
                    <a:lnTo>
                      <a:pt x="57" y="37"/>
                    </a:lnTo>
                    <a:lnTo>
                      <a:pt x="57" y="40"/>
                    </a:lnTo>
                    <a:lnTo>
                      <a:pt x="60" y="42"/>
                    </a:lnTo>
                    <a:lnTo>
                      <a:pt x="56" y="43"/>
                    </a:lnTo>
                    <a:lnTo>
                      <a:pt x="46" y="42"/>
                    </a:lnTo>
                    <a:lnTo>
                      <a:pt x="44" y="40"/>
                    </a:lnTo>
                    <a:lnTo>
                      <a:pt x="41" y="41"/>
                    </a:lnTo>
                    <a:lnTo>
                      <a:pt x="43" y="45"/>
                    </a:lnTo>
                    <a:lnTo>
                      <a:pt x="39" y="52"/>
                    </a:lnTo>
                    <a:lnTo>
                      <a:pt x="37" y="59"/>
                    </a:lnTo>
                    <a:lnTo>
                      <a:pt x="33" y="61"/>
                    </a:lnTo>
                    <a:lnTo>
                      <a:pt x="29" y="52"/>
                    </a:lnTo>
                    <a:lnTo>
                      <a:pt x="30" y="43"/>
                    </a:lnTo>
                    <a:lnTo>
                      <a:pt x="28" y="34"/>
                    </a:lnTo>
                    <a:lnTo>
                      <a:pt x="17" y="22"/>
                    </a:lnTo>
                    <a:lnTo>
                      <a:pt x="10" y="13"/>
                    </a:lnTo>
                    <a:lnTo>
                      <a:pt x="5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29" name="Freeform 119"/>
              <p:cNvSpPr>
                <a:spLocks/>
              </p:cNvSpPr>
              <p:nvPr/>
            </p:nvSpPr>
            <p:spPr bwMode="auto">
              <a:xfrm>
                <a:off x="5416550" y="4306888"/>
                <a:ext cx="223838" cy="446088"/>
              </a:xfrm>
              <a:custGeom>
                <a:avLst/>
                <a:gdLst>
                  <a:gd name="T0" fmla="*/ 127 w 141"/>
                  <a:gd name="T1" fmla="*/ 8 h 281"/>
                  <a:gd name="T2" fmla="*/ 131 w 141"/>
                  <a:gd name="T3" fmla="*/ 17 h 281"/>
                  <a:gd name="T4" fmla="*/ 135 w 141"/>
                  <a:gd name="T5" fmla="*/ 31 h 281"/>
                  <a:gd name="T6" fmla="*/ 136 w 141"/>
                  <a:gd name="T7" fmla="*/ 56 h 281"/>
                  <a:gd name="T8" fmla="*/ 141 w 141"/>
                  <a:gd name="T9" fmla="*/ 66 h 281"/>
                  <a:gd name="T10" fmla="*/ 138 w 141"/>
                  <a:gd name="T11" fmla="*/ 76 h 281"/>
                  <a:gd name="T12" fmla="*/ 134 w 141"/>
                  <a:gd name="T13" fmla="*/ 82 h 281"/>
                  <a:gd name="T14" fmla="*/ 129 w 141"/>
                  <a:gd name="T15" fmla="*/ 70 h 281"/>
                  <a:gd name="T16" fmla="*/ 125 w 141"/>
                  <a:gd name="T17" fmla="*/ 76 h 281"/>
                  <a:gd name="T18" fmla="*/ 128 w 141"/>
                  <a:gd name="T19" fmla="*/ 91 h 281"/>
                  <a:gd name="T20" fmla="*/ 126 w 141"/>
                  <a:gd name="T21" fmla="*/ 100 h 281"/>
                  <a:gd name="T22" fmla="*/ 120 w 141"/>
                  <a:gd name="T23" fmla="*/ 105 h 281"/>
                  <a:gd name="T24" fmla="*/ 118 w 141"/>
                  <a:gd name="T25" fmla="*/ 122 h 281"/>
                  <a:gd name="T26" fmla="*/ 109 w 141"/>
                  <a:gd name="T27" fmla="*/ 147 h 281"/>
                  <a:gd name="T28" fmla="*/ 98 w 141"/>
                  <a:gd name="T29" fmla="*/ 175 h 281"/>
                  <a:gd name="T30" fmla="*/ 83 w 141"/>
                  <a:gd name="T31" fmla="*/ 215 h 281"/>
                  <a:gd name="T32" fmla="*/ 74 w 141"/>
                  <a:gd name="T33" fmla="*/ 244 h 281"/>
                  <a:gd name="T34" fmla="*/ 63 w 141"/>
                  <a:gd name="T35" fmla="*/ 268 h 281"/>
                  <a:gd name="T36" fmla="*/ 49 w 141"/>
                  <a:gd name="T37" fmla="*/ 272 h 281"/>
                  <a:gd name="T38" fmla="*/ 32 w 141"/>
                  <a:gd name="T39" fmla="*/ 281 h 281"/>
                  <a:gd name="T40" fmla="*/ 22 w 141"/>
                  <a:gd name="T41" fmla="*/ 276 h 281"/>
                  <a:gd name="T42" fmla="*/ 9 w 141"/>
                  <a:gd name="T43" fmla="*/ 268 h 281"/>
                  <a:gd name="T44" fmla="*/ 5 w 141"/>
                  <a:gd name="T45" fmla="*/ 258 h 281"/>
                  <a:gd name="T46" fmla="*/ 5 w 141"/>
                  <a:gd name="T47" fmla="*/ 239 h 281"/>
                  <a:gd name="T48" fmla="*/ 0 w 141"/>
                  <a:gd name="T49" fmla="*/ 223 h 281"/>
                  <a:gd name="T50" fmla="*/ 0 w 141"/>
                  <a:gd name="T51" fmla="*/ 208 h 281"/>
                  <a:gd name="T52" fmla="*/ 4 w 141"/>
                  <a:gd name="T53" fmla="*/ 193 h 281"/>
                  <a:gd name="T54" fmla="*/ 13 w 141"/>
                  <a:gd name="T55" fmla="*/ 189 h 281"/>
                  <a:gd name="T56" fmla="*/ 13 w 141"/>
                  <a:gd name="T57" fmla="*/ 182 h 281"/>
                  <a:gd name="T58" fmla="*/ 23 w 141"/>
                  <a:gd name="T59" fmla="*/ 166 h 281"/>
                  <a:gd name="T60" fmla="*/ 26 w 141"/>
                  <a:gd name="T61" fmla="*/ 153 h 281"/>
                  <a:gd name="T62" fmla="*/ 22 w 141"/>
                  <a:gd name="T63" fmla="*/ 143 h 281"/>
                  <a:gd name="T64" fmla="*/ 20 w 141"/>
                  <a:gd name="T65" fmla="*/ 130 h 281"/>
                  <a:gd name="T66" fmla="*/ 19 w 141"/>
                  <a:gd name="T67" fmla="*/ 111 h 281"/>
                  <a:gd name="T68" fmla="*/ 27 w 141"/>
                  <a:gd name="T69" fmla="*/ 99 h 281"/>
                  <a:gd name="T70" fmla="*/ 30 w 141"/>
                  <a:gd name="T71" fmla="*/ 86 h 281"/>
                  <a:gd name="T72" fmla="*/ 39 w 141"/>
                  <a:gd name="T73" fmla="*/ 85 h 281"/>
                  <a:gd name="T74" fmla="*/ 49 w 141"/>
                  <a:gd name="T75" fmla="*/ 81 h 281"/>
                  <a:gd name="T76" fmla="*/ 56 w 141"/>
                  <a:gd name="T77" fmla="*/ 77 h 281"/>
                  <a:gd name="T78" fmla="*/ 64 w 141"/>
                  <a:gd name="T79" fmla="*/ 77 h 281"/>
                  <a:gd name="T80" fmla="*/ 75 w 141"/>
                  <a:gd name="T81" fmla="*/ 65 h 281"/>
                  <a:gd name="T82" fmla="*/ 91 w 141"/>
                  <a:gd name="T83" fmla="*/ 53 h 281"/>
                  <a:gd name="T84" fmla="*/ 97 w 141"/>
                  <a:gd name="T85" fmla="*/ 42 h 281"/>
                  <a:gd name="T86" fmla="*/ 95 w 141"/>
                  <a:gd name="T87" fmla="*/ 33 h 281"/>
                  <a:gd name="T88" fmla="*/ 102 w 141"/>
                  <a:gd name="T89" fmla="*/ 36 h 281"/>
                  <a:gd name="T90" fmla="*/ 113 w 141"/>
                  <a:gd name="T91" fmla="*/ 21 h 281"/>
                  <a:gd name="T92" fmla="*/ 114 w 141"/>
                  <a:gd name="T93" fmla="*/ 9 h 281"/>
                  <a:gd name="T94" fmla="*/ 121 w 141"/>
                  <a:gd name="T95" fmla="*/ 0 h 281"/>
                  <a:gd name="T96" fmla="*/ 127 w 141"/>
                  <a:gd name="T97" fmla="*/ 8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41" h="281">
                    <a:moveTo>
                      <a:pt x="127" y="8"/>
                    </a:moveTo>
                    <a:lnTo>
                      <a:pt x="131" y="17"/>
                    </a:lnTo>
                    <a:lnTo>
                      <a:pt x="135" y="31"/>
                    </a:lnTo>
                    <a:lnTo>
                      <a:pt x="136" y="56"/>
                    </a:lnTo>
                    <a:lnTo>
                      <a:pt x="141" y="66"/>
                    </a:lnTo>
                    <a:lnTo>
                      <a:pt x="138" y="76"/>
                    </a:lnTo>
                    <a:lnTo>
                      <a:pt x="134" y="82"/>
                    </a:lnTo>
                    <a:lnTo>
                      <a:pt x="129" y="70"/>
                    </a:lnTo>
                    <a:lnTo>
                      <a:pt x="125" y="76"/>
                    </a:lnTo>
                    <a:lnTo>
                      <a:pt x="128" y="91"/>
                    </a:lnTo>
                    <a:lnTo>
                      <a:pt x="126" y="100"/>
                    </a:lnTo>
                    <a:lnTo>
                      <a:pt x="120" y="105"/>
                    </a:lnTo>
                    <a:lnTo>
                      <a:pt x="118" y="122"/>
                    </a:lnTo>
                    <a:lnTo>
                      <a:pt x="109" y="147"/>
                    </a:lnTo>
                    <a:lnTo>
                      <a:pt x="98" y="175"/>
                    </a:lnTo>
                    <a:lnTo>
                      <a:pt x="83" y="215"/>
                    </a:lnTo>
                    <a:lnTo>
                      <a:pt x="74" y="244"/>
                    </a:lnTo>
                    <a:lnTo>
                      <a:pt x="63" y="268"/>
                    </a:lnTo>
                    <a:lnTo>
                      <a:pt x="49" y="272"/>
                    </a:lnTo>
                    <a:lnTo>
                      <a:pt x="32" y="281"/>
                    </a:lnTo>
                    <a:lnTo>
                      <a:pt x="22" y="276"/>
                    </a:lnTo>
                    <a:lnTo>
                      <a:pt x="9" y="268"/>
                    </a:lnTo>
                    <a:lnTo>
                      <a:pt x="5" y="258"/>
                    </a:lnTo>
                    <a:lnTo>
                      <a:pt x="5" y="239"/>
                    </a:lnTo>
                    <a:lnTo>
                      <a:pt x="0" y="223"/>
                    </a:lnTo>
                    <a:lnTo>
                      <a:pt x="0" y="208"/>
                    </a:lnTo>
                    <a:lnTo>
                      <a:pt x="4" y="193"/>
                    </a:lnTo>
                    <a:lnTo>
                      <a:pt x="13" y="189"/>
                    </a:lnTo>
                    <a:lnTo>
                      <a:pt x="13" y="182"/>
                    </a:lnTo>
                    <a:lnTo>
                      <a:pt x="23" y="166"/>
                    </a:lnTo>
                    <a:lnTo>
                      <a:pt x="26" y="153"/>
                    </a:lnTo>
                    <a:lnTo>
                      <a:pt x="22" y="143"/>
                    </a:lnTo>
                    <a:lnTo>
                      <a:pt x="20" y="130"/>
                    </a:lnTo>
                    <a:lnTo>
                      <a:pt x="19" y="111"/>
                    </a:lnTo>
                    <a:lnTo>
                      <a:pt x="27" y="99"/>
                    </a:lnTo>
                    <a:lnTo>
                      <a:pt x="30" y="86"/>
                    </a:lnTo>
                    <a:lnTo>
                      <a:pt x="39" y="85"/>
                    </a:lnTo>
                    <a:lnTo>
                      <a:pt x="49" y="81"/>
                    </a:lnTo>
                    <a:lnTo>
                      <a:pt x="56" y="77"/>
                    </a:lnTo>
                    <a:lnTo>
                      <a:pt x="64" y="77"/>
                    </a:lnTo>
                    <a:lnTo>
                      <a:pt x="75" y="65"/>
                    </a:lnTo>
                    <a:lnTo>
                      <a:pt x="91" y="53"/>
                    </a:lnTo>
                    <a:lnTo>
                      <a:pt x="97" y="42"/>
                    </a:lnTo>
                    <a:lnTo>
                      <a:pt x="95" y="33"/>
                    </a:lnTo>
                    <a:lnTo>
                      <a:pt x="102" y="36"/>
                    </a:lnTo>
                    <a:lnTo>
                      <a:pt x="113" y="21"/>
                    </a:lnTo>
                    <a:lnTo>
                      <a:pt x="114" y="9"/>
                    </a:lnTo>
                    <a:lnTo>
                      <a:pt x="121" y="0"/>
                    </a:lnTo>
                    <a:lnTo>
                      <a:pt x="127" y="8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0" name="Freeform 120"/>
              <p:cNvSpPr>
                <a:spLocks/>
              </p:cNvSpPr>
              <p:nvPr/>
            </p:nvSpPr>
            <p:spPr bwMode="auto">
              <a:xfrm>
                <a:off x="935037" y="2830512"/>
                <a:ext cx="765175" cy="598488"/>
              </a:xfrm>
              <a:custGeom>
                <a:avLst/>
                <a:gdLst>
                  <a:gd name="T0" fmla="*/ 298 w 482"/>
                  <a:gd name="T1" fmla="*/ 175 h 377"/>
                  <a:gd name="T2" fmla="*/ 288 w 482"/>
                  <a:gd name="T3" fmla="*/ 225 h 377"/>
                  <a:gd name="T4" fmla="*/ 303 w 482"/>
                  <a:gd name="T5" fmla="*/ 266 h 377"/>
                  <a:gd name="T6" fmla="*/ 329 w 482"/>
                  <a:gd name="T7" fmla="*/ 294 h 377"/>
                  <a:gd name="T8" fmla="*/ 366 w 482"/>
                  <a:gd name="T9" fmla="*/ 295 h 377"/>
                  <a:gd name="T10" fmla="*/ 405 w 482"/>
                  <a:gd name="T11" fmla="*/ 279 h 377"/>
                  <a:gd name="T12" fmla="*/ 419 w 482"/>
                  <a:gd name="T13" fmla="*/ 243 h 377"/>
                  <a:gd name="T14" fmla="*/ 468 w 482"/>
                  <a:gd name="T15" fmla="*/ 234 h 377"/>
                  <a:gd name="T16" fmla="*/ 480 w 482"/>
                  <a:gd name="T17" fmla="*/ 246 h 377"/>
                  <a:gd name="T18" fmla="*/ 465 w 482"/>
                  <a:gd name="T19" fmla="*/ 275 h 377"/>
                  <a:gd name="T20" fmla="*/ 451 w 482"/>
                  <a:gd name="T21" fmla="*/ 295 h 377"/>
                  <a:gd name="T22" fmla="*/ 436 w 482"/>
                  <a:gd name="T23" fmla="*/ 308 h 377"/>
                  <a:gd name="T24" fmla="*/ 430 w 482"/>
                  <a:gd name="T25" fmla="*/ 309 h 377"/>
                  <a:gd name="T26" fmla="*/ 395 w 482"/>
                  <a:gd name="T27" fmla="*/ 321 h 377"/>
                  <a:gd name="T28" fmla="*/ 399 w 482"/>
                  <a:gd name="T29" fmla="*/ 333 h 377"/>
                  <a:gd name="T30" fmla="*/ 402 w 482"/>
                  <a:gd name="T31" fmla="*/ 346 h 377"/>
                  <a:gd name="T32" fmla="*/ 370 w 482"/>
                  <a:gd name="T33" fmla="*/ 367 h 377"/>
                  <a:gd name="T34" fmla="*/ 348 w 482"/>
                  <a:gd name="T35" fmla="*/ 355 h 377"/>
                  <a:gd name="T36" fmla="*/ 315 w 482"/>
                  <a:gd name="T37" fmla="*/ 344 h 377"/>
                  <a:gd name="T38" fmla="*/ 278 w 482"/>
                  <a:gd name="T39" fmla="*/ 349 h 377"/>
                  <a:gd name="T40" fmla="*/ 236 w 482"/>
                  <a:gd name="T41" fmla="*/ 332 h 377"/>
                  <a:gd name="T42" fmla="*/ 199 w 482"/>
                  <a:gd name="T43" fmla="*/ 307 h 377"/>
                  <a:gd name="T44" fmla="*/ 165 w 482"/>
                  <a:gd name="T45" fmla="*/ 290 h 377"/>
                  <a:gd name="T46" fmla="*/ 138 w 482"/>
                  <a:gd name="T47" fmla="*/ 255 h 377"/>
                  <a:gd name="T48" fmla="*/ 149 w 482"/>
                  <a:gd name="T49" fmla="*/ 242 h 377"/>
                  <a:gd name="T50" fmla="*/ 146 w 482"/>
                  <a:gd name="T51" fmla="*/ 217 h 377"/>
                  <a:gd name="T52" fmla="*/ 116 w 482"/>
                  <a:gd name="T53" fmla="*/ 169 h 377"/>
                  <a:gd name="T54" fmla="*/ 95 w 482"/>
                  <a:gd name="T55" fmla="*/ 143 h 377"/>
                  <a:gd name="T56" fmla="*/ 85 w 482"/>
                  <a:gd name="T57" fmla="*/ 115 h 377"/>
                  <a:gd name="T58" fmla="*/ 68 w 482"/>
                  <a:gd name="T59" fmla="*/ 88 h 377"/>
                  <a:gd name="T60" fmla="*/ 59 w 482"/>
                  <a:gd name="T61" fmla="*/ 56 h 377"/>
                  <a:gd name="T62" fmla="*/ 50 w 482"/>
                  <a:gd name="T63" fmla="*/ 24 h 377"/>
                  <a:gd name="T64" fmla="*/ 31 w 482"/>
                  <a:gd name="T65" fmla="*/ 27 h 377"/>
                  <a:gd name="T66" fmla="*/ 31 w 482"/>
                  <a:gd name="T67" fmla="*/ 62 h 377"/>
                  <a:gd name="T68" fmla="*/ 43 w 482"/>
                  <a:gd name="T69" fmla="*/ 82 h 377"/>
                  <a:gd name="T70" fmla="*/ 46 w 482"/>
                  <a:gd name="T71" fmla="*/ 102 h 377"/>
                  <a:gd name="T72" fmla="*/ 61 w 482"/>
                  <a:gd name="T73" fmla="*/ 125 h 377"/>
                  <a:gd name="T74" fmla="*/ 67 w 482"/>
                  <a:gd name="T75" fmla="*/ 164 h 377"/>
                  <a:gd name="T76" fmla="*/ 80 w 482"/>
                  <a:gd name="T77" fmla="*/ 185 h 377"/>
                  <a:gd name="T78" fmla="*/ 74 w 482"/>
                  <a:gd name="T79" fmla="*/ 205 h 377"/>
                  <a:gd name="T80" fmla="*/ 59 w 482"/>
                  <a:gd name="T81" fmla="*/ 181 h 377"/>
                  <a:gd name="T82" fmla="*/ 45 w 482"/>
                  <a:gd name="T83" fmla="*/ 150 h 377"/>
                  <a:gd name="T84" fmla="*/ 28 w 482"/>
                  <a:gd name="T85" fmla="*/ 123 h 377"/>
                  <a:gd name="T86" fmla="*/ 13 w 482"/>
                  <a:gd name="T87" fmla="*/ 115 h 377"/>
                  <a:gd name="T88" fmla="*/ 14 w 482"/>
                  <a:gd name="T89" fmla="*/ 103 h 377"/>
                  <a:gd name="T90" fmla="*/ 17 w 482"/>
                  <a:gd name="T91" fmla="*/ 71 h 377"/>
                  <a:gd name="T92" fmla="*/ 4 w 482"/>
                  <a:gd name="T93" fmla="*/ 39 h 377"/>
                  <a:gd name="T94" fmla="*/ 21 w 482"/>
                  <a:gd name="T95" fmla="*/ 2 h 377"/>
                  <a:gd name="T96" fmla="*/ 64 w 482"/>
                  <a:gd name="T97" fmla="*/ 14 h 377"/>
                  <a:gd name="T98" fmla="*/ 148 w 482"/>
                  <a:gd name="T99" fmla="*/ 28 h 377"/>
                  <a:gd name="T100" fmla="*/ 185 w 482"/>
                  <a:gd name="T101" fmla="*/ 27 h 377"/>
                  <a:gd name="T102" fmla="*/ 202 w 482"/>
                  <a:gd name="T103" fmla="*/ 54 h 377"/>
                  <a:gd name="T104" fmla="*/ 224 w 482"/>
                  <a:gd name="T105" fmla="*/ 78 h 377"/>
                  <a:gd name="T106" fmla="*/ 264 w 482"/>
                  <a:gd name="T107" fmla="*/ 69 h 377"/>
                  <a:gd name="T108" fmla="*/ 280 w 482"/>
                  <a:gd name="T109" fmla="*/ 107 h 377"/>
                  <a:gd name="T110" fmla="*/ 296 w 482"/>
                  <a:gd name="T111" fmla="*/ 13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82" h="377">
                    <a:moveTo>
                      <a:pt x="315" y="142"/>
                    </a:moveTo>
                    <a:lnTo>
                      <a:pt x="304" y="160"/>
                    </a:lnTo>
                    <a:lnTo>
                      <a:pt x="298" y="175"/>
                    </a:lnTo>
                    <a:lnTo>
                      <a:pt x="291" y="203"/>
                    </a:lnTo>
                    <a:lnTo>
                      <a:pt x="287" y="213"/>
                    </a:lnTo>
                    <a:lnTo>
                      <a:pt x="288" y="225"/>
                    </a:lnTo>
                    <a:lnTo>
                      <a:pt x="292" y="235"/>
                    </a:lnTo>
                    <a:lnTo>
                      <a:pt x="293" y="251"/>
                    </a:lnTo>
                    <a:lnTo>
                      <a:pt x="303" y="266"/>
                    </a:lnTo>
                    <a:lnTo>
                      <a:pt x="305" y="278"/>
                    </a:lnTo>
                    <a:lnTo>
                      <a:pt x="311" y="288"/>
                    </a:lnTo>
                    <a:lnTo>
                      <a:pt x="329" y="294"/>
                    </a:lnTo>
                    <a:lnTo>
                      <a:pt x="335" y="302"/>
                    </a:lnTo>
                    <a:lnTo>
                      <a:pt x="352" y="297"/>
                    </a:lnTo>
                    <a:lnTo>
                      <a:pt x="366" y="295"/>
                    </a:lnTo>
                    <a:lnTo>
                      <a:pt x="380" y="291"/>
                    </a:lnTo>
                    <a:lnTo>
                      <a:pt x="392" y="287"/>
                    </a:lnTo>
                    <a:lnTo>
                      <a:pt x="405" y="279"/>
                    </a:lnTo>
                    <a:lnTo>
                      <a:pt x="411" y="267"/>
                    </a:lnTo>
                    <a:lnTo>
                      <a:pt x="415" y="249"/>
                    </a:lnTo>
                    <a:lnTo>
                      <a:pt x="419" y="243"/>
                    </a:lnTo>
                    <a:lnTo>
                      <a:pt x="432" y="238"/>
                    </a:lnTo>
                    <a:lnTo>
                      <a:pt x="452" y="233"/>
                    </a:lnTo>
                    <a:lnTo>
                      <a:pt x="468" y="234"/>
                    </a:lnTo>
                    <a:lnTo>
                      <a:pt x="479" y="232"/>
                    </a:lnTo>
                    <a:lnTo>
                      <a:pt x="482" y="236"/>
                    </a:lnTo>
                    <a:lnTo>
                      <a:pt x="480" y="246"/>
                    </a:lnTo>
                    <a:lnTo>
                      <a:pt x="469" y="259"/>
                    </a:lnTo>
                    <a:lnTo>
                      <a:pt x="463" y="271"/>
                    </a:lnTo>
                    <a:lnTo>
                      <a:pt x="465" y="275"/>
                    </a:lnTo>
                    <a:lnTo>
                      <a:pt x="461" y="284"/>
                    </a:lnTo>
                    <a:lnTo>
                      <a:pt x="455" y="300"/>
                    </a:lnTo>
                    <a:lnTo>
                      <a:pt x="451" y="295"/>
                    </a:lnTo>
                    <a:lnTo>
                      <a:pt x="447" y="295"/>
                    </a:lnTo>
                    <a:lnTo>
                      <a:pt x="444" y="295"/>
                    </a:lnTo>
                    <a:lnTo>
                      <a:pt x="436" y="308"/>
                    </a:lnTo>
                    <a:lnTo>
                      <a:pt x="433" y="306"/>
                    </a:lnTo>
                    <a:lnTo>
                      <a:pt x="430" y="306"/>
                    </a:lnTo>
                    <a:lnTo>
                      <a:pt x="430" y="309"/>
                    </a:lnTo>
                    <a:lnTo>
                      <a:pt x="413" y="309"/>
                    </a:lnTo>
                    <a:lnTo>
                      <a:pt x="396" y="309"/>
                    </a:lnTo>
                    <a:lnTo>
                      <a:pt x="395" y="321"/>
                    </a:lnTo>
                    <a:lnTo>
                      <a:pt x="387" y="321"/>
                    </a:lnTo>
                    <a:lnTo>
                      <a:pt x="393" y="328"/>
                    </a:lnTo>
                    <a:lnTo>
                      <a:pt x="399" y="333"/>
                    </a:lnTo>
                    <a:lnTo>
                      <a:pt x="400" y="337"/>
                    </a:lnTo>
                    <a:lnTo>
                      <a:pt x="403" y="338"/>
                    </a:lnTo>
                    <a:lnTo>
                      <a:pt x="402" y="346"/>
                    </a:lnTo>
                    <a:lnTo>
                      <a:pt x="378" y="346"/>
                    </a:lnTo>
                    <a:lnTo>
                      <a:pt x="368" y="363"/>
                    </a:lnTo>
                    <a:lnTo>
                      <a:pt x="370" y="367"/>
                    </a:lnTo>
                    <a:lnTo>
                      <a:pt x="367" y="371"/>
                    </a:lnTo>
                    <a:lnTo>
                      <a:pt x="366" y="377"/>
                    </a:lnTo>
                    <a:lnTo>
                      <a:pt x="348" y="355"/>
                    </a:lnTo>
                    <a:lnTo>
                      <a:pt x="339" y="348"/>
                    </a:lnTo>
                    <a:lnTo>
                      <a:pt x="325" y="343"/>
                    </a:lnTo>
                    <a:lnTo>
                      <a:pt x="315" y="344"/>
                    </a:lnTo>
                    <a:lnTo>
                      <a:pt x="299" y="352"/>
                    </a:lnTo>
                    <a:lnTo>
                      <a:pt x="290" y="354"/>
                    </a:lnTo>
                    <a:lnTo>
                      <a:pt x="278" y="349"/>
                    </a:lnTo>
                    <a:lnTo>
                      <a:pt x="265" y="345"/>
                    </a:lnTo>
                    <a:lnTo>
                      <a:pt x="249" y="335"/>
                    </a:lnTo>
                    <a:lnTo>
                      <a:pt x="236" y="332"/>
                    </a:lnTo>
                    <a:lnTo>
                      <a:pt x="216" y="323"/>
                    </a:lnTo>
                    <a:lnTo>
                      <a:pt x="203" y="313"/>
                    </a:lnTo>
                    <a:lnTo>
                      <a:pt x="199" y="307"/>
                    </a:lnTo>
                    <a:lnTo>
                      <a:pt x="189" y="306"/>
                    </a:lnTo>
                    <a:lnTo>
                      <a:pt x="171" y="299"/>
                    </a:lnTo>
                    <a:lnTo>
                      <a:pt x="165" y="290"/>
                    </a:lnTo>
                    <a:lnTo>
                      <a:pt x="148" y="278"/>
                    </a:lnTo>
                    <a:lnTo>
                      <a:pt x="141" y="265"/>
                    </a:lnTo>
                    <a:lnTo>
                      <a:pt x="138" y="255"/>
                    </a:lnTo>
                    <a:lnTo>
                      <a:pt x="145" y="253"/>
                    </a:lnTo>
                    <a:lnTo>
                      <a:pt x="144" y="247"/>
                    </a:lnTo>
                    <a:lnTo>
                      <a:pt x="149" y="242"/>
                    </a:lnTo>
                    <a:lnTo>
                      <a:pt x="150" y="234"/>
                    </a:lnTo>
                    <a:lnTo>
                      <a:pt x="146" y="225"/>
                    </a:lnTo>
                    <a:lnTo>
                      <a:pt x="146" y="217"/>
                    </a:lnTo>
                    <a:lnTo>
                      <a:pt x="142" y="206"/>
                    </a:lnTo>
                    <a:lnTo>
                      <a:pt x="131" y="186"/>
                    </a:lnTo>
                    <a:lnTo>
                      <a:pt x="116" y="169"/>
                    </a:lnTo>
                    <a:lnTo>
                      <a:pt x="110" y="156"/>
                    </a:lnTo>
                    <a:lnTo>
                      <a:pt x="97" y="148"/>
                    </a:lnTo>
                    <a:lnTo>
                      <a:pt x="95" y="143"/>
                    </a:lnTo>
                    <a:lnTo>
                      <a:pt x="101" y="130"/>
                    </a:lnTo>
                    <a:lnTo>
                      <a:pt x="93" y="125"/>
                    </a:lnTo>
                    <a:lnTo>
                      <a:pt x="85" y="115"/>
                    </a:lnTo>
                    <a:lnTo>
                      <a:pt x="85" y="101"/>
                    </a:lnTo>
                    <a:lnTo>
                      <a:pt x="75" y="99"/>
                    </a:lnTo>
                    <a:lnTo>
                      <a:pt x="68" y="88"/>
                    </a:lnTo>
                    <a:lnTo>
                      <a:pt x="63" y="78"/>
                    </a:lnTo>
                    <a:lnTo>
                      <a:pt x="64" y="72"/>
                    </a:lnTo>
                    <a:lnTo>
                      <a:pt x="59" y="56"/>
                    </a:lnTo>
                    <a:lnTo>
                      <a:pt x="58" y="40"/>
                    </a:lnTo>
                    <a:lnTo>
                      <a:pt x="61" y="32"/>
                    </a:lnTo>
                    <a:lnTo>
                      <a:pt x="50" y="24"/>
                    </a:lnTo>
                    <a:lnTo>
                      <a:pt x="44" y="25"/>
                    </a:lnTo>
                    <a:lnTo>
                      <a:pt x="36" y="19"/>
                    </a:lnTo>
                    <a:lnTo>
                      <a:pt x="31" y="27"/>
                    </a:lnTo>
                    <a:lnTo>
                      <a:pt x="30" y="37"/>
                    </a:lnTo>
                    <a:lnTo>
                      <a:pt x="27" y="53"/>
                    </a:lnTo>
                    <a:lnTo>
                      <a:pt x="31" y="62"/>
                    </a:lnTo>
                    <a:lnTo>
                      <a:pt x="39" y="76"/>
                    </a:lnTo>
                    <a:lnTo>
                      <a:pt x="41" y="81"/>
                    </a:lnTo>
                    <a:lnTo>
                      <a:pt x="43" y="82"/>
                    </a:lnTo>
                    <a:lnTo>
                      <a:pt x="43" y="89"/>
                    </a:lnTo>
                    <a:lnTo>
                      <a:pt x="47" y="89"/>
                    </a:lnTo>
                    <a:lnTo>
                      <a:pt x="46" y="102"/>
                    </a:lnTo>
                    <a:lnTo>
                      <a:pt x="51" y="108"/>
                    </a:lnTo>
                    <a:lnTo>
                      <a:pt x="52" y="115"/>
                    </a:lnTo>
                    <a:lnTo>
                      <a:pt x="61" y="125"/>
                    </a:lnTo>
                    <a:lnTo>
                      <a:pt x="62" y="145"/>
                    </a:lnTo>
                    <a:lnTo>
                      <a:pt x="65" y="154"/>
                    </a:lnTo>
                    <a:lnTo>
                      <a:pt x="67" y="164"/>
                    </a:lnTo>
                    <a:lnTo>
                      <a:pt x="66" y="174"/>
                    </a:lnTo>
                    <a:lnTo>
                      <a:pt x="74" y="175"/>
                    </a:lnTo>
                    <a:lnTo>
                      <a:pt x="80" y="185"/>
                    </a:lnTo>
                    <a:lnTo>
                      <a:pt x="84" y="194"/>
                    </a:lnTo>
                    <a:lnTo>
                      <a:pt x="83" y="198"/>
                    </a:lnTo>
                    <a:lnTo>
                      <a:pt x="74" y="205"/>
                    </a:lnTo>
                    <a:lnTo>
                      <a:pt x="71" y="205"/>
                    </a:lnTo>
                    <a:lnTo>
                      <a:pt x="68" y="193"/>
                    </a:lnTo>
                    <a:lnTo>
                      <a:pt x="59" y="181"/>
                    </a:lnTo>
                    <a:lnTo>
                      <a:pt x="49" y="171"/>
                    </a:lnTo>
                    <a:lnTo>
                      <a:pt x="41" y="165"/>
                    </a:lnTo>
                    <a:lnTo>
                      <a:pt x="45" y="150"/>
                    </a:lnTo>
                    <a:lnTo>
                      <a:pt x="45" y="139"/>
                    </a:lnTo>
                    <a:lnTo>
                      <a:pt x="38" y="133"/>
                    </a:lnTo>
                    <a:lnTo>
                      <a:pt x="28" y="123"/>
                    </a:lnTo>
                    <a:lnTo>
                      <a:pt x="25" y="126"/>
                    </a:lnTo>
                    <a:lnTo>
                      <a:pt x="22" y="121"/>
                    </a:lnTo>
                    <a:lnTo>
                      <a:pt x="13" y="115"/>
                    </a:lnTo>
                    <a:lnTo>
                      <a:pt x="6" y="103"/>
                    </a:lnTo>
                    <a:lnTo>
                      <a:pt x="7" y="102"/>
                    </a:lnTo>
                    <a:lnTo>
                      <a:pt x="14" y="103"/>
                    </a:lnTo>
                    <a:lnTo>
                      <a:pt x="23" y="95"/>
                    </a:lnTo>
                    <a:lnTo>
                      <a:pt x="26" y="86"/>
                    </a:lnTo>
                    <a:lnTo>
                      <a:pt x="17" y="71"/>
                    </a:lnTo>
                    <a:lnTo>
                      <a:pt x="8" y="65"/>
                    </a:lnTo>
                    <a:lnTo>
                      <a:pt x="6" y="52"/>
                    </a:lnTo>
                    <a:lnTo>
                      <a:pt x="4" y="39"/>
                    </a:lnTo>
                    <a:lnTo>
                      <a:pt x="1" y="22"/>
                    </a:lnTo>
                    <a:lnTo>
                      <a:pt x="0" y="4"/>
                    </a:lnTo>
                    <a:lnTo>
                      <a:pt x="21" y="2"/>
                    </a:lnTo>
                    <a:lnTo>
                      <a:pt x="43" y="0"/>
                    </a:lnTo>
                    <a:lnTo>
                      <a:pt x="41" y="4"/>
                    </a:lnTo>
                    <a:lnTo>
                      <a:pt x="64" y="14"/>
                    </a:lnTo>
                    <a:lnTo>
                      <a:pt x="99" y="29"/>
                    </a:lnTo>
                    <a:lnTo>
                      <a:pt x="134" y="28"/>
                    </a:lnTo>
                    <a:lnTo>
                      <a:pt x="148" y="28"/>
                    </a:lnTo>
                    <a:lnTo>
                      <a:pt x="150" y="20"/>
                    </a:lnTo>
                    <a:lnTo>
                      <a:pt x="181" y="20"/>
                    </a:lnTo>
                    <a:lnTo>
                      <a:pt x="185" y="27"/>
                    </a:lnTo>
                    <a:lnTo>
                      <a:pt x="192" y="34"/>
                    </a:lnTo>
                    <a:lnTo>
                      <a:pt x="200" y="43"/>
                    </a:lnTo>
                    <a:lnTo>
                      <a:pt x="202" y="54"/>
                    </a:lnTo>
                    <a:lnTo>
                      <a:pt x="203" y="65"/>
                    </a:lnTo>
                    <a:lnTo>
                      <a:pt x="211" y="71"/>
                    </a:lnTo>
                    <a:lnTo>
                      <a:pt x="224" y="78"/>
                    </a:lnTo>
                    <a:lnTo>
                      <a:pt x="240" y="61"/>
                    </a:lnTo>
                    <a:lnTo>
                      <a:pt x="254" y="61"/>
                    </a:lnTo>
                    <a:lnTo>
                      <a:pt x="264" y="69"/>
                    </a:lnTo>
                    <a:lnTo>
                      <a:pt x="269" y="83"/>
                    </a:lnTo>
                    <a:lnTo>
                      <a:pt x="273" y="95"/>
                    </a:lnTo>
                    <a:lnTo>
                      <a:pt x="280" y="107"/>
                    </a:lnTo>
                    <a:lnTo>
                      <a:pt x="281" y="122"/>
                    </a:lnTo>
                    <a:lnTo>
                      <a:pt x="283" y="132"/>
                    </a:lnTo>
                    <a:lnTo>
                      <a:pt x="296" y="138"/>
                    </a:lnTo>
                    <a:lnTo>
                      <a:pt x="307" y="143"/>
                    </a:lnTo>
                    <a:lnTo>
                      <a:pt x="315" y="142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1" name="Freeform 121"/>
              <p:cNvSpPr>
                <a:spLocks/>
              </p:cNvSpPr>
              <p:nvPr/>
            </p:nvSpPr>
            <p:spPr bwMode="auto">
              <a:xfrm>
                <a:off x="4727575" y="2516187"/>
                <a:ext cx="66675" cy="47625"/>
              </a:xfrm>
              <a:custGeom>
                <a:avLst/>
                <a:gdLst>
                  <a:gd name="T0" fmla="*/ 2 w 42"/>
                  <a:gd name="T1" fmla="*/ 9 h 30"/>
                  <a:gd name="T2" fmla="*/ 4 w 42"/>
                  <a:gd name="T3" fmla="*/ 9 h 30"/>
                  <a:gd name="T4" fmla="*/ 4 w 42"/>
                  <a:gd name="T5" fmla="*/ 5 h 30"/>
                  <a:gd name="T6" fmla="*/ 14 w 42"/>
                  <a:gd name="T7" fmla="*/ 2 h 30"/>
                  <a:gd name="T8" fmla="*/ 17 w 42"/>
                  <a:gd name="T9" fmla="*/ 1 h 30"/>
                  <a:gd name="T10" fmla="*/ 23 w 42"/>
                  <a:gd name="T11" fmla="*/ 0 h 30"/>
                  <a:gd name="T12" fmla="*/ 31 w 42"/>
                  <a:gd name="T13" fmla="*/ 0 h 30"/>
                  <a:gd name="T14" fmla="*/ 40 w 42"/>
                  <a:gd name="T15" fmla="*/ 6 h 30"/>
                  <a:gd name="T16" fmla="*/ 42 w 42"/>
                  <a:gd name="T17" fmla="*/ 20 h 30"/>
                  <a:gd name="T18" fmla="*/ 39 w 42"/>
                  <a:gd name="T19" fmla="*/ 20 h 30"/>
                  <a:gd name="T20" fmla="*/ 37 w 42"/>
                  <a:gd name="T21" fmla="*/ 24 h 30"/>
                  <a:gd name="T22" fmla="*/ 28 w 42"/>
                  <a:gd name="T23" fmla="*/ 24 h 30"/>
                  <a:gd name="T24" fmla="*/ 22 w 42"/>
                  <a:gd name="T25" fmla="*/ 28 h 30"/>
                  <a:gd name="T26" fmla="*/ 11 w 42"/>
                  <a:gd name="T27" fmla="*/ 30 h 30"/>
                  <a:gd name="T28" fmla="*/ 3 w 42"/>
                  <a:gd name="T29" fmla="*/ 25 h 30"/>
                  <a:gd name="T30" fmla="*/ 0 w 42"/>
                  <a:gd name="T31" fmla="*/ 16 h 30"/>
                  <a:gd name="T32" fmla="*/ 2 w 42"/>
                  <a:gd name="T33" fmla="*/ 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2" h="30">
                    <a:moveTo>
                      <a:pt x="2" y="9"/>
                    </a:moveTo>
                    <a:lnTo>
                      <a:pt x="4" y="9"/>
                    </a:lnTo>
                    <a:lnTo>
                      <a:pt x="4" y="5"/>
                    </a:lnTo>
                    <a:lnTo>
                      <a:pt x="14" y="2"/>
                    </a:lnTo>
                    <a:lnTo>
                      <a:pt x="17" y="1"/>
                    </a:lnTo>
                    <a:lnTo>
                      <a:pt x="23" y="0"/>
                    </a:lnTo>
                    <a:lnTo>
                      <a:pt x="31" y="0"/>
                    </a:lnTo>
                    <a:lnTo>
                      <a:pt x="40" y="6"/>
                    </a:lnTo>
                    <a:lnTo>
                      <a:pt x="42" y="20"/>
                    </a:lnTo>
                    <a:lnTo>
                      <a:pt x="39" y="20"/>
                    </a:lnTo>
                    <a:lnTo>
                      <a:pt x="37" y="24"/>
                    </a:lnTo>
                    <a:lnTo>
                      <a:pt x="28" y="24"/>
                    </a:lnTo>
                    <a:lnTo>
                      <a:pt x="22" y="28"/>
                    </a:lnTo>
                    <a:lnTo>
                      <a:pt x="11" y="30"/>
                    </a:lnTo>
                    <a:lnTo>
                      <a:pt x="3" y="25"/>
                    </a:lnTo>
                    <a:lnTo>
                      <a:pt x="0" y="16"/>
                    </a:lnTo>
                    <a:lnTo>
                      <a:pt x="2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2" name="Freeform 122"/>
              <p:cNvSpPr>
                <a:spLocks/>
              </p:cNvSpPr>
              <p:nvPr/>
            </p:nvSpPr>
            <p:spPr bwMode="auto">
              <a:xfrm>
                <a:off x="3830637" y="3086100"/>
                <a:ext cx="474663" cy="490538"/>
              </a:xfrm>
              <a:custGeom>
                <a:avLst/>
                <a:gdLst>
                  <a:gd name="T0" fmla="*/ 6 w 299"/>
                  <a:gd name="T1" fmla="*/ 211 h 309"/>
                  <a:gd name="T2" fmla="*/ 15 w 299"/>
                  <a:gd name="T3" fmla="*/ 198 h 309"/>
                  <a:gd name="T4" fmla="*/ 38 w 299"/>
                  <a:gd name="T5" fmla="*/ 200 h 309"/>
                  <a:gd name="T6" fmla="*/ 48 w 299"/>
                  <a:gd name="T7" fmla="*/ 197 h 309"/>
                  <a:gd name="T8" fmla="*/ 125 w 299"/>
                  <a:gd name="T9" fmla="*/ 182 h 309"/>
                  <a:gd name="T10" fmla="*/ 114 w 299"/>
                  <a:gd name="T11" fmla="*/ 90 h 309"/>
                  <a:gd name="T12" fmla="*/ 133 w 299"/>
                  <a:gd name="T13" fmla="*/ 0 h 309"/>
                  <a:gd name="T14" fmla="*/ 254 w 299"/>
                  <a:gd name="T15" fmla="*/ 90 h 309"/>
                  <a:gd name="T16" fmla="*/ 270 w 299"/>
                  <a:gd name="T17" fmla="*/ 106 h 309"/>
                  <a:gd name="T18" fmla="*/ 278 w 299"/>
                  <a:gd name="T19" fmla="*/ 123 h 309"/>
                  <a:gd name="T20" fmla="*/ 299 w 299"/>
                  <a:gd name="T21" fmla="*/ 168 h 309"/>
                  <a:gd name="T22" fmla="*/ 287 w 299"/>
                  <a:gd name="T23" fmla="*/ 195 h 309"/>
                  <a:gd name="T24" fmla="*/ 246 w 299"/>
                  <a:gd name="T25" fmla="*/ 200 h 309"/>
                  <a:gd name="T26" fmla="*/ 228 w 299"/>
                  <a:gd name="T27" fmla="*/ 208 h 309"/>
                  <a:gd name="T28" fmla="*/ 212 w 299"/>
                  <a:gd name="T29" fmla="*/ 204 h 309"/>
                  <a:gd name="T30" fmla="*/ 185 w 299"/>
                  <a:gd name="T31" fmla="*/ 216 h 309"/>
                  <a:gd name="T32" fmla="*/ 167 w 299"/>
                  <a:gd name="T33" fmla="*/ 232 h 309"/>
                  <a:gd name="T34" fmla="*/ 157 w 299"/>
                  <a:gd name="T35" fmla="*/ 241 h 309"/>
                  <a:gd name="T36" fmla="*/ 143 w 299"/>
                  <a:gd name="T37" fmla="*/ 244 h 309"/>
                  <a:gd name="T38" fmla="*/ 126 w 299"/>
                  <a:gd name="T39" fmla="*/ 275 h 309"/>
                  <a:gd name="T40" fmla="*/ 121 w 299"/>
                  <a:gd name="T41" fmla="*/ 291 h 309"/>
                  <a:gd name="T42" fmla="*/ 115 w 299"/>
                  <a:gd name="T43" fmla="*/ 306 h 309"/>
                  <a:gd name="T44" fmla="*/ 108 w 299"/>
                  <a:gd name="T45" fmla="*/ 300 h 309"/>
                  <a:gd name="T46" fmla="*/ 99 w 299"/>
                  <a:gd name="T47" fmla="*/ 302 h 309"/>
                  <a:gd name="T48" fmla="*/ 82 w 299"/>
                  <a:gd name="T49" fmla="*/ 307 h 309"/>
                  <a:gd name="T50" fmla="*/ 75 w 299"/>
                  <a:gd name="T51" fmla="*/ 306 h 309"/>
                  <a:gd name="T52" fmla="*/ 70 w 299"/>
                  <a:gd name="T53" fmla="*/ 294 h 309"/>
                  <a:gd name="T54" fmla="*/ 64 w 299"/>
                  <a:gd name="T55" fmla="*/ 294 h 309"/>
                  <a:gd name="T56" fmla="*/ 68 w 299"/>
                  <a:gd name="T57" fmla="*/ 282 h 309"/>
                  <a:gd name="T58" fmla="*/ 59 w 299"/>
                  <a:gd name="T59" fmla="*/ 267 h 309"/>
                  <a:gd name="T60" fmla="*/ 51 w 299"/>
                  <a:gd name="T61" fmla="*/ 262 h 309"/>
                  <a:gd name="T62" fmla="*/ 41 w 299"/>
                  <a:gd name="T63" fmla="*/ 268 h 309"/>
                  <a:gd name="T64" fmla="*/ 28 w 299"/>
                  <a:gd name="T65" fmla="*/ 271 h 309"/>
                  <a:gd name="T66" fmla="*/ 20 w 299"/>
                  <a:gd name="T67" fmla="*/ 265 h 309"/>
                  <a:gd name="T68" fmla="*/ 12 w 299"/>
                  <a:gd name="T69" fmla="*/ 267 h 309"/>
                  <a:gd name="T70" fmla="*/ 12 w 299"/>
                  <a:gd name="T71" fmla="*/ 253 h 309"/>
                  <a:gd name="T72" fmla="*/ 4 w 299"/>
                  <a:gd name="T73" fmla="*/ 240 h 309"/>
                  <a:gd name="T74" fmla="*/ 0 w 299"/>
                  <a:gd name="T75" fmla="*/ 215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9" h="309">
                    <a:moveTo>
                      <a:pt x="0" y="215"/>
                    </a:moveTo>
                    <a:lnTo>
                      <a:pt x="6" y="211"/>
                    </a:lnTo>
                    <a:lnTo>
                      <a:pt x="9" y="199"/>
                    </a:lnTo>
                    <a:lnTo>
                      <a:pt x="15" y="198"/>
                    </a:lnTo>
                    <a:lnTo>
                      <a:pt x="28" y="204"/>
                    </a:lnTo>
                    <a:lnTo>
                      <a:pt x="38" y="200"/>
                    </a:lnTo>
                    <a:lnTo>
                      <a:pt x="45" y="201"/>
                    </a:lnTo>
                    <a:lnTo>
                      <a:pt x="48" y="197"/>
                    </a:lnTo>
                    <a:lnTo>
                      <a:pt x="121" y="196"/>
                    </a:lnTo>
                    <a:lnTo>
                      <a:pt x="125" y="182"/>
                    </a:lnTo>
                    <a:lnTo>
                      <a:pt x="122" y="179"/>
                    </a:lnTo>
                    <a:lnTo>
                      <a:pt x="114" y="90"/>
                    </a:lnTo>
                    <a:lnTo>
                      <a:pt x="106" y="0"/>
                    </a:lnTo>
                    <a:lnTo>
                      <a:pt x="133" y="0"/>
                    </a:lnTo>
                    <a:lnTo>
                      <a:pt x="193" y="45"/>
                    </a:lnTo>
                    <a:lnTo>
                      <a:pt x="254" y="90"/>
                    </a:lnTo>
                    <a:lnTo>
                      <a:pt x="258" y="100"/>
                    </a:lnTo>
                    <a:lnTo>
                      <a:pt x="270" y="106"/>
                    </a:lnTo>
                    <a:lnTo>
                      <a:pt x="278" y="109"/>
                    </a:lnTo>
                    <a:lnTo>
                      <a:pt x="278" y="123"/>
                    </a:lnTo>
                    <a:lnTo>
                      <a:pt x="298" y="120"/>
                    </a:lnTo>
                    <a:lnTo>
                      <a:pt x="299" y="168"/>
                    </a:lnTo>
                    <a:lnTo>
                      <a:pt x="289" y="182"/>
                    </a:lnTo>
                    <a:lnTo>
                      <a:pt x="287" y="195"/>
                    </a:lnTo>
                    <a:lnTo>
                      <a:pt x="271" y="198"/>
                    </a:lnTo>
                    <a:lnTo>
                      <a:pt x="246" y="200"/>
                    </a:lnTo>
                    <a:lnTo>
                      <a:pt x="240" y="207"/>
                    </a:lnTo>
                    <a:lnTo>
                      <a:pt x="228" y="208"/>
                    </a:lnTo>
                    <a:lnTo>
                      <a:pt x="216" y="208"/>
                    </a:lnTo>
                    <a:lnTo>
                      <a:pt x="212" y="204"/>
                    </a:lnTo>
                    <a:lnTo>
                      <a:pt x="202" y="207"/>
                    </a:lnTo>
                    <a:lnTo>
                      <a:pt x="185" y="216"/>
                    </a:lnTo>
                    <a:lnTo>
                      <a:pt x="182" y="222"/>
                    </a:lnTo>
                    <a:lnTo>
                      <a:pt x="167" y="232"/>
                    </a:lnTo>
                    <a:lnTo>
                      <a:pt x="165" y="237"/>
                    </a:lnTo>
                    <a:lnTo>
                      <a:pt x="157" y="241"/>
                    </a:lnTo>
                    <a:lnTo>
                      <a:pt x="148" y="238"/>
                    </a:lnTo>
                    <a:lnTo>
                      <a:pt x="143" y="244"/>
                    </a:lnTo>
                    <a:lnTo>
                      <a:pt x="140" y="258"/>
                    </a:lnTo>
                    <a:lnTo>
                      <a:pt x="126" y="275"/>
                    </a:lnTo>
                    <a:lnTo>
                      <a:pt x="126" y="282"/>
                    </a:lnTo>
                    <a:lnTo>
                      <a:pt x="121" y="291"/>
                    </a:lnTo>
                    <a:lnTo>
                      <a:pt x="122" y="303"/>
                    </a:lnTo>
                    <a:lnTo>
                      <a:pt x="115" y="306"/>
                    </a:lnTo>
                    <a:lnTo>
                      <a:pt x="111" y="309"/>
                    </a:lnTo>
                    <a:lnTo>
                      <a:pt x="108" y="300"/>
                    </a:lnTo>
                    <a:lnTo>
                      <a:pt x="103" y="302"/>
                    </a:lnTo>
                    <a:lnTo>
                      <a:pt x="99" y="302"/>
                    </a:lnTo>
                    <a:lnTo>
                      <a:pt x="96" y="308"/>
                    </a:lnTo>
                    <a:lnTo>
                      <a:pt x="82" y="307"/>
                    </a:lnTo>
                    <a:lnTo>
                      <a:pt x="77" y="305"/>
                    </a:lnTo>
                    <a:lnTo>
                      <a:pt x="75" y="306"/>
                    </a:lnTo>
                    <a:lnTo>
                      <a:pt x="69" y="300"/>
                    </a:lnTo>
                    <a:lnTo>
                      <a:pt x="70" y="294"/>
                    </a:lnTo>
                    <a:lnTo>
                      <a:pt x="68" y="292"/>
                    </a:lnTo>
                    <a:lnTo>
                      <a:pt x="64" y="294"/>
                    </a:lnTo>
                    <a:lnTo>
                      <a:pt x="65" y="287"/>
                    </a:lnTo>
                    <a:lnTo>
                      <a:pt x="68" y="282"/>
                    </a:lnTo>
                    <a:lnTo>
                      <a:pt x="61" y="273"/>
                    </a:lnTo>
                    <a:lnTo>
                      <a:pt x="59" y="267"/>
                    </a:lnTo>
                    <a:lnTo>
                      <a:pt x="55" y="263"/>
                    </a:lnTo>
                    <a:lnTo>
                      <a:pt x="51" y="262"/>
                    </a:lnTo>
                    <a:lnTo>
                      <a:pt x="47" y="265"/>
                    </a:lnTo>
                    <a:lnTo>
                      <a:pt x="41" y="268"/>
                    </a:lnTo>
                    <a:lnTo>
                      <a:pt x="36" y="272"/>
                    </a:lnTo>
                    <a:lnTo>
                      <a:pt x="28" y="271"/>
                    </a:lnTo>
                    <a:lnTo>
                      <a:pt x="23" y="265"/>
                    </a:lnTo>
                    <a:lnTo>
                      <a:pt x="20" y="265"/>
                    </a:lnTo>
                    <a:lnTo>
                      <a:pt x="15" y="267"/>
                    </a:lnTo>
                    <a:lnTo>
                      <a:pt x="12" y="267"/>
                    </a:lnTo>
                    <a:lnTo>
                      <a:pt x="11" y="260"/>
                    </a:lnTo>
                    <a:lnTo>
                      <a:pt x="12" y="253"/>
                    </a:lnTo>
                    <a:lnTo>
                      <a:pt x="11" y="245"/>
                    </a:lnTo>
                    <a:lnTo>
                      <a:pt x="4" y="240"/>
                    </a:lnTo>
                    <a:lnTo>
                      <a:pt x="0" y="228"/>
                    </a:lnTo>
                    <a:lnTo>
                      <a:pt x="0" y="215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3" name="Freeform 123"/>
              <p:cNvSpPr>
                <a:spLocks/>
              </p:cNvSpPr>
              <p:nvPr/>
            </p:nvSpPr>
            <p:spPr bwMode="auto">
              <a:xfrm>
                <a:off x="6819900" y="2974975"/>
                <a:ext cx="254000" cy="606425"/>
              </a:xfrm>
              <a:custGeom>
                <a:avLst/>
                <a:gdLst>
                  <a:gd name="T0" fmla="*/ 126 w 160"/>
                  <a:gd name="T1" fmla="*/ 178 h 382"/>
                  <a:gd name="T2" fmla="*/ 108 w 160"/>
                  <a:gd name="T3" fmla="*/ 201 h 382"/>
                  <a:gd name="T4" fmla="*/ 112 w 160"/>
                  <a:gd name="T5" fmla="*/ 223 h 382"/>
                  <a:gd name="T6" fmla="*/ 135 w 160"/>
                  <a:gd name="T7" fmla="*/ 252 h 382"/>
                  <a:gd name="T8" fmla="*/ 125 w 160"/>
                  <a:gd name="T9" fmla="*/ 274 h 382"/>
                  <a:gd name="T10" fmla="*/ 144 w 160"/>
                  <a:gd name="T11" fmla="*/ 301 h 382"/>
                  <a:gd name="T12" fmla="*/ 148 w 160"/>
                  <a:gd name="T13" fmla="*/ 322 h 382"/>
                  <a:gd name="T14" fmla="*/ 149 w 160"/>
                  <a:gd name="T15" fmla="*/ 361 h 382"/>
                  <a:gd name="T16" fmla="*/ 139 w 160"/>
                  <a:gd name="T17" fmla="*/ 367 h 382"/>
                  <a:gd name="T18" fmla="*/ 136 w 160"/>
                  <a:gd name="T19" fmla="*/ 338 h 382"/>
                  <a:gd name="T20" fmla="*/ 126 w 160"/>
                  <a:gd name="T21" fmla="*/ 305 h 382"/>
                  <a:gd name="T22" fmla="*/ 112 w 160"/>
                  <a:gd name="T23" fmla="*/ 254 h 382"/>
                  <a:gd name="T24" fmla="*/ 91 w 160"/>
                  <a:gd name="T25" fmla="*/ 247 h 382"/>
                  <a:gd name="T26" fmla="*/ 62 w 160"/>
                  <a:gd name="T27" fmla="*/ 260 h 382"/>
                  <a:gd name="T28" fmla="*/ 53 w 160"/>
                  <a:gd name="T29" fmla="*/ 229 h 382"/>
                  <a:gd name="T30" fmla="*/ 29 w 160"/>
                  <a:gd name="T31" fmla="*/ 186 h 382"/>
                  <a:gd name="T32" fmla="*/ 19 w 160"/>
                  <a:gd name="T33" fmla="*/ 176 h 382"/>
                  <a:gd name="T34" fmla="*/ 0 w 160"/>
                  <a:gd name="T35" fmla="*/ 142 h 382"/>
                  <a:gd name="T36" fmla="*/ 4 w 160"/>
                  <a:gd name="T37" fmla="*/ 131 h 382"/>
                  <a:gd name="T38" fmla="*/ 9 w 160"/>
                  <a:gd name="T39" fmla="*/ 117 h 382"/>
                  <a:gd name="T40" fmla="*/ 9 w 160"/>
                  <a:gd name="T41" fmla="*/ 88 h 382"/>
                  <a:gd name="T42" fmla="*/ 28 w 160"/>
                  <a:gd name="T43" fmla="*/ 76 h 382"/>
                  <a:gd name="T44" fmla="*/ 33 w 160"/>
                  <a:gd name="T45" fmla="*/ 48 h 382"/>
                  <a:gd name="T46" fmla="*/ 50 w 160"/>
                  <a:gd name="T47" fmla="*/ 22 h 382"/>
                  <a:gd name="T48" fmla="*/ 59 w 160"/>
                  <a:gd name="T49" fmla="*/ 13 h 382"/>
                  <a:gd name="T50" fmla="*/ 61 w 160"/>
                  <a:gd name="T51" fmla="*/ 1 h 382"/>
                  <a:gd name="T52" fmla="*/ 80 w 160"/>
                  <a:gd name="T53" fmla="*/ 12 h 382"/>
                  <a:gd name="T54" fmla="*/ 93 w 160"/>
                  <a:gd name="T55" fmla="*/ 33 h 382"/>
                  <a:gd name="T56" fmla="*/ 83 w 160"/>
                  <a:gd name="T57" fmla="*/ 67 h 382"/>
                  <a:gd name="T58" fmla="*/ 104 w 160"/>
                  <a:gd name="T59" fmla="*/ 89 h 382"/>
                  <a:gd name="T60" fmla="*/ 124 w 160"/>
                  <a:gd name="T61" fmla="*/ 112 h 382"/>
                  <a:gd name="T62" fmla="*/ 137 w 160"/>
                  <a:gd name="T63" fmla="*/ 137 h 382"/>
                  <a:gd name="T64" fmla="*/ 158 w 160"/>
                  <a:gd name="T65" fmla="*/ 134 h 382"/>
                  <a:gd name="T66" fmla="*/ 147 w 160"/>
                  <a:gd name="T67" fmla="*/ 156 h 382"/>
                  <a:gd name="T68" fmla="*/ 135 w 160"/>
                  <a:gd name="T69" fmla="*/ 169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60" h="382">
                    <a:moveTo>
                      <a:pt x="135" y="169"/>
                    </a:moveTo>
                    <a:lnTo>
                      <a:pt x="126" y="178"/>
                    </a:lnTo>
                    <a:lnTo>
                      <a:pt x="113" y="179"/>
                    </a:lnTo>
                    <a:lnTo>
                      <a:pt x="108" y="201"/>
                    </a:lnTo>
                    <a:lnTo>
                      <a:pt x="101" y="205"/>
                    </a:lnTo>
                    <a:lnTo>
                      <a:pt x="112" y="223"/>
                    </a:lnTo>
                    <a:lnTo>
                      <a:pt x="126" y="239"/>
                    </a:lnTo>
                    <a:lnTo>
                      <a:pt x="135" y="252"/>
                    </a:lnTo>
                    <a:lnTo>
                      <a:pt x="131" y="270"/>
                    </a:lnTo>
                    <a:lnTo>
                      <a:pt x="125" y="274"/>
                    </a:lnTo>
                    <a:lnTo>
                      <a:pt x="130" y="285"/>
                    </a:lnTo>
                    <a:lnTo>
                      <a:pt x="144" y="301"/>
                    </a:lnTo>
                    <a:lnTo>
                      <a:pt x="147" y="313"/>
                    </a:lnTo>
                    <a:lnTo>
                      <a:pt x="148" y="322"/>
                    </a:lnTo>
                    <a:lnTo>
                      <a:pt x="157" y="341"/>
                    </a:lnTo>
                    <a:lnTo>
                      <a:pt x="149" y="361"/>
                    </a:lnTo>
                    <a:lnTo>
                      <a:pt x="142" y="382"/>
                    </a:lnTo>
                    <a:lnTo>
                      <a:pt x="139" y="367"/>
                    </a:lnTo>
                    <a:lnTo>
                      <a:pt x="143" y="351"/>
                    </a:lnTo>
                    <a:lnTo>
                      <a:pt x="136" y="338"/>
                    </a:lnTo>
                    <a:lnTo>
                      <a:pt x="135" y="316"/>
                    </a:lnTo>
                    <a:lnTo>
                      <a:pt x="126" y="305"/>
                    </a:lnTo>
                    <a:lnTo>
                      <a:pt x="118" y="280"/>
                    </a:lnTo>
                    <a:lnTo>
                      <a:pt x="112" y="254"/>
                    </a:lnTo>
                    <a:lnTo>
                      <a:pt x="102" y="237"/>
                    </a:lnTo>
                    <a:lnTo>
                      <a:pt x="91" y="247"/>
                    </a:lnTo>
                    <a:lnTo>
                      <a:pt x="72" y="262"/>
                    </a:lnTo>
                    <a:lnTo>
                      <a:pt x="62" y="260"/>
                    </a:lnTo>
                    <a:lnTo>
                      <a:pt x="50" y="255"/>
                    </a:lnTo>
                    <a:lnTo>
                      <a:pt x="53" y="229"/>
                    </a:lnTo>
                    <a:lnTo>
                      <a:pt x="46" y="210"/>
                    </a:lnTo>
                    <a:lnTo>
                      <a:pt x="29" y="186"/>
                    </a:lnTo>
                    <a:lnTo>
                      <a:pt x="30" y="179"/>
                    </a:lnTo>
                    <a:lnTo>
                      <a:pt x="19" y="176"/>
                    </a:lnTo>
                    <a:lnTo>
                      <a:pt x="4" y="159"/>
                    </a:lnTo>
                    <a:lnTo>
                      <a:pt x="0" y="142"/>
                    </a:lnTo>
                    <a:lnTo>
                      <a:pt x="7" y="145"/>
                    </a:lnTo>
                    <a:lnTo>
                      <a:pt x="4" y="131"/>
                    </a:lnTo>
                    <a:lnTo>
                      <a:pt x="12" y="125"/>
                    </a:lnTo>
                    <a:lnTo>
                      <a:pt x="9" y="117"/>
                    </a:lnTo>
                    <a:lnTo>
                      <a:pt x="12" y="110"/>
                    </a:lnTo>
                    <a:lnTo>
                      <a:pt x="9" y="88"/>
                    </a:lnTo>
                    <a:lnTo>
                      <a:pt x="23" y="93"/>
                    </a:lnTo>
                    <a:lnTo>
                      <a:pt x="28" y="76"/>
                    </a:lnTo>
                    <a:lnTo>
                      <a:pt x="27" y="66"/>
                    </a:lnTo>
                    <a:lnTo>
                      <a:pt x="33" y="48"/>
                    </a:lnTo>
                    <a:lnTo>
                      <a:pt x="30" y="36"/>
                    </a:lnTo>
                    <a:lnTo>
                      <a:pt x="50" y="22"/>
                    </a:lnTo>
                    <a:lnTo>
                      <a:pt x="64" y="26"/>
                    </a:lnTo>
                    <a:lnTo>
                      <a:pt x="59" y="13"/>
                    </a:lnTo>
                    <a:lnTo>
                      <a:pt x="64" y="9"/>
                    </a:lnTo>
                    <a:lnTo>
                      <a:pt x="61" y="1"/>
                    </a:lnTo>
                    <a:lnTo>
                      <a:pt x="71" y="0"/>
                    </a:lnTo>
                    <a:lnTo>
                      <a:pt x="80" y="12"/>
                    </a:lnTo>
                    <a:lnTo>
                      <a:pt x="89" y="17"/>
                    </a:lnTo>
                    <a:lnTo>
                      <a:pt x="93" y="33"/>
                    </a:lnTo>
                    <a:lnTo>
                      <a:pt x="96" y="50"/>
                    </a:lnTo>
                    <a:lnTo>
                      <a:pt x="83" y="67"/>
                    </a:lnTo>
                    <a:lnTo>
                      <a:pt x="86" y="92"/>
                    </a:lnTo>
                    <a:lnTo>
                      <a:pt x="104" y="89"/>
                    </a:lnTo>
                    <a:lnTo>
                      <a:pt x="112" y="108"/>
                    </a:lnTo>
                    <a:lnTo>
                      <a:pt x="124" y="112"/>
                    </a:lnTo>
                    <a:lnTo>
                      <a:pt x="122" y="129"/>
                    </a:lnTo>
                    <a:lnTo>
                      <a:pt x="137" y="137"/>
                    </a:lnTo>
                    <a:lnTo>
                      <a:pt x="146" y="141"/>
                    </a:lnTo>
                    <a:lnTo>
                      <a:pt x="158" y="134"/>
                    </a:lnTo>
                    <a:lnTo>
                      <a:pt x="160" y="143"/>
                    </a:lnTo>
                    <a:lnTo>
                      <a:pt x="147" y="156"/>
                    </a:lnTo>
                    <a:lnTo>
                      <a:pt x="144" y="164"/>
                    </a:lnTo>
                    <a:lnTo>
                      <a:pt x="135" y="169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4" name="Freeform 124"/>
              <p:cNvSpPr>
                <a:spLocks/>
              </p:cNvSpPr>
              <p:nvPr/>
            </p:nvSpPr>
            <p:spPr bwMode="auto">
              <a:xfrm>
                <a:off x="4672012" y="2476500"/>
                <a:ext cx="49213" cy="53975"/>
              </a:xfrm>
              <a:custGeom>
                <a:avLst/>
                <a:gdLst>
                  <a:gd name="T0" fmla="*/ 22 w 31"/>
                  <a:gd name="T1" fmla="*/ 21 h 34"/>
                  <a:gd name="T2" fmla="*/ 21 w 31"/>
                  <a:gd name="T3" fmla="*/ 17 h 34"/>
                  <a:gd name="T4" fmla="*/ 15 w 31"/>
                  <a:gd name="T5" fmla="*/ 27 h 34"/>
                  <a:gd name="T6" fmla="*/ 16 w 31"/>
                  <a:gd name="T7" fmla="*/ 34 h 34"/>
                  <a:gd name="T8" fmla="*/ 13 w 31"/>
                  <a:gd name="T9" fmla="*/ 32 h 34"/>
                  <a:gd name="T10" fmla="*/ 7 w 31"/>
                  <a:gd name="T11" fmla="*/ 25 h 34"/>
                  <a:gd name="T12" fmla="*/ 0 w 31"/>
                  <a:gd name="T13" fmla="*/ 21 h 34"/>
                  <a:gd name="T14" fmla="*/ 1 w 31"/>
                  <a:gd name="T15" fmla="*/ 18 h 34"/>
                  <a:gd name="T16" fmla="*/ 3 w 31"/>
                  <a:gd name="T17" fmla="*/ 7 h 34"/>
                  <a:gd name="T18" fmla="*/ 8 w 31"/>
                  <a:gd name="T19" fmla="*/ 2 h 34"/>
                  <a:gd name="T20" fmla="*/ 11 w 31"/>
                  <a:gd name="T21" fmla="*/ 0 h 34"/>
                  <a:gd name="T22" fmla="*/ 16 w 31"/>
                  <a:gd name="T23" fmla="*/ 3 h 34"/>
                  <a:gd name="T24" fmla="*/ 18 w 31"/>
                  <a:gd name="T25" fmla="*/ 6 h 34"/>
                  <a:gd name="T26" fmla="*/ 24 w 31"/>
                  <a:gd name="T27" fmla="*/ 9 h 34"/>
                  <a:gd name="T28" fmla="*/ 31 w 31"/>
                  <a:gd name="T29" fmla="*/ 13 h 34"/>
                  <a:gd name="T30" fmla="*/ 29 w 31"/>
                  <a:gd name="T31" fmla="*/ 14 h 34"/>
                  <a:gd name="T32" fmla="*/ 27 w 31"/>
                  <a:gd name="T33" fmla="*/ 19 h 34"/>
                  <a:gd name="T34" fmla="*/ 22 w 31"/>
                  <a:gd name="T35" fmla="*/ 2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1" h="34">
                    <a:moveTo>
                      <a:pt x="22" y="21"/>
                    </a:moveTo>
                    <a:lnTo>
                      <a:pt x="21" y="17"/>
                    </a:lnTo>
                    <a:lnTo>
                      <a:pt x="15" y="27"/>
                    </a:lnTo>
                    <a:lnTo>
                      <a:pt x="16" y="34"/>
                    </a:lnTo>
                    <a:lnTo>
                      <a:pt x="13" y="32"/>
                    </a:lnTo>
                    <a:lnTo>
                      <a:pt x="7" y="25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3" y="7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16" y="3"/>
                    </a:lnTo>
                    <a:lnTo>
                      <a:pt x="18" y="6"/>
                    </a:lnTo>
                    <a:lnTo>
                      <a:pt x="24" y="9"/>
                    </a:lnTo>
                    <a:lnTo>
                      <a:pt x="31" y="13"/>
                    </a:lnTo>
                    <a:lnTo>
                      <a:pt x="29" y="14"/>
                    </a:lnTo>
                    <a:lnTo>
                      <a:pt x="27" y="19"/>
                    </a:lnTo>
                    <a:lnTo>
                      <a:pt x="22" y="21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5" name="Freeform 125"/>
              <p:cNvSpPr>
                <a:spLocks/>
              </p:cNvSpPr>
              <p:nvPr/>
            </p:nvSpPr>
            <p:spPr bwMode="auto">
              <a:xfrm>
                <a:off x="6416675" y="2201862"/>
                <a:ext cx="865188" cy="338138"/>
              </a:xfrm>
              <a:custGeom>
                <a:avLst/>
                <a:gdLst>
                  <a:gd name="T0" fmla="*/ 15 w 545"/>
                  <a:gd name="T1" fmla="*/ 52 h 213"/>
                  <a:gd name="T2" fmla="*/ 57 w 545"/>
                  <a:gd name="T3" fmla="*/ 25 h 213"/>
                  <a:gd name="T4" fmla="*/ 90 w 545"/>
                  <a:gd name="T5" fmla="*/ 31 h 213"/>
                  <a:gd name="T6" fmla="*/ 122 w 545"/>
                  <a:gd name="T7" fmla="*/ 42 h 213"/>
                  <a:gd name="T8" fmla="*/ 156 w 545"/>
                  <a:gd name="T9" fmla="*/ 33 h 213"/>
                  <a:gd name="T10" fmla="*/ 148 w 545"/>
                  <a:gd name="T11" fmla="*/ 0 h 213"/>
                  <a:gd name="T12" fmla="*/ 186 w 545"/>
                  <a:gd name="T13" fmla="*/ 10 h 213"/>
                  <a:gd name="T14" fmla="*/ 219 w 545"/>
                  <a:gd name="T15" fmla="*/ 31 h 213"/>
                  <a:gd name="T16" fmla="*/ 259 w 545"/>
                  <a:gd name="T17" fmla="*/ 35 h 213"/>
                  <a:gd name="T18" fmla="*/ 296 w 545"/>
                  <a:gd name="T19" fmla="*/ 35 h 213"/>
                  <a:gd name="T20" fmla="*/ 333 w 545"/>
                  <a:gd name="T21" fmla="*/ 55 h 213"/>
                  <a:gd name="T22" fmla="*/ 370 w 545"/>
                  <a:gd name="T23" fmla="*/ 59 h 213"/>
                  <a:gd name="T24" fmla="*/ 400 w 545"/>
                  <a:gd name="T25" fmla="*/ 50 h 213"/>
                  <a:gd name="T26" fmla="*/ 426 w 545"/>
                  <a:gd name="T27" fmla="*/ 38 h 213"/>
                  <a:gd name="T28" fmla="*/ 456 w 545"/>
                  <a:gd name="T29" fmla="*/ 43 h 213"/>
                  <a:gd name="T30" fmla="*/ 459 w 545"/>
                  <a:gd name="T31" fmla="*/ 79 h 213"/>
                  <a:gd name="T32" fmla="*/ 476 w 545"/>
                  <a:gd name="T33" fmla="*/ 84 h 213"/>
                  <a:gd name="T34" fmla="*/ 502 w 545"/>
                  <a:gd name="T35" fmla="*/ 80 h 213"/>
                  <a:gd name="T36" fmla="*/ 542 w 545"/>
                  <a:gd name="T37" fmla="*/ 101 h 213"/>
                  <a:gd name="T38" fmla="*/ 530 w 545"/>
                  <a:gd name="T39" fmla="*/ 106 h 213"/>
                  <a:gd name="T40" fmla="*/ 500 w 545"/>
                  <a:gd name="T41" fmla="*/ 114 h 213"/>
                  <a:gd name="T42" fmla="*/ 475 w 545"/>
                  <a:gd name="T43" fmla="*/ 136 h 213"/>
                  <a:gd name="T44" fmla="*/ 445 w 545"/>
                  <a:gd name="T45" fmla="*/ 143 h 213"/>
                  <a:gd name="T46" fmla="*/ 433 w 545"/>
                  <a:gd name="T47" fmla="*/ 154 h 213"/>
                  <a:gd name="T48" fmla="*/ 449 w 545"/>
                  <a:gd name="T49" fmla="*/ 168 h 213"/>
                  <a:gd name="T50" fmla="*/ 434 w 545"/>
                  <a:gd name="T51" fmla="*/ 186 h 213"/>
                  <a:gd name="T52" fmla="*/ 393 w 545"/>
                  <a:gd name="T53" fmla="*/ 194 h 213"/>
                  <a:gd name="T54" fmla="*/ 355 w 545"/>
                  <a:gd name="T55" fmla="*/ 213 h 213"/>
                  <a:gd name="T56" fmla="*/ 324 w 545"/>
                  <a:gd name="T57" fmla="*/ 206 h 213"/>
                  <a:gd name="T58" fmla="*/ 276 w 545"/>
                  <a:gd name="T59" fmla="*/ 191 h 213"/>
                  <a:gd name="T60" fmla="*/ 219 w 545"/>
                  <a:gd name="T61" fmla="*/ 189 h 213"/>
                  <a:gd name="T62" fmla="*/ 186 w 545"/>
                  <a:gd name="T63" fmla="*/ 177 h 213"/>
                  <a:gd name="T64" fmla="*/ 159 w 545"/>
                  <a:gd name="T65" fmla="*/ 156 h 213"/>
                  <a:gd name="T66" fmla="*/ 110 w 545"/>
                  <a:gd name="T67" fmla="*/ 140 h 213"/>
                  <a:gd name="T68" fmla="*/ 79 w 545"/>
                  <a:gd name="T69" fmla="*/ 128 h 213"/>
                  <a:gd name="T70" fmla="*/ 56 w 545"/>
                  <a:gd name="T71" fmla="*/ 88 h 213"/>
                  <a:gd name="T72" fmla="*/ 11 w 545"/>
                  <a:gd name="T73" fmla="*/ 69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45" h="213">
                    <a:moveTo>
                      <a:pt x="0" y="55"/>
                    </a:moveTo>
                    <a:lnTo>
                      <a:pt x="15" y="52"/>
                    </a:lnTo>
                    <a:lnTo>
                      <a:pt x="37" y="34"/>
                    </a:lnTo>
                    <a:lnTo>
                      <a:pt x="57" y="25"/>
                    </a:lnTo>
                    <a:lnTo>
                      <a:pt x="74" y="31"/>
                    </a:lnTo>
                    <a:lnTo>
                      <a:pt x="90" y="31"/>
                    </a:lnTo>
                    <a:lnTo>
                      <a:pt x="106" y="41"/>
                    </a:lnTo>
                    <a:lnTo>
                      <a:pt x="122" y="42"/>
                    </a:lnTo>
                    <a:lnTo>
                      <a:pt x="148" y="46"/>
                    </a:lnTo>
                    <a:lnTo>
                      <a:pt x="156" y="33"/>
                    </a:lnTo>
                    <a:lnTo>
                      <a:pt x="143" y="21"/>
                    </a:lnTo>
                    <a:lnTo>
                      <a:pt x="148" y="0"/>
                    </a:lnTo>
                    <a:lnTo>
                      <a:pt x="170" y="8"/>
                    </a:lnTo>
                    <a:lnTo>
                      <a:pt x="186" y="10"/>
                    </a:lnTo>
                    <a:lnTo>
                      <a:pt x="207" y="16"/>
                    </a:lnTo>
                    <a:lnTo>
                      <a:pt x="219" y="31"/>
                    </a:lnTo>
                    <a:lnTo>
                      <a:pt x="246" y="39"/>
                    </a:lnTo>
                    <a:lnTo>
                      <a:pt x="259" y="35"/>
                    </a:lnTo>
                    <a:lnTo>
                      <a:pt x="278" y="33"/>
                    </a:lnTo>
                    <a:lnTo>
                      <a:pt x="296" y="35"/>
                    </a:lnTo>
                    <a:lnTo>
                      <a:pt x="317" y="45"/>
                    </a:lnTo>
                    <a:lnTo>
                      <a:pt x="333" y="55"/>
                    </a:lnTo>
                    <a:lnTo>
                      <a:pt x="348" y="55"/>
                    </a:lnTo>
                    <a:lnTo>
                      <a:pt x="370" y="59"/>
                    </a:lnTo>
                    <a:lnTo>
                      <a:pt x="381" y="53"/>
                    </a:lnTo>
                    <a:lnTo>
                      <a:pt x="400" y="50"/>
                    </a:lnTo>
                    <a:lnTo>
                      <a:pt x="415" y="36"/>
                    </a:lnTo>
                    <a:lnTo>
                      <a:pt x="426" y="38"/>
                    </a:lnTo>
                    <a:lnTo>
                      <a:pt x="439" y="45"/>
                    </a:lnTo>
                    <a:lnTo>
                      <a:pt x="456" y="43"/>
                    </a:lnTo>
                    <a:lnTo>
                      <a:pt x="458" y="59"/>
                    </a:lnTo>
                    <a:lnTo>
                      <a:pt x="459" y="79"/>
                    </a:lnTo>
                    <a:lnTo>
                      <a:pt x="468" y="87"/>
                    </a:lnTo>
                    <a:lnTo>
                      <a:pt x="476" y="84"/>
                    </a:lnTo>
                    <a:lnTo>
                      <a:pt x="494" y="88"/>
                    </a:lnTo>
                    <a:lnTo>
                      <a:pt x="502" y="80"/>
                    </a:lnTo>
                    <a:lnTo>
                      <a:pt x="519" y="87"/>
                    </a:lnTo>
                    <a:lnTo>
                      <a:pt x="542" y="101"/>
                    </a:lnTo>
                    <a:lnTo>
                      <a:pt x="545" y="108"/>
                    </a:lnTo>
                    <a:lnTo>
                      <a:pt x="530" y="106"/>
                    </a:lnTo>
                    <a:lnTo>
                      <a:pt x="508" y="109"/>
                    </a:lnTo>
                    <a:lnTo>
                      <a:pt x="500" y="114"/>
                    </a:lnTo>
                    <a:lnTo>
                      <a:pt x="496" y="128"/>
                    </a:lnTo>
                    <a:lnTo>
                      <a:pt x="475" y="136"/>
                    </a:lnTo>
                    <a:lnTo>
                      <a:pt x="464" y="147"/>
                    </a:lnTo>
                    <a:lnTo>
                      <a:pt x="445" y="143"/>
                    </a:lnTo>
                    <a:lnTo>
                      <a:pt x="435" y="141"/>
                    </a:lnTo>
                    <a:lnTo>
                      <a:pt x="433" y="154"/>
                    </a:lnTo>
                    <a:lnTo>
                      <a:pt x="443" y="162"/>
                    </a:lnTo>
                    <a:lnTo>
                      <a:pt x="449" y="168"/>
                    </a:lnTo>
                    <a:lnTo>
                      <a:pt x="441" y="175"/>
                    </a:lnTo>
                    <a:lnTo>
                      <a:pt x="434" y="186"/>
                    </a:lnTo>
                    <a:lnTo>
                      <a:pt x="418" y="194"/>
                    </a:lnTo>
                    <a:lnTo>
                      <a:pt x="393" y="194"/>
                    </a:lnTo>
                    <a:lnTo>
                      <a:pt x="370" y="202"/>
                    </a:lnTo>
                    <a:lnTo>
                      <a:pt x="355" y="213"/>
                    </a:lnTo>
                    <a:lnTo>
                      <a:pt x="345" y="206"/>
                    </a:lnTo>
                    <a:lnTo>
                      <a:pt x="324" y="206"/>
                    </a:lnTo>
                    <a:lnTo>
                      <a:pt x="294" y="194"/>
                    </a:lnTo>
                    <a:lnTo>
                      <a:pt x="276" y="191"/>
                    </a:lnTo>
                    <a:lnTo>
                      <a:pt x="255" y="194"/>
                    </a:lnTo>
                    <a:lnTo>
                      <a:pt x="219" y="189"/>
                    </a:lnTo>
                    <a:lnTo>
                      <a:pt x="201" y="189"/>
                    </a:lnTo>
                    <a:lnTo>
                      <a:pt x="186" y="177"/>
                    </a:lnTo>
                    <a:lnTo>
                      <a:pt x="170" y="158"/>
                    </a:lnTo>
                    <a:lnTo>
                      <a:pt x="159" y="156"/>
                    </a:lnTo>
                    <a:lnTo>
                      <a:pt x="133" y="143"/>
                    </a:lnTo>
                    <a:lnTo>
                      <a:pt x="110" y="140"/>
                    </a:lnTo>
                    <a:lnTo>
                      <a:pt x="89" y="137"/>
                    </a:lnTo>
                    <a:lnTo>
                      <a:pt x="79" y="128"/>
                    </a:lnTo>
                    <a:lnTo>
                      <a:pt x="75" y="104"/>
                    </a:lnTo>
                    <a:lnTo>
                      <a:pt x="56" y="88"/>
                    </a:lnTo>
                    <a:lnTo>
                      <a:pt x="29" y="80"/>
                    </a:lnTo>
                    <a:lnTo>
                      <a:pt x="11" y="69"/>
                    </a:lnTo>
                    <a:lnTo>
                      <a:pt x="0" y="5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6" name="Freeform 126"/>
              <p:cNvSpPr>
                <a:spLocks/>
              </p:cNvSpPr>
              <p:nvPr/>
            </p:nvSpPr>
            <p:spPr bwMode="auto">
              <a:xfrm>
                <a:off x="5054600" y="4249738"/>
                <a:ext cx="306388" cy="541338"/>
              </a:xfrm>
              <a:custGeom>
                <a:avLst/>
                <a:gdLst>
                  <a:gd name="T0" fmla="*/ 96 w 193"/>
                  <a:gd name="T1" fmla="*/ 23 h 341"/>
                  <a:gd name="T2" fmla="*/ 122 w 193"/>
                  <a:gd name="T3" fmla="*/ 26 h 341"/>
                  <a:gd name="T4" fmla="*/ 142 w 193"/>
                  <a:gd name="T5" fmla="*/ 20 h 341"/>
                  <a:gd name="T6" fmla="*/ 173 w 193"/>
                  <a:gd name="T7" fmla="*/ 12 h 341"/>
                  <a:gd name="T8" fmla="*/ 190 w 193"/>
                  <a:gd name="T9" fmla="*/ 9 h 341"/>
                  <a:gd name="T10" fmla="*/ 191 w 193"/>
                  <a:gd name="T11" fmla="*/ 48 h 341"/>
                  <a:gd name="T12" fmla="*/ 193 w 193"/>
                  <a:gd name="T13" fmla="*/ 91 h 341"/>
                  <a:gd name="T14" fmla="*/ 179 w 193"/>
                  <a:gd name="T15" fmla="*/ 120 h 341"/>
                  <a:gd name="T16" fmla="*/ 150 w 193"/>
                  <a:gd name="T17" fmla="*/ 141 h 341"/>
                  <a:gd name="T18" fmla="*/ 107 w 193"/>
                  <a:gd name="T19" fmla="*/ 173 h 341"/>
                  <a:gd name="T20" fmla="*/ 86 w 193"/>
                  <a:gd name="T21" fmla="*/ 192 h 341"/>
                  <a:gd name="T22" fmla="*/ 76 w 193"/>
                  <a:gd name="T23" fmla="*/ 211 h 341"/>
                  <a:gd name="T24" fmla="*/ 87 w 193"/>
                  <a:gd name="T25" fmla="*/ 239 h 341"/>
                  <a:gd name="T26" fmla="*/ 90 w 193"/>
                  <a:gd name="T27" fmla="*/ 244 h 341"/>
                  <a:gd name="T28" fmla="*/ 84 w 193"/>
                  <a:gd name="T29" fmla="*/ 274 h 341"/>
                  <a:gd name="T30" fmla="*/ 85 w 193"/>
                  <a:gd name="T31" fmla="*/ 287 h 341"/>
                  <a:gd name="T32" fmla="*/ 62 w 193"/>
                  <a:gd name="T33" fmla="*/ 301 h 341"/>
                  <a:gd name="T34" fmla="*/ 31 w 193"/>
                  <a:gd name="T35" fmla="*/ 320 h 341"/>
                  <a:gd name="T36" fmla="*/ 36 w 193"/>
                  <a:gd name="T37" fmla="*/ 330 h 341"/>
                  <a:gd name="T38" fmla="*/ 20 w 193"/>
                  <a:gd name="T39" fmla="*/ 341 h 341"/>
                  <a:gd name="T40" fmla="*/ 18 w 193"/>
                  <a:gd name="T41" fmla="*/ 322 h 341"/>
                  <a:gd name="T42" fmla="*/ 21 w 193"/>
                  <a:gd name="T43" fmla="*/ 292 h 341"/>
                  <a:gd name="T44" fmla="*/ 11 w 193"/>
                  <a:gd name="T45" fmla="*/ 248 h 341"/>
                  <a:gd name="T46" fmla="*/ 37 w 193"/>
                  <a:gd name="T47" fmla="*/ 209 h 341"/>
                  <a:gd name="T48" fmla="*/ 42 w 193"/>
                  <a:gd name="T49" fmla="*/ 195 h 341"/>
                  <a:gd name="T50" fmla="*/ 41 w 193"/>
                  <a:gd name="T51" fmla="*/ 173 h 341"/>
                  <a:gd name="T52" fmla="*/ 47 w 193"/>
                  <a:gd name="T53" fmla="*/ 133 h 341"/>
                  <a:gd name="T54" fmla="*/ 29 w 193"/>
                  <a:gd name="T55" fmla="*/ 124 h 341"/>
                  <a:gd name="T56" fmla="*/ 17 w 193"/>
                  <a:gd name="T57" fmla="*/ 115 h 341"/>
                  <a:gd name="T58" fmla="*/ 1 w 193"/>
                  <a:gd name="T59" fmla="*/ 108 h 341"/>
                  <a:gd name="T60" fmla="*/ 56 w 193"/>
                  <a:gd name="T61" fmla="*/ 76 h 341"/>
                  <a:gd name="T62" fmla="*/ 71 w 193"/>
                  <a:gd name="T63" fmla="*/ 84 h 341"/>
                  <a:gd name="T64" fmla="*/ 79 w 193"/>
                  <a:gd name="T65" fmla="*/ 97 h 341"/>
                  <a:gd name="T66" fmla="*/ 75 w 193"/>
                  <a:gd name="T67" fmla="*/ 122 h 341"/>
                  <a:gd name="T68" fmla="*/ 92 w 193"/>
                  <a:gd name="T69" fmla="*/ 120 h 341"/>
                  <a:gd name="T70" fmla="*/ 100 w 193"/>
                  <a:gd name="T71" fmla="*/ 89 h 341"/>
                  <a:gd name="T72" fmla="*/ 87 w 193"/>
                  <a:gd name="T73" fmla="*/ 67 h 341"/>
                  <a:gd name="T74" fmla="*/ 76 w 193"/>
                  <a:gd name="T75" fmla="*/ 40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3" h="341">
                    <a:moveTo>
                      <a:pt x="82" y="25"/>
                    </a:moveTo>
                    <a:lnTo>
                      <a:pt x="96" y="23"/>
                    </a:lnTo>
                    <a:lnTo>
                      <a:pt x="117" y="29"/>
                    </a:lnTo>
                    <a:lnTo>
                      <a:pt x="122" y="26"/>
                    </a:lnTo>
                    <a:lnTo>
                      <a:pt x="135" y="26"/>
                    </a:lnTo>
                    <a:lnTo>
                      <a:pt x="142" y="20"/>
                    </a:lnTo>
                    <a:lnTo>
                      <a:pt x="153" y="20"/>
                    </a:lnTo>
                    <a:lnTo>
                      <a:pt x="173" y="12"/>
                    </a:lnTo>
                    <a:lnTo>
                      <a:pt x="188" y="0"/>
                    </a:lnTo>
                    <a:lnTo>
                      <a:pt x="190" y="9"/>
                    </a:lnTo>
                    <a:lnTo>
                      <a:pt x="189" y="30"/>
                    </a:lnTo>
                    <a:lnTo>
                      <a:pt x="191" y="48"/>
                    </a:lnTo>
                    <a:lnTo>
                      <a:pt x="190" y="81"/>
                    </a:lnTo>
                    <a:lnTo>
                      <a:pt x="193" y="91"/>
                    </a:lnTo>
                    <a:lnTo>
                      <a:pt x="186" y="105"/>
                    </a:lnTo>
                    <a:lnTo>
                      <a:pt x="179" y="120"/>
                    </a:lnTo>
                    <a:lnTo>
                      <a:pt x="166" y="133"/>
                    </a:lnTo>
                    <a:lnTo>
                      <a:pt x="150" y="141"/>
                    </a:lnTo>
                    <a:lnTo>
                      <a:pt x="129" y="151"/>
                    </a:lnTo>
                    <a:lnTo>
                      <a:pt x="107" y="173"/>
                    </a:lnTo>
                    <a:lnTo>
                      <a:pt x="100" y="177"/>
                    </a:lnTo>
                    <a:lnTo>
                      <a:pt x="86" y="192"/>
                    </a:lnTo>
                    <a:lnTo>
                      <a:pt x="79" y="196"/>
                    </a:lnTo>
                    <a:lnTo>
                      <a:pt x="76" y="211"/>
                    </a:lnTo>
                    <a:lnTo>
                      <a:pt x="84" y="227"/>
                    </a:lnTo>
                    <a:lnTo>
                      <a:pt x="87" y="239"/>
                    </a:lnTo>
                    <a:lnTo>
                      <a:pt x="86" y="245"/>
                    </a:lnTo>
                    <a:lnTo>
                      <a:pt x="90" y="244"/>
                    </a:lnTo>
                    <a:lnTo>
                      <a:pt x="88" y="265"/>
                    </a:lnTo>
                    <a:lnTo>
                      <a:pt x="84" y="274"/>
                    </a:lnTo>
                    <a:lnTo>
                      <a:pt x="88" y="278"/>
                    </a:lnTo>
                    <a:lnTo>
                      <a:pt x="85" y="287"/>
                    </a:lnTo>
                    <a:lnTo>
                      <a:pt x="77" y="294"/>
                    </a:lnTo>
                    <a:lnTo>
                      <a:pt x="62" y="301"/>
                    </a:lnTo>
                    <a:lnTo>
                      <a:pt x="39" y="312"/>
                    </a:lnTo>
                    <a:lnTo>
                      <a:pt x="31" y="320"/>
                    </a:lnTo>
                    <a:lnTo>
                      <a:pt x="32" y="329"/>
                    </a:lnTo>
                    <a:lnTo>
                      <a:pt x="36" y="330"/>
                    </a:lnTo>
                    <a:lnTo>
                      <a:pt x="34" y="341"/>
                    </a:lnTo>
                    <a:lnTo>
                      <a:pt x="20" y="341"/>
                    </a:lnTo>
                    <a:lnTo>
                      <a:pt x="20" y="332"/>
                    </a:lnTo>
                    <a:lnTo>
                      <a:pt x="18" y="322"/>
                    </a:lnTo>
                    <a:lnTo>
                      <a:pt x="17" y="315"/>
                    </a:lnTo>
                    <a:lnTo>
                      <a:pt x="21" y="292"/>
                    </a:lnTo>
                    <a:lnTo>
                      <a:pt x="18" y="277"/>
                    </a:lnTo>
                    <a:lnTo>
                      <a:pt x="11" y="248"/>
                    </a:lnTo>
                    <a:lnTo>
                      <a:pt x="31" y="224"/>
                    </a:lnTo>
                    <a:lnTo>
                      <a:pt x="37" y="209"/>
                    </a:lnTo>
                    <a:lnTo>
                      <a:pt x="39" y="207"/>
                    </a:lnTo>
                    <a:lnTo>
                      <a:pt x="42" y="195"/>
                    </a:lnTo>
                    <a:lnTo>
                      <a:pt x="40" y="189"/>
                    </a:lnTo>
                    <a:lnTo>
                      <a:pt x="41" y="173"/>
                    </a:lnTo>
                    <a:lnTo>
                      <a:pt x="46" y="159"/>
                    </a:lnTo>
                    <a:lnTo>
                      <a:pt x="47" y="133"/>
                    </a:lnTo>
                    <a:lnTo>
                      <a:pt x="38" y="126"/>
                    </a:lnTo>
                    <a:lnTo>
                      <a:pt x="29" y="124"/>
                    </a:lnTo>
                    <a:lnTo>
                      <a:pt x="25" y="119"/>
                    </a:lnTo>
                    <a:lnTo>
                      <a:pt x="17" y="115"/>
                    </a:lnTo>
                    <a:lnTo>
                      <a:pt x="2" y="115"/>
                    </a:lnTo>
                    <a:lnTo>
                      <a:pt x="1" y="108"/>
                    </a:lnTo>
                    <a:lnTo>
                      <a:pt x="0" y="93"/>
                    </a:lnTo>
                    <a:lnTo>
                      <a:pt x="56" y="76"/>
                    </a:lnTo>
                    <a:lnTo>
                      <a:pt x="66" y="86"/>
                    </a:lnTo>
                    <a:lnTo>
                      <a:pt x="71" y="84"/>
                    </a:lnTo>
                    <a:lnTo>
                      <a:pt x="78" y="89"/>
                    </a:lnTo>
                    <a:lnTo>
                      <a:pt x="79" y="97"/>
                    </a:lnTo>
                    <a:lnTo>
                      <a:pt x="74" y="107"/>
                    </a:lnTo>
                    <a:lnTo>
                      <a:pt x="75" y="122"/>
                    </a:lnTo>
                    <a:lnTo>
                      <a:pt x="86" y="134"/>
                    </a:lnTo>
                    <a:lnTo>
                      <a:pt x="92" y="120"/>
                    </a:lnTo>
                    <a:lnTo>
                      <a:pt x="100" y="116"/>
                    </a:lnTo>
                    <a:lnTo>
                      <a:pt x="100" y="89"/>
                    </a:lnTo>
                    <a:lnTo>
                      <a:pt x="93" y="74"/>
                    </a:lnTo>
                    <a:lnTo>
                      <a:pt x="87" y="67"/>
                    </a:lnTo>
                    <a:lnTo>
                      <a:pt x="80" y="68"/>
                    </a:lnTo>
                    <a:lnTo>
                      <a:pt x="76" y="40"/>
                    </a:lnTo>
                    <a:lnTo>
                      <a:pt x="82" y="25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7" name="Freeform 127"/>
              <p:cNvSpPr>
                <a:spLocks/>
              </p:cNvSpPr>
              <p:nvPr/>
            </p:nvSpPr>
            <p:spPr bwMode="auto">
              <a:xfrm>
                <a:off x="3694112" y="3005137"/>
                <a:ext cx="347663" cy="422275"/>
              </a:xfrm>
              <a:custGeom>
                <a:avLst/>
                <a:gdLst>
                  <a:gd name="T0" fmla="*/ 86 w 219"/>
                  <a:gd name="T1" fmla="*/ 266 h 266"/>
                  <a:gd name="T2" fmla="*/ 74 w 219"/>
                  <a:gd name="T3" fmla="*/ 251 h 266"/>
                  <a:gd name="T4" fmla="*/ 63 w 219"/>
                  <a:gd name="T5" fmla="*/ 236 h 266"/>
                  <a:gd name="T6" fmla="*/ 51 w 219"/>
                  <a:gd name="T7" fmla="*/ 231 h 266"/>
                  <a:gd name="T8" fmla="*/ 43 w 219"/>
                  <a:gd name="T9" fmla="*/ 225 h 266"/>
                  <a:gd name="T10" fmla="*/ 33 w 219"/>
                  <a:gd name="T11" fmla="*/ 225 h 266"/>
                  <a:gd name="T12" fmla="*/ 24 w 219"/>
                  <a:gd name="T13" fmla="*/ 229 h 266"/>
                  <a:gd name="T14" fmla="*/ 15 w 219"/>
                  <a:gd name="T15" fmla="*/ 227 h 266"/>
                  <a:gd name="T16" fmla="*/ 8 w 219"/>
                  <a:gd name="T17" fmla="*/ 234 h 266"/>
                  <a:gd name="T18" fmla="*/ 7 w 219"/>
                  <a:gd name="T19" fmla="*/ 223 h 266"/>
                  <a:gd name="T20" fmla="*/ 12 w 219"/>
                  <a:gd name="T21" fmla="*/ 213 h 266"/>
                  <a:gd name="T22" fmla="*/ 15 w 219"/>
                  <a:gd name="T23" fmla="*/ 193 h 266"/>
                  <a:gd name="T24" fmla="*/ 13 w 219"/>
                  <a:gd name="T25" fmla="*/ 173 h 266"/>
                  <a:gd name="T26" fmla="*/ 11 w 219"/>
                  <a:gd name="T27" fmla="*/ 162 h 266"/>
                  <a:gd name="T28" fmla="*/ 14 w 219"/>
                  <a:gd name="T29" fmla="*/ 152 h 266"/>
                  <a:gd name="T30" fmla="*/ 9 w 219"/>
                  <a:gd name="T31" fmla="*/ 142 h 266"/>
                  <a:gd name="T32" fmla="*/ 0 w 219"/>
                  <a:gd name="T33" fmla="*/ 133 h 266"/>
                  <a:gd name="T34" fmla="*/ 4 w 219"/>
                  <a:gd name="T35" fmla="*/ 126 h 266"/>
                  <a:gd name="T36" fmla="*/ 75 w 219"/>
                  <a:gd name="T37" fmla="*/ 126 h 266"/>
                  <a:gd name="T38" fmla="*/ 72 w 219"/>
                  <a:gd name="T39" fmla="*/ 96 h 266"/>
                  <a:gd name="T40" fmla="*/ 77 w 219"/>
                  <a:gd name="T41" fmla="*/ 86 h 266"/>
                  <a:gd name="T42" fmla="*/ 93 w 219"/>
                  <a:gd name="T43" fmla="*/ 84 h 266"/>
                  <a:gd name="T44" fmla="*/ 94 w 219"/>
                  <a:gd name="T45" fmla="*/ 31 h 266"/>
                  <a:gd name="T46" fmla="*/ 153 w 219"/>
                  <a:gd name="T47" fmla="*/ 32 h 266"/>
                  <a:gd name="T48" fmla="*/ 153 w 219"/>
                  <a:gd name="T49" fmla="*/ 0 h 266"/>
                  <a:gd name="T50" fmla="*/ 219 w 219"/>
                  <a:gd name="T51" fmla="*/ 51 h 266"/>
                  <a:gd name="T52" fmla="*/ 192 w 219"/>
                  <a:gd name="T53" fmla="*/ 51 h 266"/>
                  <a:gd name="T54" fmla="*/ 200 w 219"/>
                  <a:gd name="T55" fmla="*/ 141 h 266"/>
                  <a:gd name="T56" fmla="*/ 208 w 219"/>
                  <a:gd name="T57" fmla="*/ 230 h 266"/>
                  <a:gd name="T58" fmla="*/ 211 w 219"/>
                  <a:gd name="T59" fmla="*/ 233 h 266"/>
                  <a:gd name="T60" fmla="*/ 207 w 219"/>
                  <a:gd name="T61" fmla="*/ 247 h 266"/>
                  <a:gd name="T62" fmla="*/ 134 w 219"/>
                  <a:gd name="T63" fmla="*/ 248 h 266"/>
                  <a:gd name="T64" fmla="*/ 131 w 219"/>
                  <a:gd name="T65" fmla="*/ 252 h 266"/>
                  <a:gd name="T66" fmla="*/ 124 w 219"/>
                  <a:gd name="T67" fmla="*/ 251 h 266"/>
                  <a:gd name="T68" fmla="*/ 114 w 219"/>
                  <a:gd name="T69" fmla="*/ 255 h 266"/>
                  <a:gd name="T70" fmla="*/ 101 w 219"/>
                  <a:gd name="T71" fmla="*/ 249 h 266"/>
                  <a:gd name="T72" fmla="*/ 95 w 219"/>
                  <a:gd name="T73" fmla="*/ 250 h 266"/>
                  <a:gd name="T74" fmla="*/ 92 w 219"/>
                  <a:gd name="T75" fmla="*/ 262 h 266"/>
                  <a:gd name="T76" fmla="*/ 86 w 219"/>
                  <a:gd name="T77" fmla="*/ 266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19" h="266">
                    <a:moveTo>
                      <a:pt x="86" y="266"/>
                    </a:moveTo>
                    <a:lnTo>
                      <a:pt x="74" y="251"/>
                    </a:lnTo>
                    <a:lnTo>
                      <a:pt x="63" y="236"/>
                    </a:lnTo>
                    <a:lnTo>
                      <a:pt x="51" y="231"/>
                    </a:lnTo>
                    <a:lnTo>
                      <a:pt x="43" y="225"/>
                    </a:lnTo>
                    <a:lnTo>
                      <a:pt x="33" y="225"/>
                    </a:lnTo>
                    <a:lnTo>
                      <a:pt x="24" y="229"/>
                    </a:lnTo>
                    <a:lnTo>
                      <a:pt x="15" y="227"/>
                    </a:lnTo>
                    <a:lnTo>
                      <a:pt x="8" y="234"/>
                    </a:lnTo>
                    <a:lnTo>
                      <a:pt x="7" y="223"/>
                    </a:lnTo>
                    <a:lnTo>
                      <a:pt x="12" y="213"/>
                    </a:lnTo>
                    <a:lnTo>
                      <a:pt x="15" y="193"/>
                    </a:lnTo>
                    <a:lnTo>
                      <a:pt x="13" y="173"/>
                    </a:lnTo>
                    <a:lnTo>
                      <a:pt x="11" y="162"/>
                    </a:lnTo>
                    <a:lnTo>
                      <a:pt x="14" y="152"/>
                    </a:lnTo>
                    <a:lnTo>
                      <a:pt x="9" y="142"/>
                    </a:lnTo>
                    <a:lnTo>
                      <a:pt x="0" y="133"/>
                    </a:lnTo>
                    <a:lnTo>
                      <a:pt x="4" y="126"/>
                    </a:lnTo>
                    <a:lnTo>
                      <a:pt x="75" y="126"/>
                    </a:lnTo>
                    <a:lnTo>
                      <a:pt x="72" y="96"/>
                    </a:lnTo>
                    <a:lnTo>
                      <a:pt x="77" y="86"/>
                    </a:lnTo>
                    <a:lnTo>
                      <a:pt x="93" y="84"/>
                    </a:lnTo>
                    <a:lnTo>
                      <a:pt x="94" y="31"/>
                    </a:lnTo>
                    <a:lnTo>
                      <a:pt x="153" y="32"/>
                    </a:lnTo>
                    <a:lnTo>
                      <a:pt x="153" y="0"/>
                    </a:lnTo>
                    <a:lnTo>
                      <a:pt x="219" y="51"/>
                    </a:lnTo>
                    <a:lnTo>
                      <a:pt x="192" y="51"/>
                    </a:lnTo>
                    <a:lnTo>
                      <a:pt x="200" y="141"/>
                    </a:lnTo>
                    <a:lnTo>
                      <a:pt x="208" y="230"/>
                    </a:lnTo>
                    <a:lnTo>
                      <a:pt x="211" y="233"/>
                    </a:lnTo>
                    <a:lnTo>
                      <a:pt x="207" y="247"/>
                    </a:lnTo>
                    <a:lnTo>
                      <a:pt x="134" y="248"/>
                    </a:lnTo>
                    <a:lnTo>
                      <a:pt x="131" y="252"/>
                    </a:lnTo>
                    <a:lnTo>
                      <a:pt x="124" y="251"/>
                    </a:lnTo>
                    <a:lnTo>
                      <a:pt x="114" y="255"/>
                    </a:lnTo>
                    <a:lnTo>
                      <a:pt x="101" y="249"/>
                    </a:lnTo>
                    <a:lnTo>
                      <a:pt x="95" y="250"/>
                    </a:lnTo>
                    <a:lnTo>
                      <a:pt x="92" y="262"/>
                    </a:lnTo>
                    <a:lnTo>
                      <a:pt x="86" y="266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8" name="Freeform 128"/>
              <p:cNvSpPr>
                <a:spLocks/>
              </p:cNvSpPr>
              <p:nvPr/>
            </p:nvSpPr>
            <p:spPr bwMode="auto">
              <a:xfrm>
                <a:off x="5127625" y="4213225"/>
                <a:ext cx="85725" cy="249238"/>
              </a:xfrm>
              <a:custGeom>
                <a:avLst/>
                <a:gdLst>
                  <a:gd name="T0" fmla="*/ 36 w 54"/>
                  <a:gd name="T1" fmla="*/ 48 h 157"/>
                  <a:gd name="T2" fmla="*/ 30 w 54"/>
                  <a:gd name="T3" fmla="*/ 63 h 157"/>
                  <a:gd name="T4" fmla="*/ 34 w 54"/>
                  <a:gd name="T5" fmla="*/ 91 h 157"/>
                  <a:gd name="T6" fmla="*/ 41 w 54"/>
                  <a:gd name="T7" fmla="*/ 90 h 157"/>
                  <a:gd name="T8" fmla="*/ 47 w 54"/>
                  <a:gd name="T9" fmla="*/ 97 h 157"/>
                  <a:gd name="T10" fmla="*/ 54 w 54"/>
                  <a:gd name="T11" fmla="*/ 112 h 157"/>
                  <a:gd name="T12" fmla="*/ 54 w 54"/>
                  <a:gd name="T13" fmla="*/ 139 h 157"/>
                  <a:gd name="T14" fmla="*/ 46 w 54"/>
                  <a:gd name="T15" fmla="*/ 143 h 157"/>
                  <a:gd name="T16" fmla="*/ 40 w 54"/>
                  <a:gd name="T17" fmla="*/ 157 h 157"/>
                  <a:gd name="T18" fmla="*/ 29 w 54"/>
                  <a:gd name="T19" fmla="*/ 145 h 157"/>
                  <a:gd name="T20" fmla="*/ 28 w 54"/>
                  <a:gd name="T21" fmla="*/ 130 h 157"/>
                  <a:gd name="T22" fmla="*/ 33 w 54"/>
                  <a:gd name="T23" fmla="*/ 120 h 157"/>
                  <a:gd name="T24" fmla="*/ 32 w 54"/>
                  <a:gd name="T25" fmla="*/ 112 h 157"/>
                  <a:gd name="T26" fmla="*/ 25 w 54"/>
                  <a:gd name="T27" fmla="*/ 107 h 157"/>
                  <a:gd name="T28" fmla="*/ 20 w 54"/>
                  <a:gd name="T29" fmla="*/ 109 h 157"/>
                  <a:gd name="T30" fmla="*/ 10 w 54"/>
                  <a:gd name="T31" fmla="*/ 99 h 157"/>
                  <a:gd name="T32" fmla="*/ 0 w 54"/>
                  <a:gd name="T33" fmla="*/ 93 h 157"/>
                  <a:gd name="T34" fmla="*/ 6 w 54"/>
                  <a:gd name="T35" fmla="*/ 74 h 157"/>
                  <a:gd name="T36" fmla="*/ 12 w 54"/>
                  <a:gd name="T37" fmla="*/ 67 h 157"/>
                  <a:gd name="T38" fmla="*/ 9 w 54"/>
                  <a:gd name="T39" fmla="*/ 50 h 157"/>
                  <a:gd name="T40" fmla="*/ 13 w 54"/>
                  <a:gd name="T41" fmla="*/ 33 h 157"/>
                  <a:gd name="T42" fmla="*/ 17 w 54"/>
                  <a:gd name="T43" fmla="*/ 27 h 157"/>
                  <a:gd name="T44" fmla="*/ 13 w 54"/>
                  <a:gd name="T45" fmla="*/ 10 h 157"/>
                  <a:gd name="T46" fmla="*/ 4 w 54"/>
                  <a:gd name="T47" fmla="*/ 0 h 157"/>
                  <a:gd name="T48" fmla="*/ 22 w 54"/>
                  <a:gd name="T49" fmla="*/ 4 h 157"/>
                  <a:gd name="T50" fmla="*/ 25 w 54"/>
                  <a:gd name="T51" fmla="*/ 10 h 157"/>
                  <a:gd name="T52" fmla="*/ 32 w 54"/>
                  <a:gd name="T53" fmla="*/ 20 h 157"/>
                  <a:gd name="T54" fmla="*/ 36 w 54"/>
                  <a:gd name="T55" fmla="*/ 48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4" h="157">
                    <a:moveTo>
                      <a:pt x="36" y="48"/>
                    </a:moveTo>
                    <a:lnTo>
                      <a:pt x="30" y="63"/>
                    </a:lnTo>
                    <a:lnTo>
                      <a:pt x="34" y="91"/>
                    </a:lnTo>
                    <a:lnTo>
                      <a:pt x="41" y="90"/>
                    </a:lnTo>
                    <a:lnTo>
                      <a:pt x="47" y="97"/>
                    </a:lnTo>
                    <a:lnTo>
                      <a:pt x="54" y="112"/>
                    </a:lnTo>
                    <a:lnTo>
                      <a:pt x="54" y="139"/>
                    </a:lnTo>
                    <a:lnTo>
                      <a:pt x="46" y="143"/>
                    </a:lnTo>
                    <a:lnTo>
                      <a:pt x="40" y="157"/>
                    </a:lnTo>
                    <a:lnTo>
                      <a:pt x="29" y="145"/>
                    </a:lnTo>
                    <a:lnTo>
                      <a:pt x="28" y="130"/>
                    </a:lnTo>
                    <a:lnTo>
                      <a:pt x="33" y="120"/>
                    </a:lnTo>
                    <a:lnTo>
                      <a:pt x="32" y="112"/>
                    </a:lnTo>
                    <a:lnTo>
                      <a:pt x="25" y="107"/>
                    </a:lnTo>
                    <a:lnTo>
                      <a:pt x="20" y="109"/>
                    </a:lnTo>
                    <a:lnTo>
                      <a:pt x="10" y="99"/>
                    </a:lnTo>
                    <a:lnTo>
                      <a:pt x="0" y="93"/>
                    </a:lnTo>
                    <a:lnTo>
                      <a:pt x="6" y="74"/>
                    </a:lnTo>
                    <a:lnTo>
                      <a:pt x="12" y="67"/>
                    </a:lnTo>
                    <a:lnTo>
                      <a:pt x="9" y="50"/>
                    </a:lnTo>
                    <a:lnTo>
                      <a:pt x="13" y="33"/>
                    </a:lnTo>
                    <a:lnTo>
                      <a:pt x="17" y="27"/>
                    </a:lnTo>
                    <a:lnTo>
                      <a:pt x="13" y="10"/>
                    </a:lnTo>
                    <a:lnTo>
                      <a:pt x="4" y="0"/>
                    </a:lnTo>
                    <a:lnTo>
                      <a:pt x="22" y="4"/>
                    </a:lnTo>
                    <a:lnTo>
                      <a:pt x="25" y="10"/>
                    </a:lnTo>
                    <a:lnTo>
                      <a:pt x="32" y="20"/>
                    </a:lnTo>
                    <a:lnTo>
                      <a:pt x="36" y="48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39" name="Freeform 129"/>
              <p:cNvSpPr>
                <a:spLocks noEditPoints="1"/>
              </p:cNvSpPr>
              <p:nvPr/>
            </p:nvSpPr>
            <p:spPr bwMode="auto">
              <a:xfrm>
                <a:off x="7096125" y="3681413"/>
                <a:ext cx="557213" cy="201613"/>
              </a:xfrm>
              <a:custGeom>
                <a:avLst/>
                <a:gdLst>
                  <a:gd name="T0" fmla="*/ 1401 w 1439"/>
                  <a:gd name="T1" fmla="*/ 208 h 524"/>
                  <a:gd name="T2" fmla="*/ 1346 w 1439"/>
                  <a:gd name="T3" fmla="*/ 237 h 524"/>
                  <a:gd name="T4" fmla="*/ 1281 w 1439"/>
                  <a:gd name="T5" fmla="*/ 223 h 524"/>
                  <a:gd name="T6" fmla="*/ 1194 w 1439"/>
                  <a:gd name="T7" fmla="*/ 223 h 524"/>
                  <a:gd name="T8" fmla="*/ 1171 w 1439"/>
                  <a:gd name="T9" fmla="*/ 320 h 524"/>
                  <a:gd name="T10" fmla="*/ 1143 w 1439"/>
                  <a:gd name="T11" fmla="*/ 349 h 524"/>
                  <a:gd name="T12" fmla="*/ 1107 w 1439"/>
                  <a:gd name="T13" fmla="*/ 468 h 524"/>
                  <a:gd name="T14" fmla="*/ 1045 w 1439"/>
                  <a:gd name="T15" fmla="*/ 486 h 524"/>
                  <a:gd name="T16" fmla="*/ 974 w 1439"/>
                  <a:gd name="T17" fmla="*/ 462 h 524"/>
                  <a:gd name="T18" fmla="*/ 938 w 1439"/>
                  <a:gd name="T19" fmla="*/ 469 h 524"/>
                  <a:gd name="T20" fmla="*/ 894 w 1439"/>
                  <a:gd name="T21" fmla="*/ 512 h 524"/>
                  <a:gd name="T22" fmla="*/ 846 w 1439"/>
                  <a:gd name="T23" fmla="*/ 506 h 524"/>
                  <a:gd name="T24" fmla="*/ 798 w 1439"/>
                  <a:gd name="T25" fmla="*/ 524 h 524"/>
                  <a:gd name="T26" fmla="*/ 746 w 1439"/>
                  <a:gd name="T27" fmla="*/ 476 h 524"/>
                  <a:gd name="T28" fmla="*/ 733 w 1439"/>
                  <a:gd name="T29" fmla="*/ 419 h 524"/>
                  <a:gd name="T30" fmla="*/ 788 w 1439"/>
                  <a:gd name="T31" fmla="*/ 448 h 524"/>
                  <a:gd name="T32" fmla="*/ 846 w 1439"/>
                  <a:gd name="T33" fmla="*/ 432 h 524"/>
                  <a:gd name="T34" fmla="*/ 860 w 1439"/>
                  <a:gd name="T35" fmla="*/ 360 h 524"/>
                  <a:gd name="T36" fmla="*/ 892 w 1439"/>
                  <a:gd name="T37" fmla="*/ 344 h 524"/>
                  <a:gd name="T38" fmla="*/ 981 w 1439"/>
                  <a:gd name="T39" fmla="*/ 325 h 524"/>
                  <a:gd name="T40" fmla="*/ 1033 w 1439"/>
                  <a:gd name="T41" fmla="*/ 258 h 524"/>
                  <a:gd name="T42" fmla="*/ 1068 w 1439"/>
                  <a:gd name="T43" fmla="*/ 204 h 524"/>
                  <a:gd name="T44" fmla="*/ 1104 w 1439"/>
                  <a:gd name="T45" fmla="*/ 248 h 524"/>
                  <a:gd name="T46" fmla="*/ 1119 w 1439"/>
                  <a:gd name="T47" fmla="*/ 219 h 524"/>
                  <a:gd name="T48" fmla="*/ 1155 w 1439"/>
                  <a:gd name="T49" fmla="*/ 222 h 524"/>
                  <a:gd name="T50" fmla="*/ 1157 w 1439"/>
                  <a:gd name="T51" fmla="*/ 168 h 524"/>
                  <a:gd name="T52" fmla="*/ 1159 w 1439"/>
                  <a:gd name="T53" fmla="*/ 126 h 524"/>
                  <a:gd name="T54" fmla="*/ 1214 w 1439"/>
                  <a:gd name="T55" fmla="*/ 66 h 524"/>
                  <a:gd name="T56" fmla="*/ 1248 w 1439"/>
                  <a:gd name="T57" fmla="*/ 0 h 524"/>
                  <a:gd name="T58" fmla="*/ 1278 w 1439"/>
                  <a:gd name="T59" fmla="*/ 0 h 524"/>
                  <a:gd name="T60" fmla="*/ 1319 w 1439"/>
                  <a:gd name="T61" fmla="*/ 43 h 524"/>
                  <a:gd name="T62" fmla="*/ 1325 w 1439"/>
                  <a:gd name="T63" fmla="*/ 80 h 524"/>
                  <a:gd name="T64" fmla="*/ 1375 w 1439"/>
                  <a:gd name="T65" fmla="*/ 103 h 524"/>
                  <a:gd name="T66" fmla="*/ 1439 w 1439"/>
                  <a:gd name="T67" fmla="*/ 129 h 524"/>
                  <a:gd name="T68" fmla="*/ 1436 w 1439"/>
                  <a:gd name="T69" fmla="*/ 162 h 524"/>
                  <a:gd name="T70" fmla="*/ 1385 w 1439"/>
                  <a:gd name="T71" fmla="*/ 167 h 524"/>
                  <a:gd name="T72" fmla="*/ 1401 w 1439"/>
                  <a:gd name="T73" fmla="*/ 208 h 524"/>
                  <a:gd name="T74" fmla="*/ 75 w 1439"/>
                  <a:gd name="T75" fmla="*/ 61 h 524"/>
                  <a:gd name="T76" fmla="*/ 83 w 1439"/>
                  <a:gd name="T77" fmla="*/ 105 h 524"/>
                  <a:gd name="T78" fmla="*/ 133 w 1439"/>
                  <a:gd name="T79" fmla="*/ 95 h 524"/>
                  <a:gd name="T80" fmla="*/ 155 w 1439"/>
                  <a:gd name="T81" fmla="*/ 60 h 524"/>
                  <a:gd name="T82" fmla="*/ 173 w 1439"/>
                  <a:gd name="T83" fmla="*/ 68 h 524"/>
                  <a:gd name="T84" fmla="*/ 220 w 1439"/>
                  <a:gd name="T85" fmla="*/ 119 h 524"/>
                  <a:gd name="T86" fmla="*/ 254 w 1439"/>
                  <a:gd name="T87" fmla="*/ 176 h 524"/>
                  <a:gd name="T88" fmla="*/ 260 w 1439"/>
                  <a:gd name="T89" fmla="*/ 233 h 524"/>
                  <a:gd name="T90" fmla="*/ 253 w 1439"/>
                  <a:gd name="T91" fmla="*/ 272 h 524"/>
                  <a:gd name="T92" fmla="*/ 261 w 1439"/>
                  <a:gd name="T93" fmla="*/ 301 h 524"/>
                  <a:gd name="T94" fmla="*/ 268 w 1439"/>
                  <a:gd name="T95" fmla="*/ 352 h 524"/>
                  <a:gd name="T96" fmla="*/ 295 w 1439"/>
                  <a:gd name="T97" fmla="*/ 375 h 524"/>
                  <a:gd name="T98" fmla="*/ 326 w 1439"/>
                  <a:gd name="T99" fmla="*/ 451 h 524"/>
                  <a:gd name="T100" fmla="*/ 325 w 1439"/>
                  <a:gd name="T101" fmla="*/ 479 h 524"/>
                  <a:gd name="T102" fmla="*/ 271 w 1439"/>
                  <a:gd name="T103" fmla="*/ 485 h 524"/>
                  <a:gd name="T104" fmla="*/ 199 w 1439"/>
                  <a:gd name="T105" fmla="*/ 422 h 524"/>
                  <a:gd name="T106" fmla="*/ 109 w 1439"/>
                  <a:gd name="T107" fmla="*/ 354 h 524"/>
                  <a:gd name="T108" fmla="*/ 99 w 1439"/>
                  <a:gd name="T109" fmla="*/ 311 h 524"/>
                  <a:gd name="T110" fmla="*/ 54 w 1439"/>
                  <a:gd name="T111" fmla="*/ 254 h 524"/>
                  <a:gd name="T112" fmla="*/ 42 w 1439"/>
                  <a:gd name="T113" fmla="*/ 184 h 524"/>
                  <a:gd name="T114" fmla="*/ 13 w 1439"/>
                  <a:gd name="T115" fmla="*/ 137 h 524"/>
                  <a:gd name="T116" fmla="*/ 18 w 1439"/>
                  <a:gd name="T117" fmla="*/ 75 h 524"/>
                  <a:gd name="T118" fmla="*/ 0 w 1439"/>
                  <a:gd name="T119" fmla="*/ 39 h 524"/>
                  <a:gd name="T120" fmla="*/ 12 w 1439"/>
                  <a:gd name="T121" fmla="*/ 24 h 524"/>
                  <a:gd name="T122" fmla="*/ 75 w 1439"/>
                  <a:gd name="T123" fmla="*/ 61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39" h="524">
                    <a:moveTo>
                      <a:pt x="1401" y="208"/>
                    </a:moveTo>
                    <a:lnTo>
                      <a:pt x="1346" y="237"/>
                    </a:lnTo>
                    <a:lnTo>
                      <a:pt x="1281" y="223"/>
                    </a:lnTo>
                    <a:lnTo>
                      <a:pt x="1194" y="223"/>
                    </a:lnTo>
                    <a:lnTo>
                      <a:pt x="1171" y="320"/>
                    </a:lnTo>
                    <a:lnTo>
                      <a:pt x="1143" y="349"/>
                    </a:lnTo>
                    <a:lnTo>
                      <a:pt x="1107" y="468"/>
                    </a:lnTo>
                    <a:lnTo>
                      <a:pt x="1045" y="486"/>
                    </a:lnTo>
                    <a:lnTo>
                      <a:pt x="974" y="462"/>
                    </a:lnTo>
                    <a:lnTo>
                      <a:pt x="938" y="469"/>
                    </a:lnTo>
                    <a:lnTo>
                      <a:pt x="894" y="512"/>
                    </a:lnTo>
                    <a:lnTo>
                      <a:pt x="846" y="506"/>
                    </a:lnTo>
                    <a:lnTo>
                      <a:pt x="798" y="524"/>
                    </a:lnTo>
                    <a:lnTo>
                      <a:pt x="746" y="476"/>
                    </a:lnTo>
                    <a:lnTo>
                      <a:pt x="733" y="419"/>
                    </a:lnTo>
                    <a:lnTo>
                      <a:pt x="788" y="448"/>
                    </a:lnTo>
                    <a:lnTo>
                      <a:pt x="846" y="432"/>
                    </a:lnTo>
                    <a:lnTo>
                      <a:pt x="860" y="360"/>
                    </a:lnTo>
                    <a:lnTo>
                      <a:pt x="892" y="344"/>
                    </a:lnTo>
                    <a:lnTo>
                      <a:pt x="981" y="325"/>
                    </a:lnTo>
                    <a:lnTo>
                      <a:pt x="1033" y="258"/>
                    </a:lnTo>
                    <a:lnTo>
                      <a:pt x="1068" y="204"/>
                    </a:lnTo>
                    <a:lnTo>
                      <a:pt x="1104" y="248"/>
                    </a:lnTo>
                    <a:lnTo>
                      <a:pt x="1119" y="219"/>
                    </a:lnTo>
                    <a:lnTo>
                      <a:pt x="1155" y="222"/>
                    </a:lnTo>
                    <a:lnTo>
                      <a:pt x="1157" y="168"/>
                    </a:lnTo>
                    <a:lnTo>
                      <a:pt x="1159" y="126"/>
                    </a:lnTo>
                    <a:lnTo>
                      <a:pt x="1214" y="66"/>
                    </a:lnTo>
                    <a:lnTo>
                      <a:pt x="1248" y="0"/>
                    </a:lnTo>
                    <a:lnTo>
                      <a:pt x="1278" y="0"/>
                    </a:lnTo>
                    <a:lnTo>
                      <a:pt x="1319" y="43"/>
                    </a:lnTo>
                    <a:lnTo>
                      <a:pt x="1325" y="80"/>
                    </a:lnTo>
                    <a:lnTo>
                      <a:pt x="1375" y="103"/>
                    </a:lnTo>
                    <a:lnTo>
                      <a:pt x="1439" y="129"/>
                    </a:lnTo>
                    <a:lnTo>
                      <a:pt x="1436" y="162"/>
                    </a:lnTo>
                    <a:lnTo>
                      <a:pt x="1385" y="167"/>
                    </a:lnTo>
                    <a:lnTo>
                      <a:pt x="1401" y="208"/>
                    </a:lnTo>
                    <a:moveTo>
                      <a:pt x="75" y="61"/>
                    </a:moveTo>
                    <a:lnTo>
                      <a:pt x="83" y="105"/>
                    </a:lnTo>
                    <a:lnTo>
                      <a:pt x="133" y="95"/>
                    </a:lnTo>
                    <a:lnTo>
                      <a:pt x="155" y="60"/>
                    </a:lnTo>
                    <a:lnTo>
                      <a:pt x="173" y="68"/>
                    </a:lnTo>
                    <a:lnTo>
                      <a:pt x="220" y="119"/>
                    </a:lnTo>
                    <a:lnTo>
                      <a:pt x="254" y="176"/>
                    </a:lnTo>
                    <a:lnTo>
                      <a:pt x="260" y="233"/>
                    </a:lnTo>
                    <a:lnTo>
                      <a:pt x="253" y="272"/>
                    </a:lnTo>
                    <a:lnTo>
                      <a:pt x="261" y="301"/>
                    </a:lnTo>
                    <a:lnTo>
                      <a:pt x="268" y="352"/>
                    </a:lnTo>
                    <a:lnTo>
                      <a:pt x="295" y="375"/>
                    </a:lnTo>
                    <a:lnTo>
                      <a:pt x="326" y="451"/>
                    </a:lnTo>
                    <a:lnTo>
                      <a:pt x="325" y="479"/>
                    </a:lnTo>
                    <a:lnTo>
                      <a:pt x="271" y="485"/>
                    </a:lnTo>
                    <a:lnTo>
                      <a:pt x="199" y="422"/>
                    </a:lnTo>
                    <a:lnTo>
                      <a:pt x="109" y="354"/>
                    </a:lnTo>
                    <a:lnTo>
                      <a:pt x="99" y="311"/>
                    </a:lnTo>
                    <a:lnTo>
                      <a:pt x="54" y="254"/>
                    </a:lnTo>
                    <a:lnTo>
                      <a:pt x="42" y="184"/>
                    </a:lnTo>
                    <a:lnTo>
                      <a:pt x="13" y="137"/>
                    </a:lnTo>
                    <a:lnTo>
                      <a:pt x="18" y="75"/>
                    </a:lnTo>
                    <a:lnTo>
                      <a:pt x="0" y="39"/>
                    </a:lnTo>
                    <a:lnTo>
                      <a:pt x="12" y="24"/>
                    </a:lnTo>
                    <a:lnTo>
                      <a:pt x="75" y="61"/>
                    </a:lnTo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0" name="Freeform 130"/>
              <p:cNvSpPr>
                <a:spLocks/>
              </p:cNvSpPr>
              <p:nvPr/>
            </p:nvSpPr>
            <p:spPr bwMode="auto">
              <a:xfrm>
                <a:off x="4519612" y="4467225"/>
                <a:ext cx="384175" cy="400050"/>
              </a:xfrm>
              <a:custGeom>
                <a:avLst/>
                <a:gdLst>
                  <a:gd name="T0" fmla="*/ 76 w 242"/>
                  <a:gd name="T1" fmla="*/ 242 h 252"/>
                  <a:gd name="T2" fmla="*/ 64 w 242"/>
                  <a:gd name="T3" fmla="*/ 226 h 252"/>
                  <a:gd name="T4" fmla="*/ 58 w 242"/>
                  <a:gd name="T5" fmla="*/ 211 h 252"/>
                  <a:gd name="T6" fmla="*/ 54 w 242"/>
                  <a:gd name="T7" fmla="*/ 191 h 252"/>
                  <a:gd name="T8" fmla="*/ 50 w 242"/>
                  <a:gd name="T9" fmla="*/ 176 h 252"/>
                  <a:gd name="T10" fmla="*/ 45 w 242"/>
                  <a:gd name="T11" fmla="*/ 144 h 252"/>
                  <a:gd name="T12" fmla="*/ 46 w 242"/>
                  <a:gd name="T13" fmla="*/ 119 h 252"/>
                  <a:gd name="T14" fmla="*/ 44 w 242"/>
                  <a:gd name="T15" fmla="*/ 108 h 252"/>
                  <a:gd name="T16" fmla="*/ 37 w 242"/>
                  <a:gd name="T17" fmla="*/ 99 h 252"/>
                  <a:gd name="T18" fmla="*/ 28 w 242"/>
                  <a:gd name="T19" fmla="*/ 82 h 252"/>
                  <a:gd name="T20" fmla="*/ 19 w 242"/>
                  <a:gd name="T21" fmla="*/ 57 h 252"/>
                  <a:gd name="T22" fmla="*/ 15 w 242"/>
                  <a:gd name="T23" fmla="*/ 44 h 252"/>
                  <a:gd name="T24" fmla="*/ 1 w 242"/>
                  <a:gd name="T25" fmla="*/ 24 h 252"/>
                  <a:gd name="T26" fmla="*/ 0 w 242"/>
                  <a:gd name="T27" fmla="*/ 8 h 252"/>
                  <a:gd name="T28" fmla="*/ 9 w 242"/>
                  <a:gd name="T29" fmla="*/ 4 h 252"/>
                  <a:gd name="T30" fmla="*/ 20 w 242"/>
                  <a:gd name="T31" fmla="*/ 0 h 252"/>
                  <a:gd name="T32" fmla="*/ 32 w 242"/>
                  <a:gd name="T33" fmla="*/ 1 h 252"/>
                  <a:gd name="T34" fmla="*/ 42 w 242"/>
                  <a:gd name="T35" fmla="*/ 10 h 252"/>
                  <a:gd name="T36" fmla="*/ 45 w 242"/>
                  <a:gd name="T37" fmla="*/ 9 h 252"/>
                  <a:gd name="T38" fmla="*/ 119 w 242"/>
                  <a:gd name="T39" fmla="*/ 8 h 252"/>
                  <a:gd name="T40" fmla="*/ 131 w 242"/>
                  <a:gd name="T41" fmla="*/ 18 h 252"/>
                  <a:gd name="T42" fmla="*/ 175 w 242"/>
                  <a:gd name="T43" fmla="*/ 21 h 252"/>
                  <a:gd name="T44" fmla="*/ 208 w 242"/>
                  <a:gd name="T45" fmla="*/ 13 h 252"/>
                  <a:gd name="T46" fmla="*/ 223 w 242"/>
                  <a:gd name="T47" fmla="*/ 8 h 252"/>
                  <a:gd name="T48" fmla="*/ 235 w 242"/>
                  <a:gd name="T49" fmla="*/ 9 h 252"/>
                  <a:gd name="T50" fmla="*/ 242 w 242"/>
                  <a:gd name="T51" fmla="*/ 14 h 252"/>
                  <a:gd name="T52" fmla="*/ 242 w 242"/>
                  <a:gd name="T53" fmla="*/ 15 h 252"/>
                  <a:gd name="T54" fmla="*/ 232 w 242"/>
                  <a:gd name="T55" fmla="*/ 20 h 252"/>
                  <a:gd name="T56" fmla="*/ 226 w 242"/>
                  <a:gd name="T57" fmla="*/ 20 h 252"/>
                  <a:gd name="T58" fmla="*/ 214 w 242"/>
                  <a:gd name="T59" fmla="*/ 28 h 252"/>
                  <a:gd name="T60" fmla="*/ 208 w 242"/>
                  <a:gd name="T61" fmla="*/ 20 h 252"/>
                  <a:gd name="T62" fmla="*/ 179 w 242"/>
                  <a:gd name="T63" fmla="*/ 27 h 252"/>
                  <a:gd name="T64" fmla="*/ 166 w 242"/>
                  <a:gd name="T65" fmla="*/ 28 h 252"/>
                  <a:gd name="T66" fmla="*/ 163 w 242"/>
                  <a:gd name="T67" fmla="*/ 102 h 252"/>
                  <a:gd name="T68" fmla="*/ 145 w 242"/>
                  <a:gd name="T69" fmla="*/ 102 h 252"/>
                  <a:gd name="T70" fmla="*/ 143 w 242"/>
                  <a:gd name="T71" fmla="*/ 163 h 252"/>
                  <a:gd name="T72" fmla="*/ 139 w 242"/>
                  <a:gd name="T73" fmla="*/ 240 h 252"/>
                  <a:gd name="T74" fmla="*/ 123 w 242"/>
                  <a:gd name="T75" fmla="*/ 250 h 252"/>
                  <a:gd name="T76" fmla="*/ 114 w 242"/>
                  <a:gd name="T77" fmla="*/ 252 h 252"/>
                  <a:gd name="T78" fmla="*/ 103 w 242"/>
                  <a:gd name="T79" fmla="*/ 248 h 252"/>
                  <a:gd name="T80" fmla="*/ 95 w 242"/>
                  <a:gd name="T81" fmla="*/ 246 h 252"/>
                  <a:gd name="T82" fmla="*/ 92 w 242"/>
                  <a:gd name="T83" fmla="*/ 238 h 252"/>
                  <a:gd name="T84" fmla="*/ 85 w 242"/>
                  <a:gd name="T85" fmla="*/ 232 h 252"/>
                  <a:gd name="T86" fmla="*/ 76 w 242"/>
                  <a:gd name="T87" fmla="*/ 24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42" h="252">
                    <a:moveTo>
                      <a:pt x="76" y="242"/>
                    </a:moveTo>
                    <a:lnTo>
                      <a:pt x="64" y="226"/>
                    </a:lnTo>
                    <a:lnTo>
                      <a:pt x="58" y="211"/>
                    </a:lnTo>
                    <a:lnTo>
                      <a:pt x="54" y="191"/>
                    </a:lnTo>
                    <a:lnTo>
                      <a:pt x="50" y="176"/>
                    </a:lnTo>
                    <a:lnTo>
                      <a:pt x="45" y="144"/>
                    </a:lnTo>
                    <a:lnTo>
                      <a:pt x="46" y="119"/>
                    </a:lnTo>
                    <a:lnTo>
                      <a:pt x="44" y="108"/>
                    </a:lnTo>
                    <a:lnTo>
                      <a:pt x="37" y="99"/>
                    </a:lnTo>
                    <a:lnTo>
                      <a:pt x="28" y="82"/>
                    </a:lnTo>
                    <a:lnTo>
                      <a:pt x="19" y="57"/>
                    </a:lnTo>
                    <a:lnTo>
                      <a:pt x="15" y="44"/>
                    </a:lnTo>
                    <a:lnTo>
                      <a:pt x="1" y="24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20" y="0"/>
                    </a:lnTo>
                    <a:lnTo>
                      <a:pt x="32" y="1"/>
                    </a:lnTo>
                    <a:lnTo>
                      <a:pt x="42" y="10"/>
                    </a:lnTo>
                    <a:lnTo>
                      <a:pt x="45" y="9"/>
                    </a:lnTo>
                    <a:lnTo>
                      <a:pt x="119" y="8"/>
                    </a:lnTo>
                    <a:lnTo>
                      <a:pt x="131" y="18"/>
                    </a:lnTo>
                    <a:lnTo>
                      <a:pt x="175" y="21"/>
                    </a:lnTo>
                    <a:lnTo>
                      <a:pt x="208" y="13"/>
                    </a:lnTo>
                    <a:lnTo>
                      <a:pt x="223" y="8"/>
                    </a:lnTo>
                    <a:lnTo>
                      <a:pt x="235" y="9"/>
                    </a:lnTo>
                    <a:lnTo>
                      <a:pt x="242" y="14"/>
                    </a:lnTo>
                    <a:lnTo>
                      <a:pt x="242" y="15"/>
                    </a:lnTo>
                    <a:lnTo>
                      <a:pt x="232" y="20"/>
                    </a:lnTo>
                    <a:lnTo>
                      <a:pt x="226" y="20"/>
                    </a:lnTo>
                    <a:lnTo>
                      <a:pt x="214" y="28"/>
                    </a:lnTo>
                    <a:lnTo>
                      <a:pt x="208" y="20"/>
                    </a:lnTo>
                    <a:lnTo>
                      <a:pt x="179" y="27"/>
                    </a:lnTo>
                    <a:lnTo>
                      <a:pt x="166" y="28"/>
                    </a:lnTo>
                    <a:lnTo>
                      <a:pt x="163" y="102"/>
                    </a:lnTo>
                    <a:lnTo>
                      <a:pt x="145" y="102"/>
                    </a:lnTo>
                    <a:lnTo>
                      <a:pt x="143" y="163"/>
                    </a:lnTo>
                    <a:lnTo>
                      <a:pt x="139" y="240"/>
                    </a:lnTo>
                    <a:lnTo>
                      <a:pt x="123" y="250"/>
                    </a:lnTo>
                    <a:lnTo>
                      <a:pt x="114" y="252"/>
                    </a:lnTo>
                    <a:lnTo>
                      <a:pt x="103" y="248"/>
                    </a:lnTo>
                    <a:lnTo>
                      <a:pt x="95" y="246"/>
                    </a:lnTo>
                    <a:lnTo>
                      <a:pt x="92" y="238"/>
                    </a:lnTo>
                    <a:lnTo>
                      <a:pt x="85" y="232"/>
                    </a:lnTo>
                    <a:lnTo>
                      <a:pt x="76" y="242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1" name="Freeform 131"/>
              <p:cNvSpPr>
                <a:spLocks/>
              </p:cNvSpPr>
              <p:nvPr/>
            </p:nvSpPr>
            <p:spPr bwMode="auto">
              <a:xfrm>
                <a:off x="8882062" y="4572000"/>
                <a:ext cx="68263" cy="76200"/>
              </a:xfrm>
              <a:custGeom>
                <a:avLst/>
                <a:gdLst>
                  <a:gd name="T0" fmla="*/ 26 w 43"/>
                  <a:gd name="T1" fmla="*/ 20 h 48"/>
                  <a:gd name="T2" fmla="*/ 37 w 43"/>
                  <a:gd name="T3" fmla="*/ 33 h 48"/>
                  <a:gd name="T4" fmla="*/ 43 w 43"/>
                  <a:gd name="T5" fmla="*/ 43 h 48"/>
                  <a:gd name="T6" fmla="*/ 35 w 43"/>
                  <a:gd name="T7" fmla="*/ 48 h 48"/>
                  <a:gd name="T8" fmla="*/ 27 w 43"/>
                  <a:gd name="T9" fmla="*/ 42 h 48"/>
                  <a:gd name="T10" fmla="*/ 17 w 43"/>
                  <a:gd name="T11" fmla="*/ 33 h 48"/>
                  <a:gd name="T12" fmla="*/ 8 w 43"/>
                  <a:gd name="T13" fmla="*/ 22 h 48"/>
                  <a:gd name="T14" fmla="*/ 0 w 43"/>
                  <a:gd name="T15" fmla="*/ 7 h 48"/>
                  <a:gd name="T16" fmla="*/ 0 w 43"/>
                  <a:gd name="T17" fmla="*/ 0 h 48"/>
                  <a:gd name="T18" fmla="*/ 7 w 43"/>
                  <a:gd name="T19" fmla="*/ 0 h 48"/>
                  <a:gd name="T20" fmla="*/ 16 w 43"/>
                  <a:gd name="T21" fmla="*/ 8 h 48"/>
                  <a:gd name="T22" fmla="*/ 22 w 43"/>
                  <a:gd name="T23" fmla="*/ 15 h 48"/>
                  <a:gd name="T24" fmla="*/ 26 w 43"/>
                  <a:gd name="T25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3" h="48">
                    <a:moveTo>
                      <a:pt x="26" y="20"/>
                    </a:moveTo>
                    <a:lnTo>
                      <a:pt x="37" y="33"/>
                    </a:lnTo>
                    <a:lnTo>
                      <a:pt x="43" y="43"/>
                    </a:lnTo>
                    <a:lnTo>
                      <a:pt x="35" y="48"/>
                    </a:lnTo>
                    <a:lnTo>
                      <a:pt x="27" y="42"/>
                    </a:lnTo>
                    <a:lnTo>
                      <a:pt x="17" y="33"/>
                    </a:lnTo>
                    <a:lnTo>
                      <a:pt x="8" y="22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6" y="8"/>
                    </a:lnTo>
                    <a:lnTo>
                      <a:pt x="22" y="15"/>
                    </a:lnTo>
                    <a:lnTo>
                      <a:pt x="26" y="2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2" name="Freeform 132"/>
              <p:cNvSpPr>
                <a:spLocks/>
              </p:cNvSpPr>
              <p:nvPr/>
            </p:nvSpPr>
            <p:spPr bwMode="auto">
              <a:xfrm>
                <a:off x="4191000" y="3135312"/>
                <a:ext cx="446088" cy="388938"/>
              </a:xfrm>
              <a:custGeom>
                <a:avLst/>
                <a:gdLst>
                  <a:gd name="T0" fmla="*/ 34 w 281"/>
                  <a:gd name="T1" fmla="*/ 239 h 245"/>
                  <a:gd name="T2" fmla="*/ 34 w 281"/>
                  <a:gd name="T3" fmla="*/ 225 h 245"/>
                  <a:gd name="T4" fmla="*/ 13 w 281"/>
                  <a:gd name="T5" fmla="*/ 220 h 245"/>
                  <a:gd name="T6" fmla="*/ 12 w 281"/>
                  <a:gd name="T7" fmla="*/ 210 h 245"/>
                  <a:gd name="T8" fmla="*/ 2 w 281"/>
                  <a:gd name="T9" fmla="*/ 197 h 245"/>
                  <a:gd name="T10" fmla="*/ 0 w 281"/>
                  <a:gd name="T11" fmla="*/ 187 h 245"/>
                  <a:gd name="T12" fmla="*/ 1 w 281"/>
                  <a:gd name="T13" fmla="*/ 177 h 245"/>
                  <a:gd name="T14" fmla="*/ 13 w 281"/>
                  <a:gd name="T15" fmla="*/ 176 h 245"/>
                  <a:gd name="T16" fmla="*/ 19 w 281"/>
                  <a:gd name="T17" fmla="*/ 169 h 245"/>
                  <a:gd name="T18" fmla="*/ 44 w 281"/>
                  <a:gd name="T19" fmla="*/ 167 h 245"/>
                  <a:gd name="T20" fmla="*/ 60 w 281"/>
                  <a:gd name="T21" fmla="*/ 164 h 245"/>
                  <a:gd name="T22" fmla="*/ 62 w 281"/>
                  <a:gd name="T23" fmla="*/ 151 h 245"/>
                  <a:gd name="T24" fmla="*/ 72 w 281"/>
                  <a:gd name="T25" fmla="*/ 137 h 245"/>
                  <a:gd name="T26" fmla="*/ 71 w 281"/>
                  <a:gd name="T27" fmla="*/ 89 h 245"/>
                  <a:gd name="T28" fmla="*/ 97 w 281"/>
                  <a:gd name="T29" fmla="*/ 80 h 245"/>
                  <a:gd name="T30" fmla="*/ 149 w 281"/>
                  <a:gd name="T31" fmla="*/ 39 h 245"/>
                  <a:gd name="T32" fmla="*/ 209 w 281"/>
                  <a:gd name="T33" fmla="*/ 0 h 245"/>
                  <a:gd name="T34" fmla="*/ 238 w 281"/>
                  <a:gd name="T35" fmla="*/ 9 h 245"/>
                  <a:gd name="T36" fmla="*/ 248 w 281"/>
                  <a:gd name="T37" fmla="*/ 20 h 245"/>
                  <a:gd name="T38" fmla="*/ 261 w 281"/>
                  <a:gd name="T39" fmla="*/ 12 h 245"/>
                  <a:gd name="T40" fmla="*/ 266 w 281"/>
                  <a:gd name="T41" fmla="*/ 45 h 245"/>
                  <a:gd name="T42" fmla="*/ 273 w 281"/>
                  <a:gd name="T43" fmla="*/ 50 h 245"/>
                  <a:gd name="T44" fmla="*/ 274 w 281"/>
                  <a:gd name="T45" fmla="*/ 57 h 245"/>
                  <a:gd name="T46" fmla="*/ 281 w 281"/>
                  <a:gd name="T47" fmla="*/ 64 h 245"/>
                  <a:gd name="T48" fmla="*/ 278 w 281"/>
                  <a:gd name="T49" fmla="*/ 73 h 245"/>
                  <a:gd name="T50" fmla="*/ 271 w 281"/>
                  <a:gd name="T51" fmla="*/ 115 h 245"/>
                  <a:gd name="T52" fmla="*/ 271 w 281"/>
                  <a:gd name="T53" fmla="*/ 142 h 245"/>
                  <a:gd name="T54" fmla="*/ 248 w 281"/>
                  <a:gd name="T55" fmla="*/ 162 h 245"/>
                  <a:gd name="T56" fmla="*/ 241 w 281"/>
                  <a:gd name="T57" fmla="*/ 189 h 245"/>
                  <a:gd name="T58" fmla="*/ 249 w 281"/>
                  <a:gd name="T59" fmla="*/ 197 h 245"/>
                  <a:gd name="T60" fmla="*/ 249 w 281"/>
                  <a:gd name="T61" fmla="*/ 210 h 245"/>
                  <a:gd name="T62" fmla="*/ 260 w 281"/>
                  <a:gd name="T63" fmla="*/ 210 h 245"/>
                  <a:gd name="T64" fmla="*/ 259 w 281"/>
                  <a:gd name="T65" fmla="*/ 220 h 245"/>
                  <a:gd name="T66" fmla="*/ 254 w 281"/>
                  <a:gd name="T67" fmla="*/ 221 h 245"/>
                  <a:gd name="T68" fmla="*/ 253 w 281"/>
                  <a:gd name="T69" fmla="*/ 228 h 245"/>
                  <a:gd name="T70" fmla="*/ 250 w 281"/>
                  <a:gd name="T71" fmla="*/ 228 h 245"/>
                  <a:gd name="T72" fmla="*/ 237 w 281"/>
                  <a:gd name="T73" fmla="*/ 206 h 245"/>
                  <a:gd name="T74" fmla="*/ 233 w 281"/>
                  <a:gd name="T75" fmla="*/ 205 h 245"/>
                  <a:gd name="T76" fmla="*/ 219 w 281"/>
                  <a:gd name="T77" fmla="*/ 216 h 245"/>
                  <a:gd name="T78" fmla="*/ 205 w 281"/>
                  <a:gd name="T79" fmla="*/ 210 h 245"/>
                  <a:gd name="T80" fmla="*/ 195 w 281"/>
                  <a:gd name="T81" fmla="*/ 209 h 245"/>
                  <a:gd name="T82" fmla="*/ 189 w 281"/>
                  <a:gd name="T83" fmla="*/ 212 h 245"/>
                  <a:gd name="T84" fmla="*/ 179 w 281"/>
                  <a:gd name="T85" fmla="*/ 212 h 245"/>
                  <a:gd name="T86" fmla="*/ 168 w 281"/>
                  <a:gd name="T87" fmla="*/ 220 h 245"/>
                  <a:gd name="T88" fmla="*/ 159 w 281"/>
                  <a:gd name="T89" fmla="*/ 221 h 245"/>
                  <a:gd name="T90" fmla="*/ 137 w 281"/>
                  <a:gd name="T91" fmla="*/ 210 h 245"/>
                  <a:gd name="T92" fmla="*/ 128 w 281"/>
                  <a:gd name="T93" fmla="*/ 215 h 245"/>
                  <a:gd name="T94" fmla="*/ 119 w 281"/>
                  <a:gd name="T95" fmla="*/ 215 h 245"/>
                  <a:gd name="T96" fmla="*/ 112 w 281"/>
                  <a:gd name="T97" fmla="*/ 207 h 245"/>
                  <a:gd name="T98" fmla="*/ 93 w 281"/>
                  <a:gd name="T99" fmla="*/ 199 h 245"/>
                  <a:gd name="T100" fmla="*/ 74 w 281"/>
                  <a:gd name="T101" fmla="*/ 202 h 245"/>
                  <a:gd name="T102" fmla="*/ 69 w 281"/>
                  <a:gd name="T103" fmla="*/ 206 h 245"/>
                  <a:gd name="T104" fmla="*/ 67 w 281"/>
                  <a:gd name="T105" fmla="*/ 218 h 245"/>
                  <a:gd name="T106" fmla="*/ 61 w 281"/>
                  <a:gd name="T107" fmla="*/ 227 h 245"/>
                  <a:gd name="T108" fmla="*/ 60 w 281"/>
                  <a:gd name="T109" fmla="*/ 245 h 245"/>
                  <a:gd name="T110" fmla="*/ 46 w 281"/>
                  <a:gd name="T111" fmla="*/ 233 h 245"/>
                  <a:gd name="T112" fmla="*/ 40 w 281"/>
                  <a:gd name="T113" fmla="*/ 233 h 245"/>
                  <a:gd name="T114" fmla="*/ 34 w 281"/>
                  <a:gd name="T115" fmla="*/ 239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1" h="245">
                    <a:moveTo>
                      <a:pt x="34" y="239"/>
                    </a:moveTo>
                    <a:lnTo>
                      <a:pt x="34" y="225"/>
                    </a:lnTo>
                    <a:lnTo>
                      <a:pt x="13" y="220"/>
                    </a:lnTo>
                    <a:lnTo>
                      <a:pt x="12" y="210"/>
                    </a:lnTo>
                    <a:lnTo>
                      <a:pt x="2" y="197"/>
                    </a:lnTo>
                    <a:lnTo>
                      <a:pt x="0" y="187"/>
                    </a:lnTo>
                    <a:lnTo>
                      <a:pt x="1" y="177"/>
                    </a:lnTo>
                    <a:lnTo>
                      <a:pt x="13" y="176"/>
                    </a:lnTo>
                    <a:lnTo>
                      <a:pt x="19" y="169"/>
                    </a:lnTo>
                    <a:lnTo>
                      <a:pt x="44" y="167"/>
                    </a:lnTo>
                    <a:lnTo>
                      <a:pt x="60" y="164"/>
                    </a:lnTo>
                    <a:lnTo>
                      <a:pt x="62" y="151"/>
                    </a:lnTo>
                    <a:lnTo>
                      <a:pt x="72" y="137"/>
                    </a:lnTo>
                    <a:lnTo>
                      <a:pt x="71" y="89"/>
                    </a:lnTo>
                    <a:lnTo>
                      <a:pt x="97" y="80"/>
                    </a:lnTo>
                    <a:lnTo>
                      <a:pt x="149" y="39"/>
                    </a:lnTo>
                    <a:lnTo>
                      <a:pt x="209" y="0"/>
                    </a:lnTo>
                    <a:lnTo>
                      <a:pt x="238" y="9"/>
                    </a:lnTo>
                    <a:lnTo>
                      <a:pt x="248" y="20"/>
                    </a:lnTo>
                    <a:lnTo>
                      <a:pt x="261" y="12"/>
                    </a:lnTo>
                    <a:lnTo>
                      <a:pt x="266" y="45"/>
                    </a:lnTo>
                    <a:lnTo>
                      <a:pt x="273" y="50"/>
                    </a:lnTo>
                    <a:lnTo>
                      <a:pt x="274" y="57"/>
                    </a:lnTo>
                    <a:lnTo>
                      <a:pt x="281" y="64"/>
                    </a:lnTo>
                    <a:lnTo>
                      <a:pt x="278" y="73"/>
                    </a:lnTo>
                    <a:lnTo>
                      <a:pt x="271" y="115"/>
                    </a:lnTo>
                    <a:lnTo>
                      <a:pt x="271" y="142"/>
                    </a:lnTo>
                    <a:lnTo>
                      <a:pt x="248" y="162"/>
                    </a:lnTo>
                    <a:lnTo>
                      <a:pt x="241" y="189"/>
                    </a:lnTo>
                    <a:lnTo>
                      <a:pt x="249" y="197"/>
                    </a:lnTo>
                    <a:lnTo>
                      <a:pt x="249" y="210"/>
                    </a:lnTo>
                    <a:lnTo>
                      <a:pt x="260" y="210"/>
                    </a:lnTo>
                    <a:lnTo>
                      <a:pt x="259" y="220"/>
                    </a:lnTo>
                    <a:lnTo>
                      <a:pt x="254" y="221"/>
                    </a:lnTo>
                    <a:lnTo>
                      <a:pt x="253" y="228"/>
                    </a:lnTo>
                    <a:lnTo>
                      <a:pt x="250" y="228"/>
                    </a:lnTo>
                    <a:lnTo>
                      <a:pt x="237" y="206"/>
                    </a:lnTo>
                    <a:lnTo>
                      <a:pt x="233" y="205"/>
                    </a:lnTo>
                    <a:lnTo>
                      <a:pt x="219" y="216"/>
                    </a:lnTo>
                    <a:lnTo>
                      <a:pt x="205" y="210"/>
                    </a:lnTo>
                    <a:lnTo>
                      <a:pt x="195" y="209"/>
                    </a:lnTo>
                    <a:lnTo>
                      <a:pt x="189" y="212"/>
                    </a:lnTo>
                    <a:lnTo>
                      <a:pt x="179" y="212"/>
                    </a:lnTo>
                    <a:lnTo>
                      <a:pt x="168" y="220"/>
                    </a:lnTo>
                    <a:lnTo>
                      <a:pt x="159" y="221"/>
                    </a:lnTo>
                    <a:lnTo>
                      <a:pt x="137" y="210"/>
                    </a:lnTo>
                    <a:lnTo>
                      <a:pt x="128" y="215"/>
                    </a:lnTo>
                    <a:lnTo>
                      <a:pt x="119" y="215"/>
                    </a:lnTo>
                    <a:lnTo>
                      <a:pt x="112" y="207"/>
                    </a:lnTo>
                    <a:lnTo>
                      <a:pt x="93" y="199"/>
                    </a:lnTo>
                    <a:lnTo>
                      <a:pt x="74" y="202"/>
                    </a:lnTo>
                    <a:lnTo>
                      <a:pt x="69" y="206"/>
                    </a:lnTo>
                    <a:lnTo>
                      <a:pt x="67" y="218"/>
                    </a:lnTo>
                    <a:lnTo>
                      <a:pt x="61" y="227"/>
                    </a:lnTo>
                    <a:lnTo>
                      <a:pt x="60" y="245"/>
                    </a:lnTo>
                    <a:lnTo>
                      <a:pt x="46" y="233"/>
                    </a:lnTo>
                    <a:lnTo>
                      <a:pt x="40" y="233"/>
                    </a:lnTo>
                    <a:lnTo>
                      <a:pt x="34" y="239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3" name="Freeform 133"/>
              <p:cNvSpPr>
                <a:spLocks/>
              </p:cNvSpPr>
              <p:nvPr/>
            </p:nvSpPr>
            <p:spPr bwMode="auto">
              <a:xfrm>
                <a:off x="4260850" y="3451225"/>
                <a:ext cx="342900" cy="317500"/>
              </a:xfrm>
              <a:custGeom>
                <a:avLst/>
                <a:gdLst>
                  <a:gd name="T0" fmla="*/ 106 w 216"/>
                  <a:gd name="T1" fmla="*/ 189 h 200"/>
                  <a:gd name="T2" fmla="*/ 87 w 216"/>
                  <a:gd name="T3" fmla="*/ 197 h 200"/>
                  <a:gd name="T4" fmla="*/ 80 w 216"/>
                  <a:gd name="T5" fmla="*/ 196 h 200"/>
                  <a:gd name="T6" fmla="*/ 73 w 216"/>
                  <a:gd name="T7" fmla="*/ 200 h 200"/>
                  <a:gd name="T8" fmla="*/ 59 w 216"/>
                  <a:gd name="T9" fmla="*/ 200 h 200"/>
                  <a:gd name="T10" fmla="*/ 49 w 216"/>
                  <a:gd name="T11" fmla="*/ 187 h 200"/>
                  <a:gd name="T12" fmla="*/ 43 w 216"/>
                  <a:gd name="T13" fmla="*/ 172 h 200"/>
                  <a:gd name="T14" fmla="*/ 30 w 216"/>
                  <a:gd name="T15" fmla="*/ 158 h 200"/>
                  <a:gd name="T16" fmla="*/ 16 w 216"/>
                  <a:gd name="T17" fmla="*/ 158 h 200"/>
                  <a:gd name="T18" fmla="*/ 0 w 216"/>
                  <a:gd name="T19" fmla="*/ 158 h 200"/>
                  <a:gd name="T20" fmla="*/ 1 w 216"/>
                  <a:gd name="T21" fmla="*/ 125 h 200"/>
                  <a:gd name="T22" fmla="*/ 0 w 216"/>
                  <a:gd name="T23" fmla="*/ 112 h 200"/>
                  <a:gd name="T24" fmla="*/ 4 w 216"/>
                  <a:gd name="T25" fmla="*/ 98 h 200"/>
                  <a:gd name="T26" fmla="*/ 9 w 216"/>
                  <a:gd name="T27" fmla="*/ 92 h 200"/>
                  <a:gd name="T28" fmla="*/ 18 w 216"/>
                  <a:gd name="T29" fmla="*/ 79 h 200"/>
                  <a:gd name="T30" fmla="*/ 16 w 216"/>
                  <a:gd name="T31" fmla="*/ 74 h 200"/>
                  <a:gd name="T32" fmla="*/ 20 w 216"/>
                  <a:gd name="T33" fmla="*/ 65 h 200"/>
                  <a:gd name="T34" fmla="*/ 16 w 216"/>
                  <a:gd name="T35" fmla="*/ 53 h 200"/>
                  <a:gd name="T36" fmla="*/ 16 w 216"/>
                  <a:gd name="T37" fmla="*/ 46 h 200"/>
                  <a:gd name="T38" fmla="*/ 17 w 216"/>
                  <a:gd name="T39" fmla="*/ 28 h 200"/>
                  <a:gd name="T40" fmla="*/ 23 w 216"/>
                  <a:gd name="T41" fmla="*/ 19 h 200"/>
                  <a:gd name="T42" fmla="*/ 25 w 216"/>
                  <a:gd name="T43" fmla="*/ 7 h 200"/>
                  <a:gd name="T44" fmla="*/ 30 w 216"/>
                  <a:gd name="T45" fmla="*/ 3 h 200"/>
                  <a:gd name="T46" fmla="*/ 49 w 216"/>
                  <a:gd name="T47" fmla="*/ 0 h 200"/>
                  <a:gd name="T48" fmla="*/ 68 w 216"/>
                  <a:gd name="T49" fmla="*/ 8 h 200"/>
                  <a:gd name="T50" fmla="*/ 75 w 216"/>
                  <a:gd name="T51" fmla="*/ 16 h 200"/>
                  <a:gd name="T52" fmla="*/ 84 w 216"/>
                  <a:gd name="T53" fmla="*/ 16 h 200"/>
                  <a:gd name="T54" fmla="*/ 93 w 216"/>
                  <a:gd name="T55" fmla="*/ 11 h 200"/>
                  <a:gd name="T56" fmla="*/ 115 w 216"/>
                  <a:gd name="T57" fmla="*/ 22 h 200"/>
                  <a:gd name="T58" fmla="*/ 124 w 216"/>
                  <a:gd name="T59" fmla="*/ 21 h 200"/>
                  <a:gd name="T60" fmla="*/ 135 w 216"/>
                  <a:gd name="T61" fmla="*/ 13 h 200"/>
                  <a:gd name="T62" fmla="*/ 145 w 216"/>
                  <a:gd name="T63" fmla="*/ 13 h 200"/>
                  <a:gd name="T64" fmla="*/ 151 w 216"/>
                  <a:gd name="T65" fmla="*/ 10 h 200"/>
                  <a:gd name="T66" fmla="*/ 161 w 216"/>
                  <a:gd name="T67" fmla="*/ 11 h 200"/>
                  <a:gd name="T68" fmla="*/ 175 w 216"/>
                  <a:gd name="T69" fmla="*/ 17 h 200"/>
                  <a:gd name="T70" fmla="*/ 189 w 216"/>
                  <a:gd name="T71" fmla="*/ 6 h 200"/>
                  <a:gd name="T72" fmla="*/ 193 w 216"/>
                  <a:gd name="T73" fmla="*/ 7 h 200"/>
                  <a:gd name="T74" fmla="*/ 206 w 216"/>
                  <a:gd name="T75" fmla="*/ 29 h 200"/>
                  <a:gd name="T76" fmla="*/ 209 w 216"/>
                  <a:gd name="T77" fmla="*/ 29 h 200"/>
                  <a:gd name="T78" fmla="*/ 216 w 216"/>
                  <a:gd name="T79" fmla="*/ 37 h 200"/>
                  <a:gd name="T80" fmla="*/ 214 w 216"/>
                  <a:gd name="T81" fmla="*/ 41 h 200"/>
                  <a:gd name="T82" fmla="*/ 214 w 216"/>
                  <a:gd name="T83" fmla="*/ 48 h 200"/>
                  <a:gd name="T84" fmla="*/ 199 w 216"/>
                  <a:gd name="T85" fmla="*/ 64 h 200"/>
                  <a:gd name="T86" fmla="*/ 194 w 216"/>
                  <a:gd name="T87" fmla="*/ 77 h 200"/>
                  <a:gd name="T88" fmla="*/ 191 w 216"/>
                  <a:gd name="T89" fmla="*/ 88 h 200"/>
                  <a:gd name="T90" fmla="*/ 187 w 216"/>
                  <a:gd name="T91" fmla="*/ 93 h 200"/>
                  <a:gd name="T92" fmla="*/ 184 w 216"/>
                  <a:gd name="T93" fmla="*/ 107 h 200"/>
                  <a:gd name="T94" fmla="*/ 174 w 216"/>
                  <a:gd name="T95" fmla="*/ 116 h 200"/>
                  <a:gd name="T96" fmla="*/ 172 w 216"/>
                  <a:gd name="T97" fmla="*/ 126 h 200"/>
                  <a:gd name="T98" fmla="*/ 167 w 216"/>
                  <a:gd name="T99" fmla="*/ 135 h 200"/>
                  <a:gd name="T100" fmla="*/ 166 w 216"/>
                  <a:gd name="T101" fmla="*/ 143 h 200"/>
                  <a:gd name="T102" fmla="*/ 153 w 216"/>
                  <a:gd name="T103" fmla="*/ 150 h 200"/>
                  <a:gd name="T104" fmla="*/ 143 w 216"/>
                  <a:gd name="T105" fmla="*/ 142 h 200"/>
                  <a:gd name="T106" fmla="*/ 136 w 216"/>
                  <a:gd name="T107" fmla="*/ 142 h 200"/>
                  <a:gd name="T108" fmla="*/ 125 w 216"/>
                  <a:gd name="T109" fmla="*/ 154 h 200"/>
                  <a:gd name="T110" fmla="*/ 120 w 216"/>
                  <a:gd name="T111" fmla="*/ 155 h 200"/>
                  <a:gd name="T112" fmla="*/ 111 w 216"/>
                  <a:gd name="T113" fmla="*/ 175 h 200"/>
                  <a:gd name="T114" fmla="*/ 106 w 216"/>
                  <a:gd name="T115" fmla="*/ 189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16" h="200">
                    <a:moveTo>
                      <a:pt x="106" y="189"/>
                    </a:moveTo>
                    <a:lnTo>
                      <a:pt x="87" y="197"/>
                    </a:lnTo>
                    <a:lnTo>
                      <a:pt x="80" y="196"/>
                    </a:lnTo>
                    <a:lnTo>
                      <a:pt x="73" y="200"/>
                    </a:lnTo>
                    <a:lnTo>
                      <a:pt x="59" y="200"/>
                    </a:lnTo>
                    <a:lnTo>
                      <a:pt x="49" y="187"/>
                    </a:lnTo>
                    <a:lnTo>
                      <a:pt x="43" y="172"/>
                    </a:lnTo>
                    <a:lnTo>
                      <a:pt x="30" y="158"/>
                    </a:lnTo>
                    <a:lnTo>
                      <a:pt x="16" y="158"/>
                    </a:lnTo>
                    <a:lnTo>
                      <a:pt x="0" y="158"/>
                    </a:lnTo>
                    <a:lnTo>
                      <a:pt x="1" y="125"/>
                    </a:lnTo>
                    <a:lnTo>
                      <a:pt x="0" y="112"/>
                    </a:lnTo>
                    <a:lnTo>
                      <a:pt x="4" y="98"/>
                    </a:lnTo>
                    <a:lnTo>
                      <a:pt x="9" y="92"/>
                    </a:lnTo>
                    <a:lnTo>
                      <a:pt x="18" y="79"/>
                    </a:lnTo>
                    <a:lnTo>
                      <a:pt x="16" y="74"/>
                    </a:lnTo>
                    <a:lnTo>
                      <a:pt x="20" y="65"/>
                    </a:lnTo>
                    <a:lnTo>
                      <a:pt x="16" y="53"/>
                    </a:lnTo>
                    <a:lnTo>
                      <a:pt x="16" y="46"/>
                    </a:lnTo>
                    <a:lnTo>
                      <a:pt x="17" y="28"/>
                    </a:lnTo>
                    <a:lnTo>
                      <a:pt x="23" y="19"/>
                    </a:lnTo>
                    <a:lnTo>
                      <a:pt x="25" y="7"/>
                    </a:lnTo>
                    <a:lnTo>
                      <a:pt x="30" y="3"/>
                    </a:lnTo>
                    <a:lnTo>
                      <a:pt x="49" y="0"/>
                    </a:lnTo>
                    <a:lnTo>
                      <a:pt x="68" y="8"/>
                    </a:lnTo>
                    <a:lnTo>
                      <a:pt x="75" y="16"/>
                    </a:lnTo>
                    <a:lnTo>
                      <a:pt x="84" y="16"/>
                    </a:lnTo>
                    <a:lnTo>
                      <a:pt x="93" y="11"/>
                    </a:lnTo>
                    <a:lnTo>
                      <a:pt x="115" y="22"/>
                    </a:lnTo>
                    <a:lnTo>
                      <a:pt x="124" y="21"/>
                    </a:lnTo>
                    <a:lnTo>
                      <a:pt x="135" y="13"/>
                    </a:lnTo>
                    <a:lnTo>
                      <a:pt x="145" y="13"/>
                    </a:lnTo>
                    <a:lnTo>
                      <a:pt x="151" y="10"/>
                    </a:lnTo>
                    <a:lnTo>
                      <a:pt x="161" y="11"/>
                    </a:lnTo>
                    <a:lnTo>
                      <a:pt x="175" y="17"/>
                    </a:lnTo>
                    <a:lnTo>
                      <a:pt x="189" y="6"/>
                    </a:lnTo>
                    <a:lnTo>
                      <a:pt x="193" y="7"/>
                    </a:lnTo>
                    <a:lnTo>
                      <a:pt x="206" y="29"/>
                    </a:lnTo>
                    <a:lnTo>
                      <a:pt x="209" y="29"/>
                    </a:lnTo>
                    <a:lnTo>
                      <a:pt x="216" y="37"/>
                    </a:lnTo>
                    <a:lnTo>
                      <a:pt x="214" y="41"/>
                    </a:lnTo>
                    <a:lnTo>
                      <a:pt x="214" y="48"/>
                    </a:lnTo>
                    <a:lnTo>
                      <a:pt x="199" y="64"/>
                    </a:lnTo>
                    <a:lnTo>
                      <a:pt x="194" y="77"/>
                    </a:lnTo>
                    <a:lnTo>
                      <a:pt x="191" y="88"/>
                    </a:lnTo>
                    <a:lnTo>
                      <a:pt x="187" y="93"/>
                    </a:lnTo>
                    <a:lnTo>
                      <a:pt x="184" y="107"/>
                    </a:lnTo>
                    <a:lnTo>
                      <a:pt x="174" y="116"/>
                    </a:lnTo>
                    <a:lnTo>
                      <a:pt x="172" y="126"/>
                    </a:lnTo>
                    <a:lnTo>
                      <a:pt x="167" y="135"/>
                    </a:lnTo>
                    <a:lnTo>
                      <a:pt x="166" y="143"/>
                    </a:lnTo>
                    <a:lnTo>
                      <a:pt x="153" y="150"/>
                    </a:lnTo>
                    <a:lnTo>
                      <a:pt x="143" y="142"/>
                    </a:lnTo>
                    <a:lnTo>
                      <a:pt x="136" y="142"/>
                    </a:lnTo>
                    <a:lnTo>
                      <a:pt x="125" y="154"/>
                    </a:lnTo>
                    <a:lnTo>
                      <a:pt x="120" y="155"/>
                    </a:lnTo>
                    <a:lnTo>
                      <a:pt x="111" y="175"/>
                    </a:lnTo>
                    <a:lnTo>
                      <a:pt x="106" y="189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4" name="Freeform 134"/>
              <p:cNvSpPr>
                <a:spLocks/>
              </p:cNvSpPr>
              <p:nvPr/>
            </p:nvSpPr>
            <p:spPr bwMode="auto">
              <a:xfrm>
                <a:off x="1643062" y="3413125"/>
                <a:ext cx="136525" cy="142875"/>
              </a:xfrm>
              <a:custGeom>
                <a:avLst/>
                <a:gdLst>
                  <a:gd name="T0" fmla="*/ 33 w 86"/>
                  <a:gd name="T1" fmla="*/ 82 h 90"/>
                  <a:gd name="T2" fmla="*/ 27 w 86"/>
                  <a:gd name="T3" fmla="*/ 75 h 90"/>
                  <a:gd name="T4" fmla="*/ 19 w 86"/>
                  <a:gd name="T5" fmla="*/ 67 h 90"/>
                  <a:gd name="T6" fmla="*/ 15 w 86"/>
                  <a:gd name="T7" fmla="*/ 60 h 90"/>
                  <a:gd name="T8" fmla="*/ 8 w 86"/>
                  <a:gd name="T9" fmla="*/ 54 h 90"/>
                  <a:gd name="T10" fmla="*/ 0 w 86"/>
                  <a:gd name="T11" fmla="*/ 44 h 90"/>
                  <a:gd name="T12" fmla="*/ 2 w 86"/>
                  <a:gd name="T13" fmla="*/ 41 h 90"/>
                  <a:gd name="T14" fmla="*/ 5 w 86"/>
                  <a:gd name="T15" fmla="*/ 44 h 90"/>
                  <a:gd name="T16" fmla="*/ 6 w 86"/>
                  <a:gd name="T17" fmla="*/ 43 h 90"/>
                  <a:gd name="T18" fmla="*/ 12 w 86"/>
                  <a:gd name="T19" fmla="*/ 42 h 90"/>
                  <a:gd name="T20" fmla="*/ 15 w 86"/>
                  <a:gd name="T21" fmla="*/ 37 h 90"/>
                  <a:gd name="T22" fmla="*/ 18 w 86"/>
                  <a:gd name="T23" fmla="*/ 37 h 90"/>
                  <a:gd name="T24" fmla="*/ 18 w 86"/>
                  <a:gd name="T25" fmla="*/ 27 h 90"/>
                  <a:gd name="T26" fmla="*/ 23 w 86"/>
                  <a:gd name="T27" fmla="*/ 26 h 90"/>
                  <a:gd name="T28" fmla="*/ 26 w 86"/>
                  <a:gd name="T29" fmla="*/ 26 h 90"/>
                  <a:gd name="T30" fmla="*/ 31 w 86"/>
                  <a:gd name="T31" fmla="*/ 21 h 90"/>
                  <a:gd name="T32" fmla="*/ 36 w 86"/>
                  <a:gd name="T33" fmla="*/ 25 h 90"/>
                  <a:gd name="T34" fmla="*/ 38 w 86"/>
                  <a:gd name="T35" fmla="*/ 22 h 90"/>
                  <a:gd name="T36" fmla="*/ 41 w 86"/>
                  <a:gd name="T37" fmla="*/ 20 h 90"/>
                  <a:gd name="T38" fmla="*/ 48 w 86"/>
                  <a:gd name="T39" fmla="*/ 14 h 90"/>
                  <a:gd name="T40" fmla="*/ 49 w 86"/>
                  <a:gd name="T41" fmla="*/ 10 h 90"/>
                  <a:gd name="T42" fmla="*/ 51 w 86"/>
                  <a:gd name="T43" fmla="*/ 10 h 90"/>
                  <a:gd name="T44" fmla="*/ 54 w 86"/>
                  <a:gd name="T45" fmla="*/ 5 h 90"/>
                  <a:gd name="T46" fmla="*/ 56 w 86"/>
                  <a:gd name="T47" fmla="*/ 5 h 90"/>
                  <a:gd name="T48" fmla="*/ 58 w 86"/>
                  <a:gd name="T49" fmla="*/ 8 h 90"/>
                  <a:gd name="T50" fmla="*/ 62 w 86"/>
                  <a:gd name="T51" fmla="*/ 9 h 90"/>
                  <a:gd name="T52" fmla="*/ 66 w 86"/>
                  <a:gd name="T53" fmla="*/ 6 h 90"/>
                  <a:gd name="T54" fmla="*/ 71 w 86"/>
                  <a:gd name="T55" fmla="*/ 6 h 90"/>
                  <a:gd name="T56" fmla="*/ 77 w 86"/>
                  <a:gd name="T57" fmla="*/ 3 h 90"/>
                  <a:gd name="T58" fmla="*/ 80 w 86"/>
                  <a:gd name="T59" fmla="*/ 0 h 90"/>
                  <a:gd name="T60" fmla="*/ 86 w 86"/>
                  <a:gd name="T61" fmla="*/ 1 h 90"/>
                  <a:gd name="T62" fmla="*/ 85 w 86"/>
                  <a:gd name="T63" fmla="*/ 3 h 90"/>
                  <a:gd name="T64" fmla="*/ 83 w 86"/>
                  <a:gd name="T65" fmla="*/ 8 h 90"/>
                  <a:gd name="T66" fmla="*/ 84 w 86"/>
                  <a:gd name="T67" fmla="*/ 15 h 90"/>
                  <a:gd name="T68" fmla="*/ 79 w 86"/>
                  <a:gd name="T69" fmla="*/ 22 h 90"/>
                  <a:gd name="T70" fmla="*/ 77 w 86"/>
                  <a:gd name="T71" fmla="*/ 30 h 90"/>
                  <a:gd name="T72" fmla="*/ 76 w 86"/>
                  <a:gd name="T73" fmla="*/ 40 h 90"/>
                  <a:gd name="T74" fmla="*/ 76 w 86"/>
                  <a:gd name="T75" fmla="*/ 45 h 90"/>
                  <a:gd name="T76" fmla="*/ 76 w 86"/>
                  <a:gd name="T77" fmla="*/ 54 h 90"/>
                  <a:gd name="T78" fmla="*/ 73 w 86"/>
                  <a:gd name="T79" fmla="*/ 56 h 90"/>
                  <a:gd name="T80" fmla="*/ 70 w 86"/>
                  <a:gd name="T81" fmla="*/ 65 h 90"/>
                  <a:gd name="T82" fmla="*/ 71 w 86"/>
                  <a:gd name="T83" fmla="*/ 71 h 90"/>
                  <a:gd name="T84" fmla="*/ 67 w 86"/>
                  <a:gd name="T85" fmla="*/ 76 h 90"/>
                  <a:gd name="T86" fmla="*/ 67 w 86"/>
                  <a:gd name="T87" fmla="*/ 82 h 90"/>
                  <a:gd name="T88" fmla="*/ 70 w 86"/>
                  <a:gd name="T89" fmla="*/ 85 h 90"/>
                  <a:gd name="T90" fmla="*/ 65 w 86"/>
                  <a:gd name="T91" fmla="*/ 90 h 90"/>
                  <a:gd name="T92" fmla="*/ 60 w 86"/>
                  <a:gd name="T93" fmla="*/ 88 h 90"/>
                  <a:gd name="T94" fmla="*/ 57 w 86"/>
                  <a:gd name="T95" fmla="*/ 84 h 90"/>
                  <a:gd name="T96" fmla="*/ 52 w 86"/>
                  <a:gd name="T97" fmla="*/ 82 h 90"/>
                  <a:gd name="T98" fmla="*/ 47 w 86"/>
                  <a:gd name="T99" fmla="*/ 85 h 90"/>
                  <a:gd name="T100" fmla="*/ 36 w 86"/>
                  <a:gd name="T101" fmla="*/ 79 h 90"/>
                  <a:gd name="T102" fmla="*/ 33 w 86"/>
                  <a:gd name="T103" fmla="*/ 82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6" h="90">
                    <a:moveTo>
                      <a:pt x="33" y="82"/>
                    </a:moveTo>
                    <a:lnTo>
                      <a:pt x="27" y="75"/>
                    </a:lnTo>
                    <a:lnTo>
                      <a:pt x="19" y="67"/>
                    </a:lnTo>
                    <a:lnTo>
                      <a:pt x="15" y="60"/>
                    </a:lnTo>
                    <a:lnTo>
                      <a:pt x="8" y="54"/>
                    </a:lnTo>
                    <a:lnTo>
                      <a:pt x="0" y="44"/>
                    </a:lnTo>
                    <a:lnTo>
                      <a:pt x="2" y="41"/>
                    </a:lnTo>
                    <a:lnTo>
                      <a:pt x="5" y="44"/>
                    </a:lnTo>
                    <a:lnTo>
                      <a:pt x="6" y="43"/>
                    </a:lnTo>
                    <a:lnTo>
                      <a:pt x="12" y="42"/>
                    </a:lnTo>
                    <a:lnTo>
                      <a:pt x="15" y="37"/>
                    </a:lnTo>
                    <a:lnTo>
                      <a:pt x="18" y="37"/>
                    </a:lnTo>
                    <a:lnTo>
                      <a:pt x="18" y="27"/>
                    </a:lnTo>
                    <a:lnTo>
                      <a:pt x="23" y="26"/>
                    </a:lnTo>
                    <a:lnTo>
                      <a:pt x="26" y="26"/>
                    </a:lnTo>
                    <a:lnTo>
                      <a:pt x="31" y="21"/>
                    </a:lnTo>
                    <a:lnTo>
                      <a:pt x="36" y="25"/>
                    </a:lnTo>
                    <a:lnTo>
                      <a:pt x="38" y="22"/>
                    </a:lnTo>
                    <a:lnTo>
                      <a:pt x="41" y="20"/>
                    </a:lnTo>
                    <a:lnTo>
                      <a:pt x="48" y="14"/>
                    </a:lnTo>
                    <a:lnTo>
                      <a:pt x="49" y="10"/>
                    </a:lnTo>
                    <a:lnTo>
                      <a:pt x="51" y="10"/>
                    </a:lnTo>
                    <a:lnTo>
                      <a:pt x="54" y="5"/>
                    </a:lnTo>
                    <a:lnTo>
                      <a:pt x="56" y="5"/>
                    </a:lnTo>
                    <a:lnTo>
                      <a:pt x="58" y="8"/>
                    </a:lnTo>
                    <a:lnTo>
                      <a:pt x="62" y="9"/>
                    </a:lnTo>
                    <a:lnTo>
                      <a:pt x="66" y="6"/>
                    </a:lnTo>
                    <a:lnTo>
                      <a:pt x="71" y="6"/>
                    </a:lnTo>
                    <a:lnTo>
                      <a:pt x="77" y="3"/>
                    </a:lnTo>
                    <a:lnTo>
                      <a:pt x="80" y="0"/>
                    </a:lnTo>
                    <a:lnTo>
                      <a:pt x="86" y="1"/>
                    </a:lnTo>
                    <a:lnTo>
                      <a:pt x="85" y="3"/>
                    </a:lnTo>
                    <a:lnTo>
                      <a:pt x="83" y="8"/>
                    </a:lnTo>
                    <a:lnTo>
                      <a:pt x="84" y="15"/>
                    </a:lnTo>
                    <a:lnTo>
                      <a:pt x="79" y="22"/>
                    </a:lnTo>
                    <a:lnTo>
                      <a:pt x="77" y="30"/>
                    </a:lnTo>
                    <a:lnTo>
                      <a:pt x="76" y="40"/>
                    </a:lnTo>
                    <a:lnTo>
                      <a:pt x="76" y="45"/>
                    </a:lnTo>
                    <a:lnTo>
                      <a:pt x="76" y="54"/>
                    </a:lnTo>
                    <a:lnTo>
                      <a:pt x="73" y="56"/>
                    </a:lnTo>
                    <a:lnTo>
                      <a:pt x="70" y="65"/>
                    </a:lnTo>
                    <a:lnTo>
                      <a:pt x="71" y="71"/>
                    </a:lnTo>
                    <a:lnTo>
                      <a:pt x="67" y="76"/>
                    </a:lnTo>
                    <a:lnTo>
                      <a:pt x="67" y="82"/>
                    </a:lnTo>
                    <a:lnTo>
                      <a:pt x="70" y="85"/>
                    </a:lnTo>
                    <a:lnTo>
                      <a:pt x="65" y="90"/>
                    </a:lnTo>
                    <a:lnTo>
                      <a:pt x="60" y="88"/>
                    </a:lnTo>
                    <a:lnTo>
                      <a:pt x="57" y="84"/>
                    </a:lnTo>
                    <a:lnTo>
                      <a:pt x="52" y="82"/>
                    </a:lnTo>
                    <a:lnTo>
                      <a:pt x="47" y="85"/>
                    </a:lnTo>
                    <a:lnTo>
                      <a:pt x="36" y="79"/>
                    </a:lnTo>
                    <a:lnTo>
                      <a:pt x="33" y="82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5" name="Freeform 135"/>
              <p:cNvSpPr>
                <a:spLocks/>
              </p:cNvSpPr>
              <p:nvPr/>
            </p:nvSpPr>
            <p:spPr bwMode="auto">
              <a:xfrm>
                <a:off x="4265612" y="2155825"/>
                <a:ext cx="92075" cy="85725"/>
              </a:xfrm>
              <a:custGeom>
                <a:avLst/>
                <a:gdLst>
                  <a:gd name="T0" fmla="*/ 42 w 58"/>
                  <a:gd name="T1" fmla="*/ 0 h 54"/>
                  <a:gd name="T2" fmla="*/ 55 w 58"/>
                  <a:gd name="T3" fmla="*/ 0 h 54"/>
                  <a:gd name="T4" fmla="*/ 58 w 58"/>
                  <a:gd name="T5" fmla="*/ 7 h 54"/>
                  <a:gd name="T6" fmla="*/ 55 w 58"/>
                  <a:gd name="T7" fmla="*/ 25 h 54"/>
                  <a:gd name="T8" fmla="*/ 51 w 58"/>
                  <a:gd name="T9" fmla="*/ 33 h 54"/>
                  <a:gd name="T10" fmla="*/ 42 w 58"/>
                  <a:gd name="T11" fmla="*/ 33 h 54"/>
                  <a:gd name="T12" fmla="*/ 45 w 58"/>
                  <a:gd name="T13" fmla="*/ 54 h 54"/>
                  <a:gd name="T14" fmla="*/ 36 w 58"/>
                  <a:gd name="T15" fmla="*/ 49 h 54"/>
                  <a:gd name="T16" fmla="*/ 26 w 58"/>
                  <a:gd name="T17" fmla="*/ 40 h 54"/>
                  <a:gd name="T18" fmla="*/ 11 w 58"/>
                  <a:gd name="T19" fmla="*/ 44 h 54"/>
                  <a:gd name="T20" fmla="*/ 0 w 58"/>
                  <a:gd name="T21" fmla="*/ 43 h 54"/>
                  <a:gd name="T22" fmla="*/ 8 w 58"/>
                  <a:gd name="T23" fmla="*/ 37 h 54"/>
                  <a:gd name="T24" fmla="*/ 21 w 58"/>
                  <a:gd name="T25" fmla="*/ 8 h 54"/>
                  <a:gd name="T26" fmla="*/ 42 w 58"/>
                  <a:gd name="T2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8" h="54">
                    <a:moveTo>
                      <a:pt x="42" y="0"/>
                    </a:moveTo>
                    <a:lnTo>
                      <a:pt x="55" y="0"/>
                    </a:lnTo>
                    <a:lnTo>
                      <a:pt x="58" y="7"/>
                    </a:lnTo>
                    <a:lnTo>
                      <a:pt x="55" y="25"/>
                    </a:lnTo>
                    <a:lnTo>
                      <a:pt x="51" y="33"/>
                    </a:lnTo>
                    <a:lnTo>
                      <a:pt x="42" y="33"/>
                    </a:lnTo>
                    <a:lnTo>
                      <a:pt x="45" y="54"/>
                    </a:lnTo>
                    <a:lnTo>
                      <a:pt x="36" y="49"/>
                    </a:lnTo>
                    <a:lnTo>
                      <a:pt x="26" y="40"/>
                    </a:lnTo>
                    <a:lnTo>
                      <a:pt x="11" y="44"/>
                    </a:lnTo>
                    <a:lnTo>
                      <a:pt x="0" y="43"/>
                    </a:lnTo>
                    <a:lnTo>
                      <a:pt x="8" y="37"/>
                    </a:lnTo>
                    <a:lnTo>
                      <a:pt x="21" y="8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6" name="Freeform 136"/>
              <p:cNvSpPr>
                <a:spLocks/>
              </p:cNvSpPr>
              <p:nvPr/>
            </p:nvSpPr>
            <p:spPr bwMode="auto">
              <a:xfrm>
                <a:off x="4295775" y="1628775"/>
                <a:ext cx="539750" cy="382588"/>
              </a:xfrm>
              <a:custGeom>
                <a:avLst/>
                <a:gdLst>
                  <a:gd name="T0" fmla="*/ 294 w 340"/>
                  <a:gd name="T1" fmla="*/ 0 h 241"/>
                  <a:gd name="T2" fmla="*/ 338 w 340"/>
                  <a:gd name="T3" fmla="*/ 13 h 241"/>
                  <a:gd name="T4" fmla="*/ 322 w 340"/>
                  <a:gd name="T5" fmla="*/ 17 h 241"/>
                  <a:gd name="T6" fmla="*/ 340 w 340"/>
                  <a:gd name="T7" fmla="*/ 28 h 241"/>
                  <a:gd name="T8" fmla="*/ 319 w 340"/>
                  <a:gd name="T9" fmla="*/ 35 h 241"/>
                  <a:gd name="T10" fmla="*/ 309 w 340"/>
                  <a:gd name="T11" fmla="*/ 37 h 241"/>
                  <a:gd name="T12" fmla="*/ 311 w 340"/>
                  <a:gd name="T13" fmla="*/ 24 h 241"/>
                  <a:gd name="T14" fmla="*/ 293 w 340"/>
                  <a:gd name="T15" fmla="*/ 18 h 241"/>
                  <a:gd name="T16" fmla="*/ 274 w 340"/>
                  <a:gd name="T17" fmla="*/ 23 h 241"/>
                  <a:gd name="T18" fmla="*/ 270 w 340"/>
                  <a:gd name="T19" fmla="*/ 36 h 241"/>
                  <a:gd name="T20" fmla="*/ 259 w 340"/>
                  <a:gd name="T21" fmla="*/ 44 h 241"/>
                  <a:gd name="T22" fmla="*/ 244 w 340"/>
                  <a:gd name="T23" fmla="*/ 40 h 241"/>
                  <a:gd name="T24" fmla="*/ 227 w 340"/>
                  <a:gd name="T25" fmla="*/ 40 h 241"/>
                  <a:gd name="T26" fmla="*/ 210 w 340"/>
                  <a:gd name="T27" fmla="*/ 31 h 241"/>
                  <a:gd name="T28" fmla="*/ 203 w 340"/>
                  <a:gd name="T29" fmla="*/ 36 h 241"/>
                  <a:gd name="T30" fmla="*/ 195 w 340"/>
                  <a:gd name="T31" fmla="*/ 37 h 241"/>
                  <a:gd name="T32" fmla="*/ 195 w 340"/>
                  <a:gd name="T33" fmla="*/ 48 h 241"/>
                  <a:gd name="T34" fmla="*/ 170 w 340"/>
                  <a:gd name="T35" fmla="*/ 45 h 241"/>
                  <a:gd name="T36" fmla="*/ 168 w 340"/>
                  <a:gd name="T37" fmla="*/ 55 h 241"/>
                  <a:gd name="T38" fmla="*/ 155 w 340"/>
                  <a:gd name="T39" fmla="*/ 55 h 241"/>
                  <a:gd name="T40" fmla="*/ 148 w 340"/>
                  <a:gd name="T41" fmla="*/ 68 h 241"/>
                  <a:gd name="T42" fmla="*/ 137 w 340"/>
                  <a:gd name="T43" fmla="*/ 88 h 241"/>
                  <a:gd name="T44" fmla="*/ 118 w 340"/>
                  <a:gd name="T45" fmla="*/ 114 h 241"/>
                  <a:gd name="T46" fmla="*/ 124 w 340"/>
                  <a:gd name="T47" fmla="*/ 120 h 241"/>
                  <a:gd name="T48" fmla="*/ 120 w 340"/>
                  <a:gd name="T49" fmla="*/ 127 h 241"/>
                  <a:gd name="T50" fmla="*/ 106 w 340"/>
                  <a:gd name="T51" fmla="*/ 127 h 241"/>
                  <a:gd name="T52" fmla="*/ 98 w 340"/>
                  <a:gd name="T53" fmla="*/ 145 h 241"/>
                  <a:gd name="T54" fmla="*/ 102 w 340"/>
                  <a:gd name="T55" fmla="*/ 170 h 241"/>
                  <a:gd name="T56" fmla="*/ 112 w 340"/>
                  <a:gd name="T57" fmla="*/ 179 h 241"/>
                  <a:gd name="T58" fmla="*/ 109 w 340"/>
                  <a:gd name="T59" fmla="*/ 202 h 241"/>
                  <a:gd name="T60" fmla="*/ 98 w 340"/>
                  <a:gd name="T61" fmla="*/ 215 h 241"/>
                  <a:gd name="T62" fmla="*/ 92 w 340"/>
                  <a:gd name="T63" fmla="*/ 226 h 241"/>
                  <a:gd name="T64" fmla="*/ 81 w 340"/>
                  <a:gd name="T65" fmla="*/ 214 h 241"/>
                  <a:gd name="T66" fmla="*/ 54 w 340"/>
                  <a:gd name="T67" fmla="*/ 237 h 241"/>
                  <a:gd name="T68" fmla="*/ 34 w 340"/>
                  <a:gd name="T69" fmla="*/ 241 h 241"/>
                  <a:gd name="T70" fmla="*/ 13 w 340"/>
                  <a:gd name="T71" fmla="*/ 231 h 241"/>
                  <a:gd name="T72" fmla="*/ 7 w 340"/>
                  <a:gd name="T73" fmla="*/ 211 h 241"/>
                  <a:gd name="T74" fmla="*/ 0 w 340"/>
                  <a:gd name="T75" fmla="*/ 166 h 241"/>
                  <a:gd name="T76" fmla="*/ 13 w 340"/>
                  <a:gd name="T77" fmla="*/ 154 h 241"/>
                  <a:gd name="T78" fmla="*/ 50 w 340"/>
                  <a:gd name="T79" fmla="*/ 139 h 241"/>
                  <a:gd name="T80" fmla="*/ 76 w 340"/>
                  <a:gd name="T81" fmla="*/ 119 h 241"/>
                  <a:gd name="T82" fmla="*/ 99 w 340"/>
                  <a:gd name="T83" fmla="*/ 94 h 241"/>
                  <a:gd name="T84" fmla="*/ 128 w 340"/>
                  <a:gd name="T85" fmla="*/ 59 h 241"/>
                  <a:gd name="T86" fmla="*/ 149 w 340"/>
                  <a:gd name="T87" fmla="*/ 45 h 241"/>
                  <a:gd name="T88" fmla="*/ 182 w 340"/>
                  <a:gd name="T89" fmla="*/ 24 h 241"/>
                  <a:gd name="T90" fmla="*/ 209 w 340"/>
                  <a:gd name="T91" fmla="*/ 16 h 241"/>
                  <a:gd name="T92" fmla="*/ 231 w 340"/>
                  <a:gd name="T93" fmla="*/ 17 h 241"/>
                  <a:gd name="T94" fmla="*/ 247 w 340"/>
                  <a:gd name="T95" fmla="*/ 3 h 241"/>
                  <a:gd name="T96" fmla="*/ 271 w 340"/>
                  <a:gd name="T97" fmla="*/ 3 h 241"/>
                  <a:gd name="T98" fmla="*/ 294 w 340"/>
                  <a:gd name="T99" fmla="*/ 0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0" h="241">
                    <a:moveTo>
                      <a:pt x="294" y="0"/>
                    </a:moveTo>
                    <a:lnTo>
                      <a:pt x="338" y="13"/>
                    </a:lnTo>
                    <a:lnTo>
                      <a:pt x="322" y="17"/>
                    </a:lnTo>
                    <a:lnTo>
                      <a:pt x="340" y="28"/>
                    </a:lnTo>
                    <a:lnTo>
                      <a:pt x="319" y="35"/>
                    </a:lnTo>
                    <a:lnTo>
                      <a:pt x="309" y="37"/>
                    </a:lnTo>
                    <a:lnTo>
                      <a:pt x="311" y="24"/>
                    </a:lnTo>
                    <a:lnTo>
                      <a:pt x="293" y="18"/>
                    </a:lnTo>
                    <a:lnTo>
                      <a:pt x="274" y="23"/>
                    </a:lnTo>
                    <a:lnTo>
                      <a:pt x="270" y="36"/>
                    </a:lnTo>
                    <a:lnTo>
                      <a:pt x="259" y="44"/>
                    </a:lnTo>
                    <a:lnTo>
                      <a:pt x="244" y="40"/>
                    </a:lnTo>
                    <a:lnTo>
                      <a:pt x="227" y="40"/>
                    </a:lnTo>
                    <a:lnTo>
                      <a:pt x="210" y="31"/>
                    </a:lnTo>
                    <a:lnTo>
                      <a:pt x="203" y="36"/>
                    </a:lnTo>
                    <a:lnTo>
                      <a:pt x="195" y="37"/>
                    </a:lnTo>
                    <a:lnTo>
                      <a:pt x="195" y="48"/>
                    </a:lnTo>
                    <a:lnTo>
                      <a:pt x="170" y="45"/>
                    </a:lnTo>
                    <a:lnTo>
                      <a:pt x="168" y="55"/>
                    </a:lnTo>
                    <a:lnTo>
                      <a:pt x="155" y="55"/>
                    </a:lnTo>
                    <a:lnTo>
                      <a:pt x="148" y="68"/>
                    </a:lnTo>
                    <a:lnTo>
                      <a:pt x="137" y="88"/>
                    </a:lnTo>
                    <a:lnTo>
                      <a:pt x="118" y="114"/>
                    </a:lnTo>
                    <a:lnTo>
                      <a:pt x="124" y="120"/>
                    </a:lnTo>
                    <a:lnTo>
                      <a:pt x="120" y="127"/>
                    </a:lnTo>
                    <a:lnTo>
                      <a:pt x="106" y="127"/>
                    </a:lnTo>
                    <a:lnTo>
                      <a:pt x="98" y="145"/>
                    </a:lnTo>
                    <a:lnTo>
                      <a:pt x="102" y="170"/>
                    </a:lnTo>
                    <a:lnTo>
                      <a:pt x="112" y="179"/>
                    </a:lnTo>
                    <a:lnTo>
                      <a:pt x="109" y="202"/>
                    </a:lnTo>
                    <a:lnTo>
                      <a:pt x="98" y="215"/>
                    </a:lnTo>
                    <a:lnTo>
                      <a:pt x="92" y="226"/>
                    </a:lnTo>
                    <a:lnTo>
                      <a:pt x="81" y="214"/>
                    </a:lnTo>
                    <a:lnTo>
                      <a:pt x="54" y="237"/>
                    </a:lnTo>
                    <a:lnTo>
                      <a:pt x="34" y="241"/>
                    </a:lnTo>
                    <a:lnTo>
                      <a:pt x="13" y="231"/>
                    </a:lnTo>
                    <a:lnTo>
                      <a:pt x="7" y="211"/>
                    </a:lnTo>
                    <a:lnTo>
                      <a:pt x="0" y="166"/>
                    </a:lnTo>
                    <a:lnTo>
                      <a:pt x="13" y="154"/>
                    </a:lnTo>
                    <a:lnTo>
                      <a:pt x="50" y="139"/>
                    </a:lnTo>
                    <a:lnTo>
                      <a:pt x="76" y="119"/>
                    </a:lnTo>
                    <a:lnTo>
                      <a:pt x="99" y="94"/>
                    </a:lnTo>
                    <a:lnTo>
                      <a:pt x="128" y="59"/>
                    </a:lnTo>
                    <a:lnTo>
                      <a:pt x="149" y="45"/>
                    </a:lnTo>
                    <a:lnTo>
                      <a:pt x="182" y="24"/>
                    </a:lnTo>
                    <a:lnTo>
                      <a:pt x="209" y="16"/>
                    </a:lnTo>
                    <a:lnTo>
                      <a:pt x="231" y="17"/>
                    </a:lnTo>
                    <a:lnTo>
                      <a:pt x="247" y="3"/>
                    </a:lnTo>
                    <a:lnTo>
                      <a:pt x="271" y="3"/>
                    </a:lnTo>
                    <a:lnTo>
                      <a:pt x="294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7" name="Freeform 137"/>
              <p:cNvSpPr>
                <a:spLocks/>
              </p:cNvSpPr>
              <p:nvPr/>
            </p:nvSpPr>
            <p:spPr bwMode="auto">
              <a:xfrm>
                <a:off x="4570412" y="1447800"/>
                <a:ext cx="76200" cy="23813"/>
              </a:xfrm>
              <a:custGeom>
                <a:avLst/>
                <a:gdLst>
                  <a:gd name="T0" fmla="*/ 48 w 48"/>
                  <a:gd name="T1" fmla="*/ 9 h 15"/>
                  <a:gd name="T2" fmla="*/ 23 w 48"/>
                  <a:gd name="T3" fmla="*/ 15 h 15"/>
                  <a:gd name="T4" fmla="*/ 1 w 48"/>
                  <a:gd name="T5" fmla="*/ 11 h 15"/>
                  <a:gd name="T6" fmla="*/ 8 w 48"/>
                  <a:gd name="T7" fmla="*/ 8 h 15"/>
                  <a:gd name="T8" fmla="*/ 0 w 48"/>
                  <a:gd name="T9" fmla="*/ 3 h 15"/>
                  <a:gd name="T10" fmla="*/ 24 w 48"/>
                  <a:gd name="T11" fmla="*/ 0 h 15"/>
                  <a:gd name="T12" fmla="*/ 30 w 48"/>
                  <a:gd name="T13" fmla="*/ 5 h 15"/>
                  <a:gd name="T14" fmla="*/ 48 w 48"/>
                  <a:gd name="T15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15">
                    <a:moveTo>
                      <a:pt x="48" y="9"/>
                    </a:moveTo>
                    <a:lnTo>
                      <a:pt x="23" y="15"/>
                    </a:lnTo>
                    <a:lnTo>
                      <a:pt x="1" y="11"/>
                    </a:lnTo>
                    <a:lnTo>
                      <a:pt x="8" y="8"/>
                    </a:lnTo>
                    <a:lnTo>
                      <a:pt x="0" y="3"/>
                    </a:lnTo>
                    <a:lnTo>
                      <a:pt x="24" y="0"/>
                    </a:lnTo>
                    <a:lnTo>
                      <a:pt x="30" y="5"/>
                    </a:lnTo>
                    <a:lnTo>
                      <a:pt x="48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8" name="Freeform 138"/>
              <p:cNvSpPr>
                <a:spLocks/>
              </p:cNvSpPr>
              <p:nvPr/>
            </p:nvSpPr>
            <p:spPr bwMode="auto">
              <a:xfrm>
                <a:off x="4373562" y="1412875"/>
                <a:ext cx="206375" cy="74613"/>
              </a:xfrm>
              <a:custGeom>
                <a:avLst/>
                <a:gdLst>
                  <a:gd name="T0" fmla="*/ 89 w 130"/>
                  <a:gd name="T1" fmla="*/ 4 h 47"/>
                  <a:gd name="T2" fmla="*/ 130 w 130"/>
                  <a:gd name="T3" fmla="*/ 15 h 47"/>
                  <a:gd name="T4" fmla="*/ 102 w 130"/>
                  <a:gd name="T5" fmla="*/ 21 h 47"/>
                  <a:gd name="T6" fmla="*/ 98 w 130"/>
                  <a:gd name="T7" fmla="*/ 31 h 47"/>
                  <a:gd name="T8" fmla="*/ 88 w 130"/>
                  <a:gd name="T9" fmla="*/ 34 h 47"/>
                  <a:gd name="T10" fmla="*/ 85 w 130"/>
                  <a:gd name="T11" fmla="*/ 46 h 47"/>
                  <a:gd name="T12" fmla="*/ 70 w 130"/>
                  <a:gd name="T13" fmla="*/ 47 h 47"/>
                  <a:gd name="T14" fmla="*/ 43 w 130"/>
                  <a:gd name="T15" fmla="*/ 38 h 47"/>
                  <a:gd name="T16" fmla="*/ 53 w 130"/>
                  <a:gd name="T17" fmla="*/ 32 h 47"/>
                  <a:gd name="T18" fmla="*/ 35 w 130"/>
                  <a:gd name="T19" fmla="*/ 28 h 47"/>
                  <a:gd name="T20" fmla="*/ 10 w 130"/>
                  <a:gd name="T21" fmla="*/ 16 h 47"/>
                  <a:gd name="T22" fmla="*/ 0 w 130"/>
                  <a:gd name="T23" fmla="*/ 5 h 47"/>
                  <a:gd name="T24" fmla="*/ 30 w 130"/>
                  <a:gd name="T25" fmla="*/ 0 h 47"/>
                  <a:gd name="T26" fmla="*/ 37 w 130"/>
                  <a:gd name="T27" fmla="*/ 5 h 47"/>
                  <a:gd name="T28" fmla="*/ 54 w 130"/>
                  <a:gd name="T29" fmla="*/ 5 h 47"/>
                  <a:gd name="T30" fmla="*/ 57 w 130"/>
                  <a:gd name="T31" fmla="*/ 0 h 47"/>
                  <a:gd name="T32" fmla="*/ 74 w 130"/>
                  <a:gd name="T33" fmla="*/ 0 h 47"/>
                  <a:gd name="T34" fmla="*/ 89 w 130"/>
                  <a:gd name="T35" fmla="*/ 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47">
                    <a:moveTo>
                      <a:pt x="89" y="4"/>
                    </a:moveTo>
                    <a:lnTo>
                      <a:pt x="130" y="15"/>
                    </a:lnTo>
                    <a:lnTo>
                      <a:pt x="102" y="21"/>
                    </a:lnTo>
                    <a:lnTo>
                      <a:pt x="98" y="31"/>
                    </a:lnTo>
                    <a:lnTo>
                      <a:pt x="88" y="34"/>
                    </a:lnTo>
                    <a:lnTo>
                      <a:pt x="85" y="46"/>
                    </a:lnTo>
                    <a:lnTo>
                      <a:pt x="70" y="47"/>
                    </a:lnTo>
                    <a:lnTo>
                      <a:pt x="43" y="38"/>
                    </a:lnTo>
                    <a:lnTo>
                      <a:pt x="53" y="32"/>
                    </a:lnTo>
                    <a:lnTo>
                      <a:pt x="35" y="28"/>
                    </a:lnTo>
                    <a:lnTo>
                      <a:pt x="10" y="16"/>
                    </a:lnTo>
                    <a:lnTo>
                      <a:pt x="0" y="5"/>
                    </a:lnTo>
                    <a:lnTo>
                      <a:pt x="30" y="0"/>
                    </a:lnTo>
                    <a:lnTo>
                      <a:pt x="37" y="5"/>
                    </a:lnTo>
                    <a:lnTo>
                      <a:pt x="54" y="5"/>
                    </a:lnTo>
                    <a:lnTo>
                      <a:pt x="57" y="0"/>
                    </a:lnTo>
                    <a:lnTo>
                      <a:pt x="74" y="0"/>
                    </a:lnTo>
                    <a:lnTo>
                      <a:pt x="89" y="4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49" name="Freeform 139"/>
              <p:cNvSpPr>
                <a:spLocks/>
              </p:cNvSpPr>
              <p:nvPr/>
            </p:nvSpPr>
            <p:spPr bwMode="auto">
              <a:xfrm>
                <a:off x="4495800" y="1400175"/>
                <a:ext cx="184150" cy="26988"/>
              </a:xfrm>
              <a:custGeom>
                <a:avLst/>
                <a:gdLst>
                  <a:gd name="T0" fmla="*/ 92 w 116"/>
                  <a:gd name="T1" fmla="*/ 3 h 17"/>
                  <a:gd name="T2" fmla="*/ 116 w 116"/>
                  <a:gd name="T3" fmla="*/ 8 h 17"/>
                  <a:gd name="T4" fmla="*/ 101 w 116"/>
                  <a:gd name="T5" fmla="*/ 15 h 17"/>
                  <a:gd name="T6" fmla="*/ 68 w 116"/>
                  <a:gd name="T7" fmla="*/ 17 h 17"/>
                  <a:gd name="T8" fmla="*/ 34 w 116"/>
                  <a:gd name="T9" fmla="*/ 14 h 17"/>
                  <a:gd name="T10" fmla="*/ 31 w 116"/>
                  <a:gd name="T11" fmla="*/ 11 h 17"/>
                  <a:gd name="T12" fmla="*/ 14 w 116"/>
                  <a:gd name="T13" fmla="*/ 11 h 17"/>
                  <a:gd name="T14" fmla="*/ 0 w 116"/>
                  <a:gd name="T15" fmla="*/ 4 h 17"/>
                  <a:gd name="T16" fmla="*/ 35 w 116"/>
                  <a:gd name="T17" fmla="*/ 1 h 17"/>
                  <a:gd name="T18" fmla="*/ 52 w 116"/>
                  <a:gd name="T19" fmla="*/ 4 h 17"/>
                  <a:gd name="T20" fmla="*/ 62 w 116"/>
                  <a:gd name="T21" fmla="*/ 0 h 17"/>
                  <a:gd name="T22" fmla="*/ 92 w 116"/>
                  <a:gd name="T23" fmla="*/ 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6" h="17">
                    <a:moveTo>
                      <a:pt x="92" y="3"/>
                    </a:moveTo>
                    <a:lnTo>
                      <a:pt x="116" y="8"/>
                    </a:lnTo>
                    <a:lnTo>
                      <a:pt x="101" y="15"/>
                    </a:lnTo>
                    <a:lnTo>
                      <a:pt x="68" y="17"/>
                    </a:lnTo>
                    <a:lnTo>
                      <a:pt x="34" y="14"/>
                    </a:lnTo>
                    <a:lnTo>
                      <a:pt x="31" y="11"/>
                    </a:lnTo>
                    <a:lnTo>
                      <a:pt x="14" y="11"/>
                    </a:lnTo>
                    <a:lnTo>
                      <a:pt x="0" y="4"/>
                    </a:lnTo>
                    <a:lnTo>
                      <a:pt x="35" y="1"/>
                    </a:lnTo>
                    <a:lnTo>
                      <a:pt x="52" y="4"/>
                    </a:lnTo>
                    <a:lnTo>
                      <a:pt x="62" y="0"/>
                    </a:lnTo>
                    <a:lnTo>
                      <a:pt x="92" y="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0" name="Freeform 140"/>
              <p:cNvSpPr>
                <a:spLocks/>
              </p:cNvSpPr>
              <p:nvPr/>
            </p:nvSpPr>
            <p:spPr bwMode="auto">
              <a:xfrm>
                <a:off x="6429375" y="2906712"/>
                <a:ext cx="241300" cy="131763"/>
              </a:xfrm>
              <a:custGeom>
                <a:avLst/>
                <a:gdLst>
                  <a:gd name="T0" fmla="*/ 146 w 152"/>
                  <a:gd name="T1" fmla="*/ 52 h 83"/>
                  <a:gd name="T2" fmla="*/ 146 w 152"/>
                  <a:gd name="T3" fmla="*/ 61 h 83"/>
                  <a:gd name="T4" fmla="*/ 152 w 152"/>
                  <a:gd name="T5" fmla="*/ 75 h 83"/>
                  <a:gd name="T6" fmla="*/ 151 w 152"/>
                  <a:gd name="T7" fmla="*/ 83 h 83"/>
                  <a:gd name="T8" fmla="*/ 136 w 152"/>
                  <a:gd name="T9" fmla="*/ 83 h 83"/>
                  <a:gd name="T10" fmla="*/ 114 w 152"/>
                  <a:gd name="T11" fmla="*/ 78 h 83"/>
                  <a:gd name="T12" fmla="*/ 100 w 152"/>
                  <a:gd name="T13" fmla="*/ 76 h 83"/>
                  <a:gd name="T14" fmla="*/ 88 w 152"/>
                  <a:gd name="T15" fmla="*/ 66 h 83"/>
                  <a:gd name="T16" fmla="*/ 63 w 152"/>
                  <a:gd name="T17" fmla="*/ 63 h 83"/>
                  <a:gd name="T18" fmla="*/ 37 w 152"/>
                  <a:gd name="T19" fmla="*/ 51 h 83"/>
                  <a:gd name="T20" fmla="*/ 18 w 152"/>
                  <a:gd name="T21" fmla="*/ 41 h 83"/>
                  <a:gd name="T22" fmla="*/ 0 w 152"/>
                  <a:gd name="T23" fmla="*/ 33 h 83"/>
                  <a:gd name="T24" fmla="*/ 3 w 152"/>
                  <a:gd name="T25" fmla="*/ 14 h 83"/>
                  <a:gd name="T26" fmla="*/ 12 w 152"/>
                  <a:gd name="T27" fmla="*/ 4 h 83"/>
                  <a:gd name="T28" fmla="*/ 18 w 152"/>
                  <a:gd name="T29" fmla="*/ 0 h 83"/>
                  <a:gd name="T30" fmla="*/ 34 w 152"/>
                  <a:gd name="T31" fmla="*/ 6 h 83"/>
                  <a:gd name="T32" fmla="*/ 54 w 152"/>
                  <a:gd name="T33" fmla="*/ 19 h 83"/>
                  <a:gd name="T34" fmla="*/ 65 w 152"/>
                  <a:gd name="T35" fmla="*/ 22 h 83"/>
                  <a:gd name="T36" fmla="*/ 73 w 152"/>
                  <a:gd name="T37" fmla="*/ 32 h 83"/>
                  <a:gd name="T38" fmla="*/ 88 w 152"/>
                  <a:gd name="T39" fmla="*/ 36 h 83"/>
                  <a:gd name="T40" fmla="*/ 104 w 152"/>
                  <a:gd name="T41" fmla="*/ 45 h 83"/>
                  <a:gd name="T42" fmla="*/ 125 w 152"/>
                  <a:gd name="T43" fmla="*/ 50 h 83"/>
                  <a:gd name="T44" fmla="*/ 146 w 152"/>
                  <a:gd name="T45" fmla="*/ 52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2" h="83">
                    <a:moveTo>
                      <a:pt x="146" y="52"/>
                    </a:moveTo>
                    <a:lnTo>
                      <a:pt x="146" y="61"/>
                    </a:lnTo>
                    <a:lnTo>
                      <a:pt x="152" y="75"/>
                    </a:lnTo>
                    <a:lnTo>
                      <a:pt x="151" y="83"/>
                    </a:lnTo>
                    <a:lnTo>
                      <a:pt x="136" y="83"/>
                    </a:lnTo>
                    <a:lnTo>
                      <a:pt x="114" y="78"/>
                    </a:lnTo>
                    <a:lnTo>
                      <a:pt x="100" y="76"/>
                    </a:lnTo>
                    <a:lnTo>
                      <a:pt x="88" y="66"/>
                    </a:lnTo>
                    <a:lnTo>
                      <a:pt x="63" y="63"/>
                    </a:lnTo>
                    <a:lnTo>
                      <a:pt x="37" y="51"/>
                    </a:lnTo>
                    <a:lnTo>
                      <a:pt x="18" y="41"/>
                    </a:lnTo>
                    <a:lnTo>
                      <a:pt x="0" y="33"/>
                    </a:lnTo>
                    <a:lnTo>
                      <a:pt x="3" y="14"/>
                    </a:lnTo>
                    <a:lnTo>
                      <a:pt x="12" y="4"/>
                    </a:lnTo>
                    <a:lnTo>
                      <a:pt x="18" y="0"/>
                    </a:lnTo>
                    <a:lnTo>
                      <a:pt x="34" y="6"/>
                    </a:lnTo>
                    <a:lnTo>
                      <a:pt x="54" y="19"/>
                    </a:lnTo>
                    <a:lnTo>
                      <a:pt x="65" y="22"/>
                    </a:lnTo>
                    <a:lnTo>
                      <a:pt x="73" y="32"/>
                    </a:lnTo>
                    <a:lnTo>
                      <a:pt x="88" y="36"/>
                    </a:lnTo>
                    <a:lnTo>
                      <a:pt x="104" y="45"/>
                    </a:lnTo>
                    <a:lnTo>
                      <a:pt x="125" y="50"/>
                    </a:lnTo>
                    <a:lnTo>
                      <a:pt x="146" y="52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1" name="Freeform 141"/>
              <p:cNvSpPr>
                <a:spLocks noEditPoints="1"/>
              </p:cNvSpPr>
              <p:nvPr/>
            </p:nvSpPr>
            <p:spPr bwMode="auto">
              <a:xfrm>
                <a:off x="8512175" y="5045075"/>
                <a:ext cx="517525" cy="398463"/>
              </a:xfrm>
              <a:custGeom>
                <a:avLst/>
                <a:gdLst>
                  <a:gd name="T0" fmla="*/ 1141 w 1337"/>
                  <a:gd name="T1" fmla="*/ 233 h 1028"/>
                  <a:gd name="T2" fmla="*/ 1195 w 1337"/>
                  <a:gd name="T3" fmla="*/ 199 h 1028"/>
                  <a:gd name="T4" fmla="*/ 1204 w 1337"/>
                  <a:gd name="T5" fmla="*/ 290 h 1028"/>
                  <a:gd name="T6" fmla="*/ 1308 w 1337"/>
                  <a:gd name="T7" fmla="*/ 265 h 1028"/>
                  <a:gd name="T8" fmla="*/ 1271 w 1337"/>
                  <a:gd name="T9" fmla="*/ 350 h 1028"/>
                  <a:gd name="T10" fmla="*/ 1164 w 1337"/>
                  <a:gd name="T11" fmla="*/ 397 h 1028"/>
                  <a:gd name="T12" fmla="*/ 1109 w 1337"/>
                  <a:gd name="T13" fmla="*/ 459 h 1028"/>
                  <a:gd name="T14" fmla="*/ 1030 w 1337"/>
                  <a:gd name="T15" fmla="*/ 521 h 1028"/>
                  <a:gd name="T16" fmla="*/ 876 w 1337"/>
                  <a:gd name="T17" fmla="*/ 612 h 1028"/>
                  <a:gd name="T18" fmla="*/ 861 w 1337"/>
                  <a:gd name="T19" fmla="*/ 578 h 1028"/>
                  <a:gd name="T20" fmla="*/ 960 w 1337"/>
                  <a:gd name="T21" fmla="*/ 462 h 1028"/>
                  <a:gd name="T22" fmla="*/ 931 w 1337"/>
                  <a:gd name="T23" fmla="*/ 397 h 1028"/>
                  <a:gd name="T24" fmla="*/ 1055 w 1337"/>
                  <a:gd name="T25" fmla="*/ 303 h 1028"/>
                  <a:gd name="T26" fmla="*/ 1093 w 1337"/>
                  <a:gd name="T27" fmla="*/ 191 h 1028"/>
                  <a:gd name="T28" fmla="*/ 1092 w 1337"/>
                  <a:gd name="T29" fmla="*/ 141 h 1028"/>
                  <a:gd name="T30" fmla="*/ 1084 w 1337"/>
                  <a:gd name="T31" fmla="*/ 6 h 1028"/>
                  <a:gd name="T32" fmla="*/ 1126 w 1337"/>
                  <a:gd name="T33" fmla="*/ 47 h 1028"/>
                  <a:gd name="T34" fmla="*/ 1144 w 1337"/>
                  <a:gd name="T35" fmla="*/ 144 h 1028"/>
                  <a:gd name="T36" fmla="*/ 761 w 1337"/>
                  <a:gd name="T37" fmla="*/ 582 h 1028"/>
                  <a:gd name="T38" fmla="*/ 829 w 1337"/>
                  <a:gd name="T39" fmla="*/ 583 h 1028"/>
                  <a:gd name="T40" fmla="*/ 749 w 1337"/>
                  <a:gd name="T41" fmla="*/ 658 h 1028"/>
                  <a:gd name="T42" fmla="*/ 597 w 1337"/>
                  <a:gd name="T43" fmla="*/ 754 h 1028"/>
                  <a:gd name="T44" fmla="*/ 537 w 1337"/>
                  <a:gd name="T45" fmla="*/ 795 h 1028"/>
                  <a:gd name="T46" fmla="*/ 393 w 1337"/>
                  <a:gd name="T47" fmla="*/ 882 h 1028"/>
                  <a:gd name="T48" fmla="*/ 202 w 1337"/>
                  <a:gd name="T49" fmla="*/ 1004 h 1028"/>
                  <a:gd name="T50" fmla="*/ 88 w 1337"/>
                  <a:gd name="T51" fmla="*/ 1026 h 1028"/>
                  <a:gd name="T52" fmla="*/ 0 w 1337"/>
                  <a:gd name="T53" fmla="*/ 993 h 1028"/>
                  <a:gd name="T54" fmla="*/ 99 w 1337"/>
                  <a:gd name="T55" fmla="*/ 900 h 1028"/>
                  <a:gd name="T56" fmla="*/ 304 w 1337"/>
                  <a:gd name="T57" fmla="*/ 801 h 1028"/>
                  <a:gd name="T58" fmla="*/ 469 w 1337"/>
                  <a:gd name="T59" fmla="*/ 725 h 1028"/>
                  <a:gd name="T60" fmla="*/ 619 w 1337"/>
                  <a:gd name="T61" fmla="*/ 619 h 1028"/>
                  <a:gd name="T62" fmla="*/ 704 w 1337"/>
                  <a:gd name="T63" fmla="*/ 550 h 1028"/>
                  <a:gd name="T64" fmla="*/ 770 w 1337"/>
                  <a:gd name="T65" fmla="*/ 547 h 10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37" h="1028">
                    <a:moveTo>
                      <a:pt x="1144" y="144"/>
                    </a:moveTo>
                    <a:lnTo>
                      <a:pt x="1141" y="233"/>
                    </a:lnTo>
                    <a:lnTo>
                      <a:pt x="1178" y="176"/>
                    </a:lnTo>
                    <a:lnTo>
                      <a:pt x="1195" y="199"/>
                    </a:lnTo>
                    <a:lnTo>
                      <a:pt x="1166" y="263"/>
                    </a:lnTo>
                    <a:lnTo>
                      <a:pt x="1204" y="290"/>
                    </a:lnTo>
                    <a:lnTo>
                      <a:pt x="1247" y="297"/>
                    </a:lnTo>
                    <a:lnTo>
                      <a:pt x="1308" y="265"/>
                    </a:lnTo>
                    <a:lnTo>
                      <a:pt x="1337" y="275"/>
                    </a:lnTo>
                    <a:lnTo>
                      <a:pt x="1271" y="350"/>
                    </a:lnTo>
                    <a:lnTo>
                      <a:pt x="1216" y="399"/>
                    </a:lnTo>
                    <a:lnTo>
                      <a:pt x="1164" y="397"/>
                    </a:lnTo>
                    <a:lnTo>
                      <a:pt x="1128" y="423"/>
                    </a:lnTo>
                    <a:lnTo>
                      <a:pt x="1109" y="459"/>
                    </a:lnTo>
                    <a:lnTo>
                      <a:pt x="1088" y="475"/>
                    </a:lnTo>
                    <a:lnTo>
                      <a:pt x="1030" y="521"/>
                    </a:lnTo>
                    <a:lnTo>
                      <a:pt x="954" y="578"/>
                    </a:lnTo>
                    <a:lnTo>
                      <a:pt x="876" y="612"/>
                    </a:lnTo>
                    <a:lnTo>
                      <a:pt x="881" y="590"/>
                    </a:lnTo>
                    <a:lnTo>
                      <a:pt x="861" y="578"/>
                    </a:lnTo>
                    <a:lnTo>
                      <a:pt x="950" y="508"/>
                    </a:lnTo>
                    <a:lnTo>
                      <a:pt x="960" y="462"/>
                    </a:lnTo>
                    <a:lnTo>
                      <a:pt x="908" y="428"/>
                    </a:lnTo>
                    <a:lnTo>
                      <a:pt x="931" y="397"/>
                    </a:lnTo>
                    <a:lnTo>
                      <a:pt x="1001" y="368"/>
                    </a:lnTo>
                    <a:lnTo>
                      <a:pt x="1055" y="303"/>
                    </a:lnTo>
                    <a:lnTo>
                      <a:pt x="1087" y="248"/>
                    </a:lnTo>
                    <a:lnTo>
                      <a:pt x="1093" y="191"/>
                    </a:lnTo>
                    <a:lnTo>
                      <a:pt x="1104" y="176"/>
                    </a:lnTo>
                    <a:lnTo>
                      <a:pt x="1092" y="141"/>
                    </a:lnTo>
                    <a:lnTo>
                      <a:pt x="1080" y="66"/>
                    </a:lnTo>
                    <a:lnTo>
                      <a:pt x="1084" y="6"/>
                    </a:lnTo>
                    <a:lnTo>
                      <a:pt x="1114" y="0"/>
                    </a:lnTo>
                    <a:lnTo>
                      <a:pt x="1126" y="47"/>
                    </a:lnTo>
                    <a:lnTo>
                      <a:pt x="1169" y="69"/>
                    </a:lnTo>
                    <a:lnTo>
                      <a:pt x="1144" y="144"/>
                    </a:lnTo>
                    <a:moveTo>
                      <a:pt x="770" y="547"/>
                    </a:moveTo>
                    <a:lnTo>
                      <a:pt x="761" y="582"/>
                    </a:lnTo>
                    <a:lnTo>
                      <a:pt x="834" y="548"/>
                    </a:lnTo>
                    <a:lnTo>
                      <a:pt x="829" y="583"/>
                    </a:lnTo>
                    <a:lnTo>
                      <a:pt x="803" y="619"/>
                    </a:lnTo>
                    <a:lnTo>
                      <a:pt x="749" y="658"/>
                    </a:lnTo>
                    <a:lnTo>
                      <a:pt x="657" y="720"/>
                    </a:lnTo>
                    <a:lnTo>
                      <a:pt x="597" y="754"/>
                    </a:lnTo>
                    <a:lnTo>
                      <a:pt x="590" y="794"/>
                    </a:lnTo>
                    <a:lnTo>
                      <a:pt x="537" y="795"/>
                    </a:lnTo>
                    <a:lnTo>
                      <a:pt x="454" y="827"/>
                    </a:lnTo>
                    <a:lnTo>
                      <a:pt x="393" y="882"/>
                    </a:lnTo>
                    <a:lnTo>
                      <a:pt x="285" y="966"/>
                    </a:lnTo>
                    <a:lnTo>
                      <a:pt x="202" y="1004"/>
                    </a:lnTo>
                    <a:lnTo>
                      <a:pt x="148" y="1028"/>
                    </a:lnTo>
                    <a:lnTo>
                      <a:pt x="88" y="1026"/>
                    </a:lnTo>
                    <a:lnTo>
                      <a:pt x="68" y="998"/>
                    </a:lnTo>
                    <a:lnTo>
                      <a:pt x="0" y="993"/>
                    </a:lnTo>
                    <a:lnTo>
                      <a:pt x="13" y="962"/>
                    </a:lnTo>
                    <a:lnTo>
                      <a:pt x="99" y="900"/>
                    </a:lnTo>
                    <a:lnTo>
                      <a:pt x="248" y="817"/>
                    </a:lnTo>
                    <a:lnTo>
                      <a:pt x="304" y="801"/>
                    </a:lnTo>
                    <a:lnTo>
                      <a:pt x="378" y="769"/>
                    </a:lnTo>
                    <a:lnTo>
                      <a:pt x="469" y="725"/>
                    </a:lnTo>
                    <a:lnTo>
                      <a:pt x="543" y="681"/>
                    </a:lnTo>
                    <a:lnTo>
                      <a:pt x="619" y="619"/>
                    </a:lnTo>
                    <a:lnTo>
                      <a:pt x="661" y="597"/>
                    </a:lnTo>
                    <a:lnTo>
                      <a:pt x="704" y="550"/>
                    </a:lnTo>
                    <a:lnTo>
                      <a:pt x="780" y="511"/>
                    </a:lnTo>
                    <a:lnTo>
                      <a:pt x="770" y="547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2" name="Freeform 142"/>
              <p:cNvSpPr>
                <a:spLocks/>
              </p:cNvSpPr>
              <p:nvPr/>
            </p:nvSpPr>
            <p:spPr bwMode="auto">
              <a:xfrm>
                <a:off x="5675312" y="3087687"/>
                <a:ext cx="212725" cy="273050"/>
              </a:xfrm>
              <a:custGeom>
                <a:avLst/>
                <a:gdLst>
                  <a:gd name="T0" fmla="*/ 120 w 134"/>
                  <a:gd name="T1" fmla="*/ 79 h 172"/>
                  <a:gd name="T2" fmla="*/ 114 w 134"/>
                  <a:gd name="T3" fmla="*/ 93 h 172"/>
                  <a:gd name="T4" fmla="*/ 106 w 134"/>
                  <a:gd name="T5" fmla="*/ 92 h 172"/>
                  <a:gd name="T6" fmla="*/ 103 w 134"/>
                  <a:gd name="T7" fmla="*/ 97 h 172"/>
                  <a:gd name="T8" fmla="*/ 101 w 134"/>
                  <a:gd name="T9" fmla="*/ 107 h 172"/>
                  <a:gd name="T10" fmla="*/ 104 w 134"/>
                  <a:gd name="T11" fmla="*/ 121 h 172"/>
                  <a:gd name="T12" fmla="*/ 103 w 134"/>
                  <a:gd name="T13" fmla="*/ 124 h 172"/>
                  <a:gd name="T14" fmla="*/ 95 w 134"/>
                  <a:gd name="T15" fmla="*/ 124 h 172"/>
                  <a:gd name="T16" fmla="*/ 84 w 134"/>
                  <a:gd name="T17" fmla="*/ 132 h 172"/>
                  <a:gd name="T18" fmla="*/ 83 w 134"/>
                  <a:gd name="T19" fmla="*/ 142 h 172"/>
                  <a:gd name="T20" fmla="*/ 79 w 134"/>
                  <a:gd name="T21" fmla="*/ 146 h 172"/>
                  <a:gd name="T22" fmla="*/ 68 w 134"/>
                  <a:gd name="T23" fmla="*/ 146 h 172"/>
                  <a:gd name="T24" fmla="*/ 61 w 134"/>
                  <a:gd name="T25" fmla="*/ 151 h 172"/>
                  <a:gd name="T26" fmla="*/ 62 w 134"/>
                  <a:gd name="T27" fmla="*/ 159 h 172"/>
                  <a:gd name="T28" fmla="*/ 54 w 134"/>
                  <a:gd name="T29" fmla="*/ 165 h 172"/>
                  <a:gd name="T30" fmla="*/ 43 w 134"/>
                  <a:gd name="T31" fmla="*/ 163 h 172"/>
                  <a:gd name="T32" fmla="*/ 32 w 134"/>
                  <a:gd name="T33" fmla="*/ 170 h 172"/>
                  <a:gd name="T34" fmla="*/ 23 w 134"/>
                  <a:gd name="T35" fmla="*/ 172 h 172"/>
                  <a:gd name="T36" fmla="*/ 16 w 134"/>
                  <a:gd name="T37" fmla="*/ 157 h 172"/>
                  <a:gd name="T38" fmla="*/ 0 w 134"/>
                  <a:gd name="T39" fmla="*/ 123 h 172"/>
                  <a:gd name="T40" fmla="*/ 52 w 134"/>
                  <a:gd name="T41" fmla="*/ 102 h 172"/>
                  <a:gd name="T42" fmla="*/ 60 w 134"/>
                  <a:gd name="T43" fmla="*/ 60 h 172"/>
                  <a:gd name="T44" fmla="*/ 51 w 134"/>
                  <a:gd name="T45" fmla="*/ 46 h 172"/>
                  <a:gd name="T46" fmla="*/ 50 w 134"/>
                  <a:gd name="T47" fmla="*/ 37 h 172"/>
                  <a:gd name="T48" fmla="*/ 54 w 134"/>
                  <a:gd name="T49" fmla="*/ 29 h 172"/>
                  <a:gd name="T50" fmla="*/ 54 w 134"/>
                  <a:gd name="T51" fmla="*/ 20 h 172"/>
                  <a:gd name="T52" fmla="*/ 61 w 134"/>
                  <a:gd name="T53" fmla="*/ 16 h 172"/>
                  <a:gd name="T54" fmla="*/ 58 w 134"/>
                  <a:gd name="T55" fmla="*/ 13 h 172"/>
                  <a:gd name="T56" fmla="*/ 57 w 134"/>
                  <a:gd name="T57" fmla="*/ 0 h 172"/>
                  <a:gd name="T58" fmla="*/ 67 w 134"/>
                  <a:gd name="T59" fmla="*/ 0 h 172"/>
                  <a:gd name="T60" fmla="*/ 76 w 134"/>
                  <a:gd name="T61" fmla="*/ 14 h 172"/>
                  <a:gd name="T62" fmla="*/ 87 w 134"/>
                  <a:gd name="T63" fmla="*/ 21 h 172"/>
                  <a:gd name="T64" fmla="*/ 101 w 134"/>
                  <a:gd name="T65" fmla="*/ 24 h 172"/>
                  <a:gd name="T66" fmla="*/ 112 w 134"/>
                  <a:gd name="T67" fmla="*/ 28 h 172"/>
                  <a:gd name="T68" fmla="*/ 121 w 134"/>
                  <a:gd name="T69" fmla="*/ 40 h 172"/>
                  <a:gd name="T70" fmla="*/ 127 w 134"/>
                  <a:gd name="T71" fmla="*/ 47 h 172"/>
                  <a:gd name="T72" fmla="*/ 134 w 134"/>
                  <a:gd name="T73" fmla="*/ 49 h 172"/>
                  <a:gd name="T74" fmla="*/ 134 w 134"/>
                  <a:gd name="T75" fmla="*/ 54 h 172"/>
                  <a:gd name="T76" fmla="*/ 129 w 134"/>
                  <a:gd name="T77" fmla="*/ 66 h 172"/>
                  <a:gd name="T78" fmla="*/ 127 w 134"/>
                  <a:gd name="T79" fmla="*/ 72 h 172"/>
                  <a:gd name="T80" fmla="*/ 120 w 134"/>
                  <a:gd name="T81" fmla="*/ 79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4" h="172">
                    <a:moveTo>
                      <a:pt x="120" y="79"/>
                    </a:moveTo>
                    <a:lnTo>
                      <a:pt x="114" y="93"/>
                    </a:lnTo>
                    <a:lnTo>
                      <a:pt x="106" y="92"/>
                    </a:lnTo>
                    <a:lnTo>
                      <a:pt x="103" y="97"/>
                    </a:lnTo>
                    <a:lnTo>
                      <a:pt x="101" y="107"/>
                    </a:lnTo>
                    <a:lnTo>
                      <a:pt x="104" y="121"/>
                    </a:lnTo>
                    <a:lnTo>
                      <a:pt x="103" y="124"/>
                    </a:lnTo>
                    <a:lnTo>
                      <a:pt x="95" y="124"/>
                    </a:lnTo>
                    <a:lnTo>
                      <a:pt x="84" y="132"/>
                    </a:lnTo>
                    <a:lnTo>
                      <a:pt x="83" y="142"/>
                    </a:lnTo>
                    <a:lnTo>
                      <a:pt x="79" y="146"/>
                    </a:lnTo>
                    <a:lnTo>
                      <a:pt x="68" y="146"/>
                    </a:lnTo>
                    <a:lnTo>
                      <a:pt x="61" y="151"/>
                    </a:lnTo>
                    <a:lnTo>
                      <a:pt x="62" y="159"/>
                    </a:lnTo>
                    <a:lnTo>
                      <a:pt x="54" y="165"/>
                    </a:lnTo>
                    <a:lnTo>
                      <a:pt x="43" y="163"/>
                    </a:lnTo>
                    <a:lnTo>
                      <a:pt x="32" y="170"/>
                    </a:lnTo>
                    <a:lnTo>
                      <a:pt x="23" y="172"/>
                    </a:lnTo>
                    <a:lnTo>
                      <a:pt x="16" y="157"/>
                    </a:lnTo>
                    <a:lnTo>
                      <a:pt x="0" y="123"/>
                    </a:lnTo>
                    <a:lnTo>
                      <a:pt x="52" y="102"/>
                    </a:lnTo>
                    <a:lnTo>
                      <a:pt x="60" y="60"/>
                    </a:lnTo>
                    <a:lnTo>
                      <a:pt x="51" y="46"/>
                    </a:lnTo>
                    <a:lnTo>
                      <a:pt x="50" y="37"/>
                    </a:lnTo>
                    <a:lnTo>
                      <a:pt x="54" y="29"/>
                    </a:lnTo>
                    <a:lnTo>
                      <a:pt x="54" y="20"/>
                    </a:lnTo>
                    <a:lnTo>
                      <a:pt x="61" y="16"/>
                    </a:lnTo>
                    <a:lnTo>
                      <a:pt x="58" y="13"/>
                    </a:lnTo>
                    <a:lnTo>
                      <a:pt x="57" y="0"/>
                    </a:lnTo>
                    <a:lnTo>
                      <a:pt x="67" y="0"/>
                    </a:lnTo>
                    <a:lnTo>
                      <a:pt x="76" y="14"/>
                    </a:lnTo>
                    <a:lnTo>
                      <a:pt x="87" y="21"/>
                    </a:lnTo>
                    <a:lnTo>
                      <a:pt x="101" y="24"/>
                    </a:lnTo>
                    <a:lnTo>
                      <a:pt x="112" y="28"/>
                    </a:lnTo>
                    <a:lnTo>
                      <a:pt x="121" y="40"/>
                    </a:lnTo>
                    <a:lnTo>
                      <a:pt x="127" y="47"/>
                    </a:lnTo>
                    <a:lnTo>
                      <a:pt x="134" y="49"/>
                    </a:lnTo>
                    <a:lnTo>
                      <a:pt x="134" y="54"/>
                    </a:lnTo>
                    <a:lnTo>
                      <a:pt x="129" y="66"/>
                    </a:lnTo>
                    <a:lnTo>
                      <a:pt x="127" y="72"/>
                    </a:lnTo>
                    <a:lnTo>
                      <a:pt x="120" y="7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3" name="Freeform 143"/>
              <p:cNvSpPr>
                <a:spLocks/>
              </p:cNvSpPr>
              <p:nvPr/>
            </p:nvSpPr>
            <p:spPr bwMode="auto">
              <a:xfrm>
                <a:off x="5884862" y="2686050"/>
                <a:ext cx="430213" cy="441325"/>
              </a:xfrm>
              <a:custGeom>
                <a:avLst/>
                <a:gdLst>
                  <a:gd name="T0" fmla="*/ 232 w 271"/>
                  <a:gd name="T1" fmla="*/ 9 h 278"/>
                  <a:gd name="T2" fmla="*/ 271 w 271"/>
                  <a:gd name="T3" fmla="*/ 33 h 278"/>
                  <a:gd name="T4" fmla="*/ 241 w 271"/>
                  <a:gd name="T5" fmla="*/ 54 h 278"/>
                  <a:gd name="T6" fmla="*/ 207 w 271"/>
                  <a:gd name="T7" fmla="*/ 58 h 278"/>
                  <a:gd name="T8" fmla="*/ 226 w 271"/>
                  <a:gd name="T9" fmla="*/ 90 h 278"/>
                  <a:gd name="T10" fmla="*/ 230 w 271"/>
                  <a:gd name="T11" fmla="*/ 112 h 278"/>
                  <a:gd name="T12" fmla="*/ 221 w 271"/>
                  <a:gd name="T13" fmla="*/ 148 h 278"/>
                  <a:gd name="T14" fmla="*/ 199 w 271"/>
                  <a:gd name="T15" fmla="*/ 191 h 278"/>
                  <a:gd name="T16" fmla="*/ 162 w 271"/>
                  <a:gd name="T17" fmla="*/ 211 h 278"/>
                  <a:gd name="T18" fmla="*/ 180 w 271"/>
                  <a:gd name="T19" fmla="*/ 236 h 278"/>
                  <a:gd name="T20" fmla="*/ 198 w 271"/>
                  <a:gd name="T21" fmla="*/ 265 h 278"/>
                  <a:gd name="T22" fmla="*/ 149 w 271"/>
                  <a:gd name="T23" fmla="*/ 278 h 278"/>
                  <a:gd name="T24" fmla="*/ 127 w 271"/>
                  <a:gd name="T25" fmla="*/ 258 h 278"/>
                  <a:gd name="T26" fmla="*/ 79 w 271"/>
                  <a:gd name="T27" fmla="*/ 246 h 278"/>
                  <a:gd name="T28" fmla="*/ 25 w 271"/>
                  <a:gd name="T29" fmla="*/ 249 h 278"/>
                  <a:gd name="T30" fmla="*/ 53 w 271"/>
                  <a:gd name="T31" fmla="*/ 214 h 278"/>
                  <a:gd name="T32" fmla="*/ 41 w 271"/>
                  <a:gd name="T33" fmla="*/ 202 h 278"/>
                  <a:gd name="T34" fmla="*/ 19 w 271"/>
                  <a:gd name="T35" fmla="*/ 174 h 278"/>
                  <a:gd name="T36" fmla="*/ 0 w 271"/>
                  <a:gd name="T37" fmla="*/ 151 h 278"/>
                  <a:gd name="T38" fmla="*/ 48 w 271"/>
                  <a:gd name="T39" fmla="*/ 158 h 278"/>
                  <a:gd name="T40" fmla="*/ 62 w 271"/>
                  <a:gd name="T41" fmla="*/ 156 h 278"/>
                  <a:gd name="T42" fmla="*/ 96 w 271"/>
                  <a:gd name="T43" fmla="*/ 150 h 278"/>
                  <a:gd name="T44" fmla="*/ 101 w 271"/>
                  <a:gd name="T45" fmla="*/ 120 h 278"/>
                  <a:gd name="T46" fmla="*/ 115 w 271"/>
                  <a:gd name="T47" fmla="*/ 114 h 278"/>
                  <a:gd name="T48" fmla="*/ 135 w 271"/>
                  <a:gd name="T49" fmla="*/ 114 h 278"/>
                  <a:gd name="T50" fmla="*/ 137 w 271"/>
                  <a:gd name="T51" fmla="*/ 95 h 278"/>
                  <a:gd name="T52" fmla="*/ 152 w 271"/>
                  <a:gd name="T53" fmla="*/ 78 h 278"/>
                  <a:gd name="T54" fmla="*/ 158 w 271"/>
                  <a:gd name="T55" fmla="*/ 65 h 278"/>
                  <a:gd name="T56" fmla="*/ 159 w 271"/>
                  <a:gd name="T57" fmla="*/ 49 h 278"/>
                  <a:gd name="T58" fmla="*/ 161 w 271"/>
                  <a:gd name="T59" fmla="*/ 30 h 278"/>
                  <a:gd name="T60" fmla="*/ 163 w 271"/>
                  <a:gd name="T61" fmla="*/ 12 h 278"/>
                  <a:gd name="T62" fmla="*/ 199 w 271"/>
                  <a:gd name="T63" fmla="*/ 6 h 278"/>
                  <a:gd name="T64" fmla="*/ 216 w 271"/>
                  <a:gd name="T65" fmla="*/ 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1" h="278">
                    <a:moveTo>
                      <a:pt x="216" y="0"/>
                    </a:moveTo>
                    <a:lnTo>
                      <a:pt x="232" y="9"/>
                    </a:lnTo>
                    <a:lnTo>
                      <a:pt x="241" y="25"/>
                    </a:lnTo>
                    <a:lnTo>
                      <a:pt x="271" y="33"/>
                    </a:lnTo>
                    <a:lnTo>
                      <a:pt x="259" y="51"/>
                    </a:lnTo>
                    <a:lnTo>
                      <a:pt x="241" y="54"/>
                    </a:lnTo>
                    <a:lnTo>
                      <a:pt x="213" y="49"/>
                    </a:lnTo>
                    <a:lnTo>
                      <a:pt x="207" y="58"/>
                    </a:lnTo>
                    <a:lnTo>
                      <a:pt x="217" y="76"/>
                    </a:lnTo>
                    <a:lnTo>
                      <a:pt x="226" y="90"/>
                    </a:lnTo>
                    <a:lnTo>
                      <a:pt x="243" y="100"/>
                    </a:lnTo>
                    <a:lnTo>
                      <a:pt x="230" y="112"/>
                    </a:lnTo>
                    <a:lnTo>
                      <a:pt x="234" y="127"/>
                    </a:lnTo>
                    <a:lnTo>
                      <a:pt x="221" y="148"/>
                    </a:lnTo>
                    <a:lnTo>
                      <a:pt x="214" y="169"/>
                    </a:lnTo>
                    <a:lnTo>
                      <a:pt x="199" y="191"/>
                    </a:lnTo>
                    <a:lnTo>
                      <a:pt x="178" y="189"/>
                    </a:lnTo>
                    <a:lnTo>
                      <a:pt x="162" y="211"/>
                    </a:lnTo>
                    <a:lnTo>
                      <a:pt x="176" y="220"/>
                    </a:lnTo>
                    <a:lnTo>
                      <a:pt x="180" y="236"/>
                    </a:lnTo>
                    <a:lnTo>
                      <a:pt x="192" y="246"/>
                    </a:lnTo>
                    <a:lnTo>
                      <a:pt x="198" y="265"/>
                    </a:lnTo>
                    <a:lnTo>
                      <a:pt x="159" y="264"/>
                    </a:lnTo>
                    <a:lnTo>
                      <a:pt x="149" y="278"/>
                    </a:lnTo>
                    <a:lnTo>
                      <a:pt x="135" y="273"/>
                    </a:lnTo>
                    <a:lnTo>
                      <a:pt x="127" y="258"/>
                    </a:lnTo>
                    <a:lnTo>
                      <a:pt x="111" y="242"/>
                    </a:lnTo>
                    <a:lnTo>
                      <a:pt x="79" y="246"/>
                    </a:lnTo>
                    <a:lnTo>
                      <a:pt x="50" y="246"/>
                    </a:lnTo>
                    <a:lnTo>
                      <a:pt x="25" y="249"/>
                    </a:lnTo>
                    <a:lnTo>
                      <a:pt x="29" y="225"/>
                    </a:lnTo>
                    <a:lnTo>
                      <a:pt x="53" y="214"/>
                    </a:lnTo>
                    <a:lnTo>
                      <a:pt x="50" y="205"/>
                    </a:lnTo>
                    <a:lnTo>
                      <a:pt x="41" y="202"/>
                    </a:lnTo>
                    <a:lnTo>
                      <a:pt x="38" y="183"/>
                    </a:lnTo>
                    <a:lnTo>
                      <a:pt x="19" y="174"/>
                    </a:lnTo>
                    <a:lnTo>
                      <a:pt x="10" y="162"/>
                    </a:lnTo>
                    <a:lnTo>
                      <a:pt x="0" y="151"/>
                    </a:lnTo>
                    <a:lnTo>
                      <a:pt x="31" y="161"/>
                    </a:lnTo>
                    <a:lnTo>
                      <a:pt x="48" y="158"/>
                    </a:lnTo>
                    <a:lnTo>
                      <a:pt x="59" y="161"/>
                    </a:lnTo>
                    <a:lnTo>
                      <a:pt x="62" y="156"/>
                    </a:lnTo>
                    <a:lnTo>
                      <a:pt x="75" y="158"/>
                    </a:lnTo>
                    <a:lnTo>
                      <a:pt x="96" y="150"/>
                    </a:lnTo>
                    <a:lnTo>
                      <a:pt x="93" y="132"/>
                    </a:lnTo>
                    <a:lnTo>
                      <a:pt x="101" y="120"/>
                    </a:lnTo>
                    <a:lnTo>
                      <a:pt x="114" y="120"/>
                    </a:lnTo>
                    <a:lnTo>
                      <a:pt x="115" y="114"/>
                    </a:lnTo>
                    <a:lnTo>
                      <a:pt x="128" y="112"/>
                    </a:lnTo>
                    <a:lnTo>
                      <a:pt x="135" y="114"/>
                    </a:lnTo>
                    <a:lnTo>
                      <a:pt x="140" y="108"/>
                    </a:lnTo>
                    <a:lnTo>
                      <a:pt x="137" y="95"/>
                    </a:lnTo>
                    <a:lnTo>
                      <a:pt x="142" y="83"/>
                    </a:lnTo>
                    <a:lnTo>
                      <a:pt x="152" y="78"/>
                    </a:lnTo>
                    <a:lnTo>
                      <a:pt x="142" y="64"/>
                    </a:lnTo>
                    <a:lnTo>
                      <a:pt x="158" y="65"/>
                    </a:lnTo>
                    <a:lnTo>
                      <a:pt x="162" y="57"/>
                    </a:lnTo>
                    <a:lnTo>
                      <a:pt x="159" y="49"/>
                    </a:lnTo>
                    <a:lnTo>
                      <a:pt x="165" y="41"/>
                    </a:lnTo>
                    <a:lnTo>
                      <a:pt x="161" y="30"/>
                    </a:lnTo>
                    <a:lnTo>
                      <a:pt x="155" y="22"/>
                    </a:lnTo>
                    <a:lnTo>
                      <a:pt x="163" y="12"/>
                    </a:lnTo>
                    <a:lnTo>
                      <a:pt x="180" y="8"/>
                    </a:lnTo>
                    <a:lnTo>
                      <a:pt x="199" y="6"/>
                    </a:lnTo>
                    <a:lnTo>
                      <a:pt x="207" y="2"/>
                    </a:lnTo>
                    <a:lnTo>
                      <a:pt x="216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4" name="Freeform 144"/>
              <p:cNvSpPr>
                <a:spLocks/>
              </p:cNvSpPr>
              <p:nvPr/>
            </p:nvSpPr>
            <p:spPr bwMode="auto">
              <a:xfrm>
                <a:off x="1768475" y="3592513"/>
                <a:ext cx="166688" cy="77788"/>
              </a:xfrm>
              <a:custGeom>
                <a:avLst/>
                <a:gdLst>
                  <a:gd name="T0" fmla="*/ 92 w 105"/>
                  <a:gd name="T1" fmla="*/ 49 h 49"/>
                  <a:gd name="T2" fmla="*/ 87 w 105"/>
                  <a:gd name="T3" fmla="*/ 43 h 49"/>
                  <a:gd name="T4" fmla="*/ 83 w 105"/>
                  <a:gd name="T5" fmla="*/ 32 h 49"/>
                  <a:gd name="T6" fmla="*/ 88 w 105"/>
                  <a:gd name="T7" fmla="*/ 27 h 49"/>
                  <a:gd name="T8" fmla="*/ 83 w 105"/>
                  <a:gd name="T9" fmla="*/ 25 h 49"/>
                  <a:gd name="T10" fmla="*/ 80 w 105"/>
                  <a:gd name="T11" fmla="*/ 18 h 49"/>
                  <a:gd name="T12" fmla="*/ 72 w 105"/>
                  <a:gd name="T13" fmla="*/ 12 h 49"/>
                  <a:gd name="T14" fmla="*/ 63 w 105"/>
                  <a:gd name="T15" fmla="*/ 14 h 49"/>
                  <a:gd name="T16" fmla="*/ 59 w 105"/>
                  <a:gd name="T17" fmla="*/ 21 h 49"/>
                  <a:gd name="T18" fmla="*/ 52 w 105"/>
                  <a:gd name="T19" fmla="*/ 26 h 49"/>
                  <a:gd name="T20" fmla="*/ 48 w 105"/>
                  <a:gd name="T21" fmla="*/ 27 h 49"/>
                  <a:gd name="T22" fmla="*/ 46 w 105"/>
                  <a:gd name="T23" fmla="*/ 31 h 49"/>
                  <a:gd name="T24" fmla="*/ 54 w 105"/>
                  <a:gd name="T25" fmla="*/ 43 h 49"/>
                  <a:gd name="T26" fmla="*/ 49 w 105"/>
                  <a:gd name="T27" fmla="*/ 45 h 49"/>
                  <a:gd name="T28" fmla="*/ 46 w 105"/>
                  <a:gd name="T29" fmla="*/ 48 h 49"/>
                  <a:gd name="T30" fmla="*/ 37 w 105"/>
                  <a:gd name="T31" fmla="*/ 49 h 49"/>
                  <a:gd name="T32" fmla="*/ 35 w 105"/>
                  <a:gd name="T33" fmla="*/ 37 h 49"/>
                  <a:gd name="T34" fmla="*/ 32 w 105"/>
                  <a:gd name="T35" fmla="*/ 40 h 49"/>
                  <a:gd name="T36" fmla="*/ 26 w 105"/>
                  <a:gd name="T37" fmla="*/ 39 h 49"/>
                  <a:gd name="T38" fmla="*/ 23 w 105"/>
                  <a:gd name="T39" fmla="*/ 31 h 49"/>
                  <a:gd name="T40" fmla="*/ 16 w 105"/>
                  <a:gd name="T41" fmla="*/ 29 h 49"/>
                  <a:gd name="T42" fmla="*/ 11 w 105"/>
                  <a:gd name="T43" fmla="*/ 27 h 49"/>
                  <a:gd name="T44" fmla="*/ 3 w 105"/>
                  <a:gd name="T45" fmla="*/ 27 h 49"/>
                  <a:gd name="T46" fmla="*/ 2 w 105"/>
                  <a:gd name="T47" fmla="*/ 32 h 49"/>
                  <a:gd name="T48" fmla="*/ 0 w 105"/>
                  <a:gd name="T49" fmla="*/ 29 h 49"/>
                  <a:gd name="T50" fmla="*/ 1 w 105"/>
                  <a:gd name="T51" fmla="*/ 24 h 49"/>
                  <a:gd name="T52" fmla="*/ 3 w 105"/>
                  <a:gd name="T53" fmla="*/ 20 h 49"/>
                  <a:gd name="T54" fmla="*/ 3 w 105"/>
                  <a:gd name="T55" fmla="*/ 16 h 49"/>
                  <a:gd name="T56" fmla="*/ 6 w 105"/>
                  <a:gd name="T57" fmla="*/ 14 h 49"/>
                  <a:gd name="T58" fmla="*/ 2 w 105"/>
                  <a:gd name="T59" fmla="*/ 11 h 49"/>
                  <a:gd name="T60" fmla="*/ 2 w 105"/>
                  <a:gd name="T61" fmla="*/ 2 h 49"/>
                  <a:gd name="T62" fmla="*/ 9 w 105"/>
                  <a:gd name="T63" fmla="*/ 1 h 49"/>
                  <a:gd name="T64" fmla="*/ 16 w 105"/>
                  <a:gd name="T65" fmla="*/ 8 h 49"/>
                  <a:gd name="T66" fmla="*/ 15 w 105"/>
                  <a:gd name="T67" fmla="*/ 12 h 49"/>
                  <a:gd name="T68" fmla="*/ 22 w 105"/>
                  <a:gd name="T69" fmla="*/ 13 h 49"/>
                  <a:gd name="T70" fmla="*/ 24 w 105"/>
                  <a:gd name="T71" fmla="*/ 12 h 49"/>
                  <a:gd name="T72" fmla="*/ 29 w 105"/>
                  <a:gd name="T73" fmla="*/ 17 h 49"/>
                  <a:gd name="T74" fmla="*/ 38 w 105"/>
                  <a:gd name="T75" fmla="*/ 15 h 49"/>
                  <a:gd name="T76" fmla="*/ 46 w 105"/>
                  <a:gd name="T77" fmla="*/ 10 h 49"/>
                  <a:gd name="T78" fmla="*/ 57 w 105"/>
                  <a:gd name="T79" fmla="*/ 6 h 49"/>
                  <a:gd name="T80" fmla="*/ 64 w 105"/>
                  <a:gd name="T81" fmla="*/ 0 h 49"/>
                  <a:gd name="T82" fmla="*/ 74 w 105"/>
                  <a:gd name="T83" fmla="*/ 1 h 49"/>
                  <a:gd name="T84" fmla="*/ 73 w 105"/>
                  <a:gd name="T85" fmla="*/ 3 h 49"/>
                  <a:gd name="T86" fmla="*/ 83 w 105"/>
                  <a:gd name="T87" fmla="*/ 4 h 49"/>
                  <a:gd name="T88" fmla="*/ 91 w 105"/>
                  <a:gd name="T89" fmla="*/ 7 h 49"/>
                  <a:gd name="T90" fmla="*/ 97 w 105"/>
                  <a:gd name="T91" fmla="*/ 14 h 49"/>
                  <a:gd name="T92" fmla="*/ 103 w 105"/>
                  <a:gd name="T93" fmla="*/ 19 h 49"/>
                  <a:gd name="T94" fmla="*/ 101 w 105"/>
                  <a:gd name="T95" fmla="*/ 22 h 49"/>
                  <a:gd name="T96" fmla="*/ 105 w 105"/>
                  <a:gd name="T97" fmla="*/ 35 h 49"/>
                  <a:gd name="T98" fmla="*/ 101 w 105"/>
                  <a:gd name="T99" fmla="*/ 41 h 49"/>
                  <a:gd name="T100" fmla="*/ 95 w 105"/>
                  <a:gd name="T101" fmla="*/ 39 h 49"/>
                  <a:gd name="T102" fmla="*/ 92 w 105"/>
                  <a:gd name="T10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5" h="49">
                    <a:moveTo>
                      <a:pt x="92" y="49"/>
                    </a:moveTo>
                    <a:lnTo>
                      <a:pt x="87" y="43"/>
                    </a:lnTo>
                    <a:lnTo>
                      <a:pt x="83" y="32"/>
                    </a:lnTo>
                    <a:lnTo>
                      <a:pt x="88" y="27"/>
                    </a:lnTo>
                    <a:lnTo>
                      <a:pt x="83" y="25"/>
                    </a:lnTo>
                    <a:lnTo>
                      <a:pt x="80" y="18"/>
                    </a:lnTo>
                    <a:lnTo>
                      <a:pt x="72" y="12"/>
                    </a:lnTo>
                    <a:lnTo>
                      <a:pt x="63" y="14"/>
                    </a:lnTo>
                    <a:lnTo>
                      <a:pt x="59" y="21"/>
                    </a:lnTo>
                    <a:lnTo>
                      <a:pt x="52" y="26"/>
                    </a:lnTo>
                    <a:lnTo>
                      <a:pt x="48" y="27"/>
                    </a:lnTo>
                    <a:lnTo>
                      <a:pt x="46" y="31"/>
                    </a:lnTo>
                    <a:lnTo>
                      <a:pt x="54" y="43"/>
                    </a:lnTo>
                    <a:lnTo>
                      <a:pt x="49" y="45"/>
                    </a:lnTo>
                    <a:lnTo>
                      <a:pt x="46" y="48"/>
                    </a:lnTo>
                    <a:lnTo>
                      <a:pt x="37" y="49"/>
                    </a:lnTo>
                    <a:lnTo>
                      <a:pt x="35" y="37"/>
                    </a:lnTo>
                    <a:lnTo>
                      <a:pt x="32" y="40"/>
                    </a:lnTo>
                    <a:lnTo>
                      <a:pt x="26" y="39"/>
                    </a:lnTo>
                    <a:lnTo>
                      <a:pt x="23" y="31"/>
                    </a:lnTo>
                    <a:lnTo>
                      <a:pt x="16" y="29"/>
                    </a:lnTo>
                    <a:lnTo>
                      <a:pt x="11" y="27"/>
                    </a:lnTo>
                    <a:lnTo>
                      <a:pt x="3" y="27"/>
                    </a:lnTo>
                    <a:lnTo>
                      <a:pt x="2" y="32"/>
                    </a:lnTo>
                    <a:lnTo>
                      <a:pt x="0" y="29"/>
                    </a:lnTo>
                    <a:lnTo>
                      <a:pt x="1" y="24"/>
                    </a:lnTo>
                    <a:lnTo>
                      <a:pt x="3" y="20"/>
                    </a:lnTo>
                    <a:lnTo>
                      <a:pt x="3" y="16"/>
                    </a:lnTo>
                    <a:lnTo>
                      <a:pt x="6" y="14"/>
                    </a:lnTo>
                    <a:lnTo>
                      <a:pt x="2" y="11"/>
                    </a:lnTo>
                    <a:lnTo>
                      <a:pt x="2" y="2"/>
                    </a:lnTo>
                    <a:lnTo>
                      <a:pt x="9" y="1"/>
                    </a:lnTo>
                    <a:lnTo>
                      <a:pt x="16" y="8"/>
                    </a:lnTo>
                    <a:lnTo>
                      <a:pt x="15" y="12"/>
                    </a:lnTo>
                    <a:lnTo>
                      <a:pt x="22" y="13"/>
                    </a:lnTo>
                    <a:lnTo>
                      <a:pt x="24" y="12"/>
                    </a:lnTo>
                    <a:lnTo>
                      <a:pt x="29" y="17"/>
                    </a:lnTo>
                    <a:lnTo>
                      <a:pt x="38" y="15"/>
                    </a:lnTo>
                    <a:lnTo>
                      <a:pt x="46" y="10"/>
                    </a:lnTo>
                    <a:lnTo>
                      <a:pt x="57" y="6"/>
                    </a:lnTo>
                    <a:lnTo>
                      <a:pt x="64" y="0"/>
                    </a:lnTo>
                    <a:lnTo>
                      <a:pt x="74" y="1"/>
                    </a:lnTo>
                    <a:lnTo>
                      <a:pt x="73" y="3"/>
                    </a:lnTo>
                    <a:lnTo>
                      <a:pt x="83" y="4"/>
                    </a:lnTo>
                    <a:lnTo>
                      <a:pt x="91" y="7"/>
                    </a:lnTo>
                    <a:lnTo>
                      <a:pt x="97" y="14"/>
                    </a:lnTo>
                    <a:lnTo>
                      <a:pt x="103" y="19"/>
                    </a:lnTo>
                    <a:lnTo>
                      <a:pt x="101" y="22"/>
                    </a:lnTo>
                    <a:lnTo>
                      <a:pt x="105" y="35"/>
                    </a:lnTo>
                    <a:lnTo>
                      <a:pt x="101" y="41"/>
                    </a:lnTo>
                    <a:lnTo>
                      <a:pt x="95" y="39"/>
                    </a:lnTo>
                    <a:lnTo>
                      <a:pt x="92" y="49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5" name="Freeform 145"/>
              <p:cNvSpPr>
                <a:spLocks/>
              </p:cNvSpPr>
              <p:nvPr/>
            </p:nvSpPr>
            <p:spPr bwMode="auto">
              <a:xfrm>
                <a:off x="1809750" y="3911600"/>
                <a:ext cx="384175" cy="603250"/>
              </a:xfrm>
              <a:custGeom>
                <a:avLst/>
                <a:gdLst>
                  <a:gd name="T0" fmla="*/ 229 w 242"/>
                  <a:gd name="T1" fmla="*/ 374 h 380"/>
                  <a:gd name="T2" fmla="*/ 201 w 242"/>
                  <a:gd name="T3" fmla="*/ 368 h 380"/>
                  <a:gd name="T4" fmla="*/ 160 w 242"/>
                  <a:gd name="T5" fmla="*/ 338 h 380"/>
                  <a:gd name="T6" fmla="*/ 111 w 242"/>
                  <a:gd name="T7" fmla="*/ 303 h 380"/>
                  <a:gd name="T8" fmla="*/ 104 w 242"/>
                  <a:gd name="T9" fmla="*/ 280 h 380"/>
                  <a:gd name="T10" fmla="*/ 66 w 242"/>
                  <a:gd name="T11" fmla="*/ 214 h 380"/>
                  <a:gd name="T12" fmla="*/ 38 w 242"/>
                  <a:gd name="T13" fmla="*/ 163 h 380"/>
                  <a:gd name="T14" fmla="*/ 17 w 242"/>
                  <a:gd name="T15" fmla="*/ 134 h 380"/>
                  <a:gd name="T16" fmla="*/ 9 w 242"/>
                  <a:gd name="T17" fmla="*/ 117 h 380"/>
                  <a:gd name="T18" fmla="*/ 5 w 242"/>
                  <a:gd name="T19" fmla="*/ 82 h 380"/>
                  <a:gd name="T20" fmla="*/ 22 w 242"/>
                  <a:gd name="T21" fmla="*/ 78 h 380"/>
                  <a:gd name="T22" fmla="*/ 17 w 242"/>
                  <a:gd name="T23" fmla="*/ 90 h 380"/>
                  <a:gd name="T24" fmla="*/ 33 w 242"/>
                  <a:gd name="T25" fmla="*/ 91 h 380"/>
                  <a:gd name="T26" fmla="*/ 51 w 242"/>
                  <a:gd name="T27" fmla="*/ 93 h 380"/>
                  <a:gd name="T28" fmla="*/ 65 w 242"/>
                  <a:gd name="T29" fmla="*/ 61 h 380"/>
                  <a:gd name="T30" fmla="*/ 106 w 242"/>
                  <a:gd name="T31" fmla="*/ 31 h 380"/>
                  <a:gd name="T32" fmla="*/ 109 w 242"/>
                  <a:gd name="T33" fmla="*/ 1 h 380"/>
                  <a:gd name="T34" fmla="*/ 127 w 242"/>
                  <a:gd name="T35" fmla="*/ 10 h 380"/>
                  <a:gd name="T36" fmla="*/ 141 w 242"/>
                  <a:gd name="T37" fmla="*/ 25 h 380"/>
                  <a:gd name="T38" fmla="*/ 166 w 242"/>
                  <a:gd name="T39" fmla="*/ 49 h 380"/>
                  <a:gd name="T40" fmla="*/ 182 w 242"/>
                  <a:gd name="T41" fmla="*/ 47 h 380"/>
                  <a:gd name="T42" fmla="*/ 208 w 242"/>
                  <a:gd name="T43" fmla="*/ 55 h 380"/>
                  <a:gd name="T44" fmla="*/ 202 w 242"/>
                  <a:gd name="T45" fmla="*/ 77 h 380"/>
                  <a:gd name="T46" fmla="*/ 194 w 242"/>
                  <a:gd name="T47" fmla="*/ 87 h 380"/>
                  <a:gd name="T48" fmla="*/ 177 w 242"/>
                  <a:gd name="T49" fmla="*/ 94 h 380"/>
                  <a:gd name="T50" fmla="*/ 156 w 242"/>
                  <a:gd name="T51" fmla="*/ 118 h 380"/>
                  <a:gd name="T52" fmla="*/ 153 w 242"/>
                  <a:gd name="T53" fmla="*/ 136 h 380"/>
                  <a:gd name="T54" fmla="*/ 143 w 242"/>
                  <a:gd name="T55" fmla="*/ 151 h 380"/>
                  <a:gd name="T56" fmla="*/ 147 w 242"/>
                  <a:gd name="T57" fmla="*/ 173 h 380"/>
                  <a:gd name="T58" fmla="*/ 154 w 242"/>
                  <a:gd name="T59" fmla="*/ 195 h 380"/>
                  <a:gd name="T60" fmla="*/ 174 w 242"/>
                  <a:gd name="T61" fmla="*/ 207 h 380"/>
                  <a:gd name="T62" fmla="*/ 204 w 242"/>
                  <a:gd name="T63" fmla="*/ 196 h 380"/>
                  <a:gd name="T64" fmla="*/ 213 w 242"/>
                  <a:gd name="T65" fmla="*/ 230 h 380"/>
                  <a:gd name="T66" fmla="*/ 241 w 242"/>
                  <a:gd name="T67" fmla="*/ 259 h 380"/>
                  <a:gd name="T68" fmla="*/ 238 w 242"/>
                  <a:gd name="T69" fmla="*/ 281 h 380"/>
                  <a:gd name="T70" fmla="*/ 233 w 242"/>
                  <a:gd name="T71" fmla="*/ 309 h 380"/>
                  <a:gd name="T72" fmla="*/ 233 w 242"/>
                  <a:gd name="T73" fmla="*/ 324 h 380"/>
                  <a:gd name="T74" fmla="*/ 233 w 242"/>
                  <a:gd name="T75" fmla="*/ 364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42" h="380">
                    <a:moveTo>
                      <a:pt x="233" y="364"/>
                    </a:moveTo>
                    <a:lnTo>
                      <a:pt x="229" y="374"/>
                    </a:lnTo>
                    <a:lnTo>
                      <a:pt x="220" y="380"/>
                    </a:lnTo>
                    <a:lnTo>
                      <a:pt x="201" y="368"/>
                    </a:lnTo>
                    <a:lnTo>
                      <a:pt x="199" y="359"/>
                    </a:lnTo>
                    <a:lnTo>
                      <a:pt x="160" y="338"/>
                    </a:lnTo>
                    <a:lnTo>
                      <a:pt x="126" y="315"/>
                    </a:lnTo>
                    <a:lnTo>
                      <a:pt x="111" y="303"/>
                    </a:lnTo>
                    <a:lnTo>
                      <a:pt x="102" y="286"/>
                    </a:lnTo>
                    <a:lnTo>
                      <a:pt x="104" y="280"/>
                    </a:lnTo>
                    <a:lnTo>
                      <a:pt x="87" y="252"/>
                    </a:lnTo>
                    <a:lnTo>
                      <a:pt x="66" y="214"/>
                    </a:lnTo>
                    <a:lnTo>
                      <a:pt x="46" y="173"/>
                    </a:lnTo>
                    <a:lnTo>
                      <a:pt x="38" y="163"/>
                    </a:lnTo>
                    <a:lnTo>
                      <a:pt x="32" y="148"/>
                    </a:lnTo>
                    <a:lnTo>
                      <a:pt x="17" y="134"/>
                    </a:lnTo>
                    <a:lnTo>
                      <a:pt x="4" y="126"/>
                    </a:lnTo>
                    <a:lnTo>
                      <a:pt x="9" y="117"/>
                    </a:lnTo>
                    <a:lnTo>
                      <a:pt x="0" y="97"/>
                    </a:lnTo>
                    <a:lnTo>
                      <a:pt x="5" y="82"/>
                    </a:lnTo>
                    <a:lnTo>
                      <a:pt x="20" y="69"/>
                    </a:lnTo>
                    <a:lnTo>
                      <a:pt x="22" y="78"/>
                    </a:lnTo>
                    <a:lnTo>
                      <a:pt x="17" y="83"/>
                    </a:lnTo>
                    <a:lnTo>
                      <a:pt x="17" y="90"/>
                    </a:lnTo>
                    <a:lnTo>
                      <a:pt x="25" y="89"/>
                    </a:lnTo>
                    <a:lnTo>
                      <a:pt x="33" y="91"/>
                    </a:lnTo>
                    <a:lnTo>
                      <a:pt x="41" y="101"/>
                    </a:lnTo>
                    <a:lnTo>
                      <a:pt x="51" y="93"/>
                    </a:lnTo>
                    <a:lnTo>
                      <a:pt x="54" y="79"/>
                    </a:lnTo>
                    <a:lnTo>
                      <a:pt x="65" y="61"/>
                    </a:lnTo>
                    <a:lnTo>
                      <a:pt x="87" y="53"/>
                    </a:lnTo>
                    <a:lnTo>
                      <a:pt x="106" y="31"/>
                    </a:lnTo>
                    <a:lnTo>
                      <a:pt x="112" y="17"/>
                    </a:lnTo>
                    <a:lnTo>
                      <a:pt x="109" y="1"/>
                    </a:lnTo>
                    <a:lnTo>
                      <a:pt x="114" y="0"/>
                    </a:lnTo>
                    <a:lnTo>
                      <a:pt x="127" y="10"/>
                    </a:lnTo>
                    <a:lnTo>
                      <a:pt x="132" y="19"/>
                    </a:lnTo>
                    <a:lnTo>
                      <a:pt x="141" y="25"/>
                    </a:lnTo>
                    <a:lnTo>
                      <a:pt x="152" y="46"/>
                    </a:lnTo>
                    <a:lnTo>
                      <a:pt x="166" y="49"/>
                    </a:lnTo>
                    <a:lnTo>
                      <a:pt x="176" y="43"/>
                    </a:lnTo>
                    <a:lnTo>
                      <a:pt x="182" y="47"/>
                    </a:lnTo>
                    <a:lnTo>
                      <a:pt x="193" y="45"/>
                    </a:lnTo>
                    <a:lnTo>
                      <a:pt x="208" y="55"/>
                    </a:lnTo>
                    <a:lnTo>
                      <a:pt x="196" y="76"/>
                    </a:lnTo>
                    <a:lnTo>
                      <a:pt x="202" y="77"/>
                    </a:lnTo>
                    <a:lnTo>
                      <a:pt x="211" y="88"/>
                    </a:lnTo>
                    <a:lnTo>
                      <a:pt x="194" y="87"/>
                    </a:lnTo>
                    <a:lnTo>
                      <a:pt x="192" y="90"/>
                    </a:lnTo>
                    <a:lnTo>
                      <a:pt x="177" y="94"/>
                    </a:lnTo>
                    <a:lnTo>
                      <a:pt x="157" y="108"/>
                    </a:lnTo>
                    <a:lnTo>
                      <a:pt x="156" y="118"/>
                    </a:lnTo>
                    <a:lnTo>
                      <a:pt x="151" y="125"/>
                    </a:lnTo>
                    <a:lnTo>
                      <a:pt x="153" y="136"/>
                    </a:lnTo>
                    <a:lnTo>
                      <a:pt x="142" y="142"/>
                    </a:lnTo>
                    <a:lnTo>
                      <a:pt x="143" y="151"/>
                    </a:lnTo>
                    <a:lnTo>
                      <a:pt x="138" y="155"/>
                    </a:lnTo>
                    <a:lnTo>
                      <a:pt x="147" y="173"/>
                    </a:lnTo>
                    <a:lnTo>
                      <a:pt x="157" y="186"/>
                    </a:lnTo>
                    <a:lnTo>
                      <a:pt x="154" y="195"/>
                    </a:lnTo>
                    <a:lnTo>
                      <a:pt x="166" y="196"/>
                    </a:lnTo>
                    <a:lnTo>
                      <a:pt x="174" y="207"/>
                    </a:lnTo>
                    <a:lnTo>
                      <a:pt x="190" y="208"/>
                    </a:lnTo>
                    <a:lnTo>
                      <a:pt x="204" y="196"/>
                    </a:lnTo>
                    <a:lnTo>
                      <a:pt x="205" y="227"/>
                    </a:lnTo>
                    <a:lnTo>
                      <a:pt x="213" y="230"/>
                    </a:lnTo>
                    <a:lnTo>
                      <a:pt x="223" y="226"/>
                    </a:lnTo>
                    <a:lnTo>
                      <a:pt x="241" y="259"/>
                    </a:lnTo>
                    <a:lnTo>
                      <a:pt x="238" y="266"/>
                    </a:lnTo>
                    <a:lnTo>
                      <a:pt x="238" y="281"/>
                    </a:lnTo>
                    <a:lnTo>
                      <a:pt x="239" y="299"/>
                    </a:lnTo>
                    <a:lnTo>
                      <a:pt x="233" y="309"/>
                    </a:lnTo>
                    <a:lnTo>
                      <a:pt x="236" y="317"/>
                    </a:lnTo>
                    <a:lnTo>
                      <a:pt x="233" y="324"/>
                    </a:lnTo>
                    <a:lnTo>
                      <a:pt x="242" y="341"/>
                    </a:lnTo>
                    <a:lnTo>
                      <a:pt x="233" y="364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6" name="Freeform 146"/>
              <p:cNvSpPr>
                <a:spLocks noEditPoints="1"/>
              </p:cNvSpPr>
              <p:nvPr/>
            </p:nvSpPr>
            <p:spPr bwMode="auto">
              <a:xfrm>
                <a:off x="7589837" y="3298825"/>
                <a:ext cx="274638" cy="425450"/>
              </a:xfrm>
              <a:custGeom>
                <a:avLst/>
                <a:gdLst>
                  <a:gd name="T0" fmla="*/ 252 w 710"/>
                  <a:gd name="T1" fmla="*/ 24 h 1100"/>
                  <a:gd name="T2" fmla="*/ 282 w 710"/>
                  <a:gd name="T3" fmla="*/ 24 h 1100"/>
                  <a:gd name="T4" fmla="*/ 311 w 710"/>
                  <a:gd name="T5" fmla="*/ 120 h 1100"/>
                  <a:gd name="T6" fmla="*/ 264 w 710"/>
                  <a:gd name="T7" fmla="*/ 219 h 1100"/>
                  <a:gd name="T8" fmla="*/ 288 w 710"/>
                  <a:gd name="T9" fmla="*/ 355 h 1100"/>
                  <a:gd name="T10" fmla="*/ 361 w 710"/>
                  <a:gd name="T11" fmla="*/ 355 h 1100"/>
                  <a:gd name="T12" fmla="*/ 459 w 710"/>
                  <a:gd name="T13" fmla="*/ 448 h 1100"/>
                  <a:gd name="T14" fmla="*/ 483 w 710"/>
                  <a:gd name="T15" fmla="*/ 508 h 1100"/>
                  <a:gd name="T16" fmla="*/ 387 w 710"/>
                  <a:gd name="T17" fmla="*/ 421 h 1100"/>
                  <a:gd name="T18" fmla="*/ 317 w 710"/>
                  <a:gd name="T19" fmla="*/ 402 h 1100"/>
                  <a:gd name="T20" fmla="*/ 212 w 710"/>
                  <a:gd name="T21" fmla="*/ 395 h 1100"/>
                  <a:gd name="T22" fmla="*/ 231 w 710"/>
                  <a:gd name="T23" fmla="*/ 339 h 1100"/>
                  <a:gd name="T24" fmla="*/ 201 w 710"/>
                  <a:gd name="T25" fmla="*/ 350 h 1100"/>
                  <a:gd name="T26" fmla="*/ 141 w 710"/>
                  <a:gd name="T27" fmla="*/ 264 h 1100"/>
                  <a:gd name="T28" fmla="*/ 160 w 710"/>
                  <a:gd name="T29" fmla="*/ 210 h 1100"/>
                  <a:gd name="T30" fmla="*/ 157 w 710"/>
                  <a:gd name="T31" fmla="*/ 0 h 1100"/>
                  <a:gd name="T32" fmla="*/ 287 w 710"/>
                  <a:gd name="T33" fmla="*/ 463 h 1100"/>
                  <a:gd name="T34" fmla="*/ 239 w 710"/>
                  <a:gd name="T35" fmla="*/ 494 h 1100"/>
                  <a:gd name="T36" fmla="*/ 257 w 710"/>
                  <a:gd name="T37" fmla="*/ 432 h 1100"/>
                  <a:gd name="T38" fmla="*/ 594 w 710"/>
                  <a:gd name="T39" fmla="*/ 540 h 1100"/>
                  <a:gd name="T40" fmla="*/ 565 w 710"/>
                  <a:gd name="T41" fmla="*/ 612 h 1100"/>
                  <a:gd name="T42" fmla="*/ 593 w 710"/>
                  <a:gd name="T43" fmla="*/ 693 h 1100"/>
                  <a:gd name="T44" fmla="*/ 550 w 710"/>
                  <a:gd name="T45" fmla="*/ 653 h 1100"/>
                  <a:gd name="T46" fmla="*/ 510 w 710"/>
                  <a:gd name="T47" fmla="*/ 597 h 1100"/>
                  <a:gd name="T48" fmla="*/ 550 w 710"/>
                  <a:gd name="T49" fmla="*/ 571 h 1100"/>
                  <a:gd name="T50" fmla="*/ 569 w 710"/>
                  <a:gd name="T51" fmla="*/ 508 h 1100"/>
                  <a:gd name="T52" fmla="*/ 325 w 710"/>
                  <a:gd name="T53" fmla="*/ 563 h 1100"/>
                  <a:gd name="T54" fmla="*/ 421 w 710"/>
                  <a:gd name="T55" fmla="*/ 589 h 1100"/>
                  <a:gd name="T56" fmla="*/ 392 w 710"/>
                  <a:gd name="T57" fmla="*/ 661 h 1100"/>
                  <a:gd name="T58" fmla="*/ 341 w 710"/>
                  <a:gd name="T59" fmla="*/ 647 h 1100"/>
                  <a:gd name="T60" fmla="*/ 325 w 710"/>
                  <a:gd name="T61" fmla="*/ 563 h 1100"/>
                  <a:gd name="T62" fmla="*/ 0 w 710"/>
                  <a:gd name="T63" fmla="*/ 863 h 1100"/>
                  <a:gd name="T64" fmla="*/ 82 w 710"/>
                  <a:gd name="T65" fmla="*/ 751 h 1100"/>
                  <a:gd name="T66" fmla="*/ 153 w 710"/>
                  <a:gd name="T67" fmla="*/ 607 h 1100"/>
                  <a:gd name="T68" fmla="*/ 128 w 710"/>
                  <a:gd name="T69" fmla="*/ 724 h 1100"/>
                  <a:gd name="T70" fmla="*/ 497 w 710"/>
                  <a:gd name="T71" fmla="*/ 700 h 1100"/>
                  <a:gd name="T72" fmla="*/ 454 w 710"/>
                  <a:gd name="T73" fmla="*/ 782 h 1100"/>
                  <a:gd name="T74" fmla="*/ 381 w 710"/>
                  <a:gd name="T75" fmla="*/ 748 h 1100"/>
                  <a:gd name="T76" fmla="*/ 411 w 710"/>
                  <a:gd name="T77" fmla="*/ 702 h 1100"/>
                  <a:gd name="T78" fmla="*/ 455 w 710"/>
                  <a:gd name="T79" fmla="*/ 644 h 1100"/>
                  <a:gd name="T80" fmla="*/ 496 w 710"/>
                  <a:gd name="T81" fmla="*/ 619 h 1100"/>
                  <a:gd name="T82" fmla="*/ 690 w 710"/>
                  <a:gd name="T83" fmla="*/ 859 h 1100"/>
                  <a:gd name="T84" fmla="*/ 710 w 710"/>
                  <a:gd name="T85" fmla="*/ 963 h 1100"/>
                  <a:gd name="T86" fmla="*/ 657 w 710"/>
                  <a:gd name="T87" fmla="*/ 954 h 1100"/>
                  <a:gd name="T88" fmla="*/ 652 w 710"/>
                  <a:gd name="T89" fmla="*/ 1060 h 1100"/>
                  <a:gd name="T90" fmla="*/ 542 w 710"/>
                  <a:gd name="T91" fmla="*/ 1051 h 1100"/>
                  <a:gd name="T92" fmla="*/ 537 w 710"/>
                  <a:gd name="T93" fmla="*/ 949 h 1100"/>
                  <a:gd name="T94" fmla="*/ 466 w 710"/>
                  <a:gd name="T95" fmla="*/ 944 h 1100"/>
                  <a:gd name="T96" fmla="*/ 378 w 710"/>
                  <a:gd name="T97" fmla="*/ 988 h 1100"/>
                  <a:gd name="T98" fmla="*/ 388 w 710"/>
                  <a:gd name="T99" fmla="*/ 891 h 1100"/>
                  <a:gd name="T100" fmla="*/ 472 w 710"/>
                  <a:gd name="T101" fmla="*/ 835 h 1100"/>
                  <a:gd name="T102" fmla="*/ 557 w 710"/>
                  <a:gd name="T103" fmla="*/ 850 h 1100"/>
                  <a:gd name="T104" fmla="*/ 619 w 710"/>
                  <a:gd name="T105" fmla="*/ 810 h 1100"/>
                  <a:gd name="T106" fmla="*/ 673 w 710"/>
                  <a:gd name="T107" fmla="*/ 785 h 1100"/>
                  <a:gd name="T108" fmla="*/ 690 w 710"/>
                  <a:gd name="T109" fmla="*/ 859 h 1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10" h="1100">
                    <a:moveTo>
                      <a:pt x="202" y="0"/>
                    </a:moveTo>
                    <a:lnTo>
                      <a:pt x="252" y="24"/>
                    </a:lnTo>
                    <a:lnTo>
                      <a:pt x="271" y="2"/>
                    </a:lnTo>
                    <a:lnTo>
                      <a:pt x="282" y="24"/>
                    </a:lnTo>
                    <a:lnTo>
                      <a:pt x="276" y="59"/>
                    </a:lnTo>
                    <a:lnTo>
                      <a:pt x="311" y="120"/>
                    </a:lnTo>
                    <a:lnTo>
                      <a:pt x="303" y="191"/>
                    </a:lnTo>
                    <a:lnTo>
                      <a:pt x="264" y="219"/>
                    </a:lnTo>
                    <a:lnTo>
                      <a:pt x="262" y="288"/>
                    </a:lnTo>
                    <a:lnTo>
                      <a:pt x="288" y="355"/>
                    </a:lnTo>
                    <a:lnTo>
                      <a:pt x="329" y="365"/>
                    </a:lnTo>
                    <a:lnTo>
                      <a:pt x="361" y="355"/>
                    </a:lnTo>
                    <a:lnTo>
                      <a:pt x="460" y="402"/>
                    </a:lnTo>
                    <a:lnTo>
                      <a:pt x="459" y="448"/>
                    </a:lnTo>
                    <a:lnTo>
                      <a:pt x="486" y="469"/>
                    </a:lnTo>
                    <a:lnTo>
                      <a:pt x="483" y="508"/>
                    </a:lnTo>
                    <a:lnTo>
                      <a:pt x="420" y="466"/>
                    </a:lnTo>
                    <a:lnTo>
                      <a:pt x="387" y="421"/>
                    </a:lnTo>
                    <a:lnTo>
                      <a:pt x="371" y="453"/>
                    </a:lnTo>
                    <a:lnTo>
                      <a:pt x="317" y="402"/>
                    </a:lnTo>
                    <a:lnTo>
                      <a:pt x="251" y="414"/>
                    </a:lnTo>
                    <a:lnTo>
                      <a:pt x="212" y="395"/>
                    </a:lnTo>
                    <a:lnTo>
                      <a:pt x="211" y="360"/>
                    </a:lnTo>
                    <a:lnTo>
                      <a:pt x="231" y="339"/>
                    </a:lnTo>
                    <a:lnTo>
                      <a:pt x="206" y="319"/>
                    </a:lnTo>
                    <a:lnTo>
                      <a:pt x="201" y="350"/>
                    </a:lnTo>
                    <a:lnTo>
                      <a:pt x="157" y="301"/>
                    </a:lnTo>
                    <a:lnTo>
                      <a:pt x="141" y="264"/>
                    </a:lnTo>
                    <a:lnTo>
                      <a:pt x="126" y="182"/>
                    </a:lnTo>
                    <a:lnTo>
                      <a:pt x="160" y="210"/>
                    </a:lnTo>
                    <a:lnTo>
                      <a:pt x="146" y="77"/>
                    </a:lnTo>
                    <a:lnTo>
                      <a:pt x="157" y="0"/>
                    </a:lnTo>
                    <a:lnTo>
                      <a:pt x="202" y="0"/>
                    </a:lnTo>
                    <a:moveTo>
                      <a:pt x="287" y="463"/>
                    </a:moveTo>
                    <a:lnTo>
                      <a:pt x="276" y="536"/>
                    </a:lnTo>
                    <a:lnTo>
                      <a:pt x="239" y="494"/>
                    </a:lnTo>
                    <a:lnTo>
                      <a:pt x="193" y="429"/>
                    </a:lnTo>
                    <a:lnTo>
                      <a:pt x="257" y="432"/>
                    </a:lnTo>
                    <a:lnTo>
                      <a:pt x="287" y="463"/>
                    </a:lnTo>
                    <a:moveTo>
                      <a:pt x="594" y="540"/>
                    </a:moveTo>
                    <a:lnTo>
                      <a:pt x="625" y="635"/>
                    </a:lnTo>
                    <a:lnTo>
                      <a:pt x="565" y="612"/>
                    </a:lnTo>
                    <a:lnTo>
                      <a:pt x="570" y="641"/>
                    </a:lnTo>
                    <a:lnTo>
                      <a:pt x="593" y="693"/>
                    </a:lnTo>
                    <a:lnTo>
                      <a:pt x="559" y="712"/>
                    </a:lnTo>
                    <a:lnTo>
                      <a:pt x="550" y="653"/>
                    </a:lnTo>
                    <a:lnTo>
                      <a:pt x="527" y="648"/>
                    </a:lnTo>
                    <a:lnTo>
                      <a:pt x="510" y="597"/>
                    </a:lnTo>
                    <a:lnTo>
                      <a:pt x="555" y="603"/>
                    </a:lnTo>
                    <a:lnTo>
                      <a:pt x="550" y="571"/>
                    </a:lnTo>
                    <a:lnTo>
                      <a:pt x="497" y="506"/>
                    </a:lnTo>
                    <a:lnTo>
                      <a:pt x="569" y="508"/>
                    </a:lnTo>
                    <a:lnTo>
                      <a:pt x="594" y="540"/>
                    </a:lnTo>
                    <a:moveTo>
                      <a:pt x="325" y="563"/>
                    </a:moveTo>
                    <a:lnTo>
                      <a:pt x="373" y="589"/>
                    </a:lnTo>
                    <a:lnTo>
                      <a:pt x="421" y="589"/>
                    </a:lnTo>
                    <a:lnTo>
                      <a:pt x="423" y="625"/>
                    </a:lnTo>
                    <a:lnTo>
                      <a:pt x="392" y="661"/>
                    </a:lnTo>
                    <a:lnTo>
                      <a:pt x="347" y="686"/>
                    </a:lnTo>
                    <a:lnTo>
                      <a:pt x="341" y="647"/>
                    </a:lnTo>
                    <a:lnTo>
                      <a:pt x="341" y="603"/>
                    </a:lnTo>
                    <a:lnTo>
                      <a:pt x="325" y="563"/>
                    </a:lnTo>
                    <a:moveTo>
                      <a:pt x="94" y="782"/>
                    </a:moveTo>
                    <a:lnTo>
                      <a:pt x="0" y="863"/>
                    </a:lnTo>
                    <a:lnTo>
                      <a:pt x="32" y="803"/>
                    </a:lnTo>
                    <a:lnTo>
                      <a:pt x="82" y="751"/>
                    </a:lnTo>
                    <a:lnTo>
                      <a:pt x="122" y="692"/>
                    </a:lnTo>
                    <a:lnTo>
                      <a:pt x="153" y="607"/>
                    </a:lnTo>
                    <a:lnTo>
                      <a:pt x="173" y="677"/>
                    </a:lnTo>
                    <a:lnTo>
                      <a:pt x="128" y="724"/>
                    </a:lnTo>
                    <a:lnTo>
                      <a:pt x="94" y="782"/>
                    </a:lnTo>
                    <a:moveTo>
                      <a:pt x="497" y="700"/>
                    </a:moveTo>
                    <a:lnTo>
                      <a:pt x="473" y="728"/>
                    </a:lnTo>
                    <a:lnTo>
                      <a:pt x="454" y="782"/>
                    </a:lnTo>
                    <a:lnTo>
                      <a:pt x="433" y="807"/>
                    </a:lnTo>
                    <a:lnTo>
                      <a:pt x="381" y="748"/>
                    </a:lnTo>
                    <a:lnTo>
                      <a:pt x="395" y="726"/>
                    </a:lnTo>
                    <a:lnTo>
                      <a:pt x="411" y="702"/>
                    </a:lnTo>
                    <a:lnTo>
                      <a:pt x="414" y="649"/>
                    </a:lnTo>
                    <a:lnTo>
                      <a:pt x="455" y="644"/>
                    </a:lnTo>
                    <a:lnTo>
                      <a:pt x="449" y="701"/>
                    </a:lnTo>
                    <a:lnTo>
                      <a:pt x="496" y="619"/>
                    </a:lnTo>
                    <a:lnTo>
                      <a:pt x="497" y="700"/>
                    </a:lnTo>
                    <a:moveTo>
                      <a:pt x="690" y="859"/>
                    </a:moveTo>
                    <a:lnTo>
                      <a:pt x="702" y="916"/>
                    </a:lnTo>
                    <a:lnTo>
                      <a:pt x="710" y="963"/>
                    </a:lnTo>
                    <a:lnTo>
                      <a:pt x="690" y="1041"/>
                    </a:lnTo>
                    <a:lnTo>
                      <a:pt x="657" y="954"/>
                    </a:lnTo>
                    <a:lnTo>
                      <a:pt x="624" y="998"/>
                    </a:lnTo>
                    <a:lnTo>
                      <a:pt x="652" y="1060"/>
                    </a:lnTo>
                    <a:lnTo>
                      <a:pt x="633" y="1100"/>
                    </a:lnTo>
                    <a:lnTo>
                      <a:pt x="542" y="1051"/>
                    </a:lnTo>
                    <a:lnTo>
                      <a:pt x="517" y="989"/>
                    </a:lnTo>
                    <a:lnTo>
                      <a:pt x="537" y="949"/>
                    </a:lnTo>
                    <a:lnTo>
                      <a:pt x="487" y="908"/>
                    </a:lnTo>
                    <a:lnTo>
                      <a:pt x="466" y="944"/>
                    </a:lnTo>
                    <a:lnTo>
                      <a:pt x="430" y="940"/>
                    </a:lnTo>
                    <a:lnTo>
                      <a:pt x="378" y="988"/>
                    </a:lnTo>
                    <a:lnTo>
                      <a:pt x="364" y="963"/>
                    </a:lnTo>
                    <a:lnTo>
                      <a:pt x="388" y="891"/>
                    </a:lnTo>
                    <a:lnTo>
                      <a:pt x="433" y="867"/>
                    </a:lnTo>
                    <a:lnTo>
                      <a:pt x="472" y="835"/>
                    </a:lnTo>
                    <a:lnTo>
                      <a:pt x="501" y="874"/>
                    </a:lnTo>
                    <a:lnTo>
                      <a:pt x="557" y="850"/>
                    </a:lnTo>
                    <a:lnTo>
                      <a:pt x="566" y="812"/>
                    </a:lnTo>
                    <a:lnTo>
                      <a:pt x="619" y="810"/>
                    </a:lnTo>
                    <a:lnTo>
                      <a:pt x="608" y="744"/>
                    </a:lnTo>
                    <a:lnTo>
                      <a:pt x="673" y="785"/>
                    </a:lnTo>
                    <a:lnTo>
                      <a:pt x="683" y="828"/>
                    </a:lnTo>
                    <a:lnTo>
                      <a:pt x="690" y="859"/>
                    </a:lnTo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7" name="Freeform 147"/>
              <p:cNvSpPr>
                <a:spLocks/>
              </p:cNvSpPr>
              <p:nvPr/>
            </p:nvSpPr>
            <p:spPr bwMode="auto">
              <a:xfrm>
                <a:off x="8683625" y="4075113"/>
                <a:ext cx="41275" cy="61913"/>
              </a:xfrm>
              <a:custGeom>
                <a:avLst/>
                <a:gdLst>
                  <a:gd name="T0" fmla="*/ 23 w 26"/>
                  <a:gd name="T1" fmla="*/ 37 h 39"/>
                  <a:gd name="T2" fmla="*/ 18 w 26"/>
                  <a:gd name="T3" fmla="*/ 39 h 39"/>
                  <a:gd name="T4" fmla="*/ 10 w 26"/>
                  <a:gd name="T5" fmla="*/ 31 h 39"/>
                  <a:gd name="T6" fmla="*/ 3 w 26"/>
                  <a:gd name="T7" fmla="*/ 18 h 39"/>
                  <a:gd name="T8" fmla="*/ 0 w 26"/>
                  <a:gd name="T9" fmla="*/ 2 h 39"/>
                  <a:gd name="T10" fmla="*/ 3 w 26"/>
                  <a:gd name="T11" fmla="*/ 0 h 39"/>
                  <a:gd name="T12" fmla="*/ 5 w 26"/>
                  <a:gd name="T13" fmla="*/ 6 h 39"/>
                  <a:gd name="T14" fmla="*/ 10 w 26"/>
                  <a:gd name="T15" fmla="*/ 11 h 39"/>
                  <a:gd name="T16" fmla="*/ 18 w 26"/>
                  <a:gd name="T17" fmla="*/ 24 h 39"/>
                  <a:gd name="T18" fmla="*/ 26 w 26"/>
                  <a:gd name="T19" fmla="*/ 31 h 39"/>
                  <a:gd name="T20" fmla="*/ 23 w 26"/>
                  <a:gd name="T21" fmla="*/ 3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" h="39">
                    <a:moveTo>
                      <a:pt x="23" y="37"/>
                    </a:moveTo>
                    <a:lnTo>
                      <a:pt x="18" y="39"/>
                    </a:lnTo>
                    <a:lnTo>
                      <a:pt x="10" y="31"/>
                    </a:lnTo>
                    <a:lnTo>
                      <a:pt x="3" y="18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6"/>
                    </a:lnTo>
                    <a:lnTo>
                      <a:pt x="10" y="11"/>
                    </a:lnTo>
                    <a:lnTo>
                      <a:pt x="18" y="24"/>
                    </a:lnTo>
                    <a:lnTo>
                      <a:pt x="26" y="31"/>
                    </a:lnTo>
                    <a:lnTo>
                      <a:pt x="23" y="3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8" name="Freeform 148"/>
              <p:cNvSpPr>
                <a:spLocks/>
              </p:cNvSpPr>
              <p:nvPr/>
            </p:nvSpPr>
            <p:spPr bwMode="auto">
              <a:xfrm>
                <a:off x="8502650" y="4046538"/>
                <a:ext cx="119063" cy="71438"/>
              </a:xfrm>
              <a:custGeom>
                <a:avLst/>
                <a:gdLst>
                  <a:gd name="T0" fmla="*/ 68 w 75"/>
                  <a:gd name="T1" fmla="*/ 27 h 45"/>
                  <a:gd name="T2" fmla="*/ 58 w 75"/>
                  <a:gd name="T3" fmla="*/ 29 h 45"/>
                  <a:gd name="T4" fmla="*/ 54 w 75"/>
                  <a:gd name="T5" fmla="*/ 35 h 45"/>
                  <a:gd name="T6" fmla="*/ 44 w 75"/>
                  <a:gd name="T7" fmla="*/ 40 h 45"/>
                  <a:gd name="T8" fmla="*/ 34 w 75"/>
                  <a:gd name="T9" fmla="*/ 45 h 45"/>
                  <a:gd name="T10" fmla="*/ 25 w 75"/>
                  <a:gd name="T11" fmla="*/ 45 h 45"/>
                  <a:gd name="T12" fmla="*/ 10 w 75"/>
                  <a:gd name="T13" fmla="*/ 39 h 45"/>
                  <a:gd name="T14" fmla="*/ 0 w 75"/>
                  <a:gd name="T15" fmla="*/ 33 h 45"/>
                  <a:gd name="T16" fmla="*/ 2 w 75"/>
                  <a:gd name="T17" fmla="*/ 26 h 45"/>
                  <a:gd name="T18" fmla="*/ 18 w 75"/>
                  <a:gd name="T19" fmla="*/ 29 h 45"/>
                  <a:gd name="T20" fmla="*/ 28 w 75"/>
                  <a:gd name="T21" fmla="*/ 28 h 45"/>
                  <a:gd name="T22" fmla="*/ 31 w 75"/>
                  <a:gd name="T23" fmla="*/ 18 h 45"/>
                  <a:gd name="T24" fmla="*/ 34 w 75"/>
                  <a:gd name="T25" fmla="*/ 17 h 45"/>
                  <a:gd name="T26" fmla="*/ 35 w 75"/>
                  <a:gd name="T27" fmla="*/ 28 h 45"/>
                  <a:gd name="T28" fmla="*/ 46 w 75"/>
                  <a:gd name="T29" fmla="*/ 27 h 45"/>
                  <a:gd name="T30" fmla="*/ 51 w 75"/>
                  <a:gd name="T31" fmla="*/ 20 h 45"/>
                  <a:gd name="T32" fmla="*/ 62 w 75"/>
                  <a:gd name="T33" fmla="*/ 12 h 45"/>
                  <a:gd name="T34" fmla="*/ 61 w 75"/>
                  <a:gd name="T35" fmla="*/ 0 h 45"/>
                  <a:gd name="T36" fmla="*/ 72 w 75"/>
                  <a:gd name="T37" fmla="*/ 0 h 45"/>
                  <a:gd name="T38" fmla="*/ 75 w 75"/>
                  <a:gd name="T39" fmla="*/ 3 h 45"/>
                  <a:gd name="T40" fmla="*/ 74 w 75"/>
                  <a:gd name="T41" fmla="*/ 15 h 45"/>
                  <a:gd name="T42" fmla="*/ 68 w 75"/>
                  <a:gd name="T43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5" h="45">
                    <a:moveTo>
                      <a:pt x="68" y="27"/>
                    </a:moveTo>
                    <a:lnTo>
                      <a:pt x="58" y="29"/>
                    </a:lnTo>
                    <a:lnTo>
                      <a:pt x="54" y="35"/>
                    </a:lnTo>
                    <a:lnTo>
                      <a:pt x="44" y="40"/>
                    </a:lnTo>
                    <a:lnTo>
                      <a:pt x="34" y="45"/>
                    </a:lnTo>
                    <a:lnTo>
                      <a:pt x="25" y="45"/>
                    </a:lnTo>
                    <a:lnTo>
                      <a:pt x="10" y="39"/>
                    </a:lnTo>
                    <a:lnTo>
                      <a:pt x="0" y="33"/>
                    </a:lnTo>
                    <a:lnTo>
                      <a:pt x="2" y="26"/>
                    </a:lnTo>
                    <a:lnTo>
                      <a:pt x="18" y="29"/>
                    </a:lnTo>
                    <a:lnTo>
                      <a:pt x="28" y="28"/>
                    </a:lnTo>
                    <a:lnTo>
                      <a:pt x="31" y="18"/>
                    </a:lnTo>
                    <a:lnTo>
                      <a:pt x="34" y="17"/>
                    </a:lnTo>
                    <a:lnTo>
                      <a:pt x="35" y="28"/>
                    </a:lnTo>
                    <a:lnTo>
                      <a:pt x="46" y="27"/>
                    </a:lnTo>
                    <a:lnTo>
                      <a:pt x="51" y="20"/>
                    </a:lnTo>
                    <a:lnTo>
                      <a:pt x="62" y="12"/>
                    </a:lnTo>
                    <a:lnTo>
                      <a:pt x="61" y="0"/>
                    </a:lnTo>
                    <a:lnTo>
                      <a:pt x="72" y="0"/>
                    </a:lnTo>
                    <a:lnTo>
                      <a:pt x="75" y="3"/>
                    </a:lnTo>
                    <a:lnTo>
                      <a:pt x="74" y="15"/>
                    </a:lnTo>
                    <a:lnTo>
                      <a:pt x="68" y="2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59" name="Freeform 149"/>
              <p:cNvSpPr>
                <a:spLocks/>
              </p:cNvSpPr>
              <p:nvPr/>
            </p:nvSpPr>
            <p:spPr bwMode="auto">
              <a:xfrm>
                <a:off x="8281987" y="3994150"/>
                <a:ext cx="279400" cy="266700"/>
              </a:xfrm>
              <a:custGeom>
                <a:avLst/>
                <a:gdLst>
                  <a:gd name="T0" fmla="*/ 116 w 176"/>
                  <a:gd name="T1" fmla="*/ 100 h 168"/>
                  <a:gd name="T2" fmla="*/ 131 w 176"/>
                  <a:gd name="T3" fmla="*/ 114 h 168"/>
                  <a:gd name="T4" fmla="*/ 141 w 176"/>
                  <a:gd name="T5" fmla="*/ 136 h 168"/>
                  <a:gd name="T6" fmla="*/ 151 w 176"/>
                  <a:gd name="T7" fmla="*/ 135 h 168"/>
                  <a:gd name="T8" fmla="*/ 149 w 176"/>
                  <a:gd name="T9" fmla="*/ 144 h 168"/>
                  <a:gd name="T10" fmla="*/ 163 w 176"/>
                  <a:gd name="T11" fmla="*/ 148 h 168"/>
                  <a:gd name="T12" fmla="*/ 157 w 176"/>
                  <a:gd name="T13" fmla="*/ 151 h 168"/>
                  <a:gd name="T14" fmla="*/ 176 w 176"/>
                  <a:gd name="T15" fmla="*/ 160 h 168"/>
                  <a:gd name="T16" fmla="*/ 173 w 176"/>
                  <a:gd name="T17" fmla="*/ 166 h 168"/>
                  <a:gd name="T18" fmla="*/ 161 w 176"/>
                  <a:gd name="T19" fmla="*/ 168 h 168"/>
                  <a:gd name="T20" fmla="*/ 157 w 176"/>
                  <a:gd name="T21" fmla="*/ 162 h 168"/>
                  <a:gd name="T22" fmla="*/ 141 w 176"/>
                  <a:gd name="T23" fmla="*/ 160 h 168"/>
                  <a:gd name="T24" fmla="*/ 123 w 176"/>
                  <a:gd name="T25" fmla="*/ 157 h 168"/>
                  <a:gd name="T26" fmla="*/ 111 w 176"/>
                  <a:gd name="T27" fmla="*/ 144 h 168"/>
                  <a:gd name="T28" fmla="*/ 101 w 176"/>
                  <a:gd name="T29" fmla="*/ 132 h 168"/>
                  <a:gd name="T30" fmla="*/ 93 w 176"/>
                  <a:gd name="T31" fmla="*/ 114 h 168"/>
                  <a:gd name="T32" fmla="*/ 70 w 176"/>
                  <a:gd name="T33" fmla="*/ 105 h 168"/>
                  <a:gd name="T34" fmla="*/ 54 w 176"/>
                  <a:gd name="T35" fmla="*/ 111 h 168"/>
                  <a:gd name="T36" fmla="*/ 43 w 176"/>
                  <a:gd name="T37" fmla="*/ 118 h 168"/>
                  <a:gd name="T38" fmla="*/ 43 w 176"/>
                  <a:gd name="T39" fmla="*/ 133 h 168"/>
                  <a:gd name="T40" fmla="*/ 28 w 176"/>
                  <a:gd name="T41" fmla="*/ 140 h 168"/>
                  <a:gd name="T42" fmla="*/ 19 w 176"/>
                  <a:gd name="T43" fmla="*/ 137 h 168"/>
                  <a:gd name="T44" fmla="*/ 0 w 176"/>
                  <a:gd name="T45" fmla="*/ 136 h 168"/>
                  <a:gd name="T46" fmla="*/ 5 w 176"/>
                  <a:gd name="T47" fmla="*/ 68 h 168"/>
                  <a:gd name="T48" fmla="*/ 7 w 176"/>
                  <a:gd name="T49" fmla="*/ 0 h 168"/>
                  <a:gd name="T50" fmla="*/ 39 w 176"/>
                  <a:gd name="T51" fmla="*/ 15 h 168"/>
                  <a:gd name="T52" fmla="*/ 72 w 176"/>
                  <a:gd name="T53" fmla="*/ 27 h 168"/>
                  <a:gd name="T54" fmla="*/ 84 w 176"/>
                  <a:gd name="T55" fmla="*/ 37 h 168"/>
                  <a:gd name="T56" fmla="*/ 94 w 176"/>
                  <a:gd name="T57" fmla="*/ 48 h 168"/>
                  <a:gd name="T58" fmla="*/ 96 w 176"/>
                  <a:gd name="T59" fmla="*/ 60 h 168"/>
                  <a:gd name="T60" fmla="*/ 126 w 176"/>
                  <a:gd name="T61" fmla="*/ 73 h 168"/>
                  <a:gd name="T62" fmla="*/ 130 w 176"/>
                  <a:gd name="T63" fmla="*/ 84 h 168"/>
                  <a:gd name="T64" fmla="*/ 113 w 176"/>
                  <a:gd name="T65" fmla="*/ 86 h 168"/>
                  <a:gd name="T66" fmla="*/ 116 w 176"/>
                  <a:gd name="T67" fmla="*/ 100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6" h="168">
                    <a:moveTo>
                      <a:pt x="116" y="100"/>
                    </a:moveTo>
                    <a:lnTo>
                      <a:pt x="131" y="114"/>
                    </a:lnTo>
                    <a:lnTo>
                      <a:pt x="141" y="136"/>
                    </a:lnTo>
                    <a:lnTo>
                      <a:pt x="151" y="135"/>
                    </a:lnTo>
                    <a:lnTo>
                      <a:pt x="149" y="144"/>
                    </a:lnTo>
                    <a:lnTo>
                      <a:pt x="163" y="148"/>
                    </a:lnTo>
                    <a:lnTo>
                      <a:pt x="157" y="151"/>
                    </a:lnTo>
                    <a:lnTo>
                      <a:pt x="176" y="160"/>
                    </a:lnTo>
                    <a:lnTo>
                      <a:pt x="173" y="166"/>
                    </a:lnTo>
                    <a:lnTo>
                      <a:pt x="161" y="168"/>
                    </a:lnTo>
                    <a:lnTo>
                      <a:pt x="157" y="162"/>
                    </a:lnTo>
                    <a:lnTo>
                      <a:pt x="141" y="160"/>
                    </a:lnTo>
                    <a:lnTo>
                      <a:pt x="123" y="157"/>
                    </a:lnTo>
                    <a:lnTo>
                      <a:pt x="111" y="144"/>
                    </a:lnTo>
                    <a:lnTo>
                      <a:pt x="101" y="132"/>
                    </a:lnTo>
                    <a:lnTo>
                      <a:pt x="93" y="114"/>
                    </a:lnTo>
                    <a:lnTo>
                      <a:pt x="70" y="105"/>
                    </a:lnTo>
                    <a:lnTo>
                      <a:pt x="54" y="111"/>
                    </a:lnTo>
                    <a:lnTo>
                      <a:pt x="43" y="118"/>
                    </a:lnTo>
                    <a:lnTo>
                      <a:pt x="43" y="133"/>
                    </a:lnTo>
                    <a:lnTo>
                      <a:pt x="28" y="140"/>
                    </a:lnTo>
                    <a:lnTo>
                      <a:pt x="19" y="137"/>
                    </a:lnTo>
                    <a:lnTo>
                      <a:pt x="0" y="136"/>
                    </a:lnTo>
                    <a:lnTo>
                      <a:pt x="5" y="68"/>
                    </a:lnTo>
                    <a:lnTo>
                      <a:pt x="7" y="0"/>
                    </a:lnTo>
                    <a:lnTo>
                      <a:pt x="39" y="15"/>
                    </a:lnTo>
                    <a:lnTo>
                      <a:pt x="72" y="27"/>
                    </a:lnTo>
                    <a:lnTo>
                      <a:pt x="84" y="37"/>
                    </a:lnTo>
                    <a:lnTo>
                      <a:pt x="94" y="48"/>
                    </a:lnTo>
                    <a:lnTo>
                      <a:pt x="96" y="60"/>
                    </a:lnTo>
                    <a:lnTo>
                      <a:pt x="126" y="73"/>
                    </a:lnTo>
                    <a:lnTo>
                      <a:pt x="130" y="84"/>
                    </a:lnTo>
                    <a:lnTo>
                      <a:pt x="113" y="86"/>
                    </a:lnTo>
                    <a:lnTo>
                      <a:pt x="116" y="10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0" name="Freeform 150"/>
              <p:cNvSpPr>
                <a:spLocks/>
              </p:cNvSpPr>
              <p:nvPr/>
            </p:nvSpPr>
            <p:spPr bwMode="auto">
              <a:xfrm>
                <a:off x="8575675" y="3990975"/>
                <a:ext cx="69850" cy="74613"/>
              </a:xfrm>
              <a:custGeom>
                <a:avLst/>
                <a:gdLst>
                  <a:gd name="T0" fmla="*/ 44 w 44"/>
                  <a:gd name="T1" fmla="*/ 42 h 47"/>
                  <a:gd name="T2" fmla="*/ 38 w 44"/>
                  <a:gd name="T3" fmla="*/ 47 h 47"/>
                  <a:gd name="T4" fmla="*/ 35 w 44"/>
                  <a:gd name="T5" fmla="*/ 35 h 47"/>
                  <a:gd name="T6" fmla="*/ 31 w 44"/>
                  <a:gd name="T7" fmla="*/ 27 h 47"/>
                  <a:gd name="T8" fmla="*/ 23 w 44"/>
                  <a:gd name="T9" fmla="*/ 20 h 47"/>
                  <a:gd name="T10" fmla="*/ 13 w 44"/>
                  <a:gd name="T11" fmla="*/ 11 h 47"/>
                  <a:gd name="T12" fmla="*/ 0 w 44"/>
                  <a:gd name="T13" fmla="*/ 5 h 47"/>
                  <a:gd name="T14" fmla="*/ 5 w 44"/>
                  <a:gd name="T15" fmla="*/ 0 h 47"/>
                  <a:gd name="T16" fmla="*/ 15 w 44"/>
                  <a:gd name="T17" fmla="*/ 6 h 47"/>
                  <a:gd name="T18" fmla="*/ 21 w 44"/>
                  <a:gd name="T19" fmla="*/ 11 h 47"/>
                  <a:gd name="T20" fmla="*/ 28 w 44"/>
                  <a:gd name="T21" fmla="*/ 16 h 47"/>
                  <a:gd name="T22" fmla="*/ 35 w 44"/>
                  <a:gd name="T23" fmla="*/ 24 h 47"/>
                  <a:gd name="T24" fmla="*/ 42 w 44"/>
                  <a:gd name="T25" fmla="*/ 31 h 47"/>
                  <a:gd name="T26" fmla="*/ 44 w 44"/>
                  <a:gd name="T27" fmla="*/ 42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47">
                    <a:moveTo>
                      <a:pt x="44" y="42"/>
                    </a:moveTo>
                    <a:lnTo>
                      <a:pt x="38" y="47"/>
                    </a:lnTo>
                    <a:lnTo>
                      <a:pt x="35" y="35"/>
                    </a:lnTo>
                    <a:lnTo>
                      <a:pt x="31" y="27"/>
                    </a:lnTo>
                    <a:lnTo>
                      <a:pt x="23" y="20"/>
                    </a:lnTo>
                    <a:lnTo>
                      <a:pt x="13" y="11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5" y="6"/>
                    </a:lnTo>
                    <a:lnTo>
                      <a:pt x="21" y="11"/>
                    </a:lnTo>
                    <a:lnTo>
                      <a:pt x="28" y="16"/>
                    </a:lnTo>
                    <a:lnTo>
                      <a:pt x="35" y="24"/>
                    </a:lnTo>
                    <a:lnTo>
                      <a:pt x="42" y="31"/>
                    </a:lnTo>
                    <a:lnTo>
                      <a:pt x="44" y="4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1" name="Freeform 151"/>
              <p:cNvSpPr>
                <a:spLocks/>
              </p:cNvSpPr>
              <p:nvPr/>
            </p:nvSpPr>
            <p:spPr bwMode="auto">
              <a:xfrm>
                <a:off x="4530725" y="2112962"/>
                <a:ext cx="257175" cy="185738"/>
              </a:xfrm>
              <a:custGeom>
                <a:avLst/>
                <a:gdLst>
                  <a:gd name="T0" fmla="*/ 18 w 162"/>
                  <a:gd name="T1" fmla="*/ 75 h 117"/>
                  <a:gd name="T2" fmla="*/ 11 w 162"/>
                  <a:gd name="T3" fmla="*/ 62 h 117"/>
                  <a:gd name="T4" fmla="*/ 11 w 162"/>
                  <a:gd name="T5" fmla="*/ 55 h 117"/>
                  <a:gd name="T6" fmla="*/ 6 w 162"/>
                  <a:gd name="T7" fmla="*/ 44 h 117"/>
                  <a:gd name="T8" fmla="*/ 0 w 162"/>
                  <a:gd name="T9" fmla="*/ 37 h 117"/>
                  <a:gd name="T10" fmla="*/ 4 w 162"/>
                  <a:gd name="T11" fmla="*/ 32 h 117"/>
                  <a:gd name="T12" fmla="*/ 0 w 162"/>
                  <a:gd name="T13" fmla="*/ 22 h 117"/>
                  <a:gd name="T14" fmla="*/ 10 w 162"/>
                  <a:gd name="T15" fmla="*/ 16 h 117"/>
                  <a:gd name="T16" fmla="*/ 33 w 162"/>
                  <a:gd name="T17" fmla="*/ 7 h 117"/>
                  <a:gd name="T18" fmla="*/ 52 w 162"/>
                  <a:gd name="T19" fmla="*/ 0 h 117"/>
                  <a:gd name="T20" fmla="*/ 67 w 162"/>
                  <a:gd name="T21" fmla="*/ 3 h 117"/>
                  <a:gd name="T22" fmla="*/ 69 w 162"/>
                  <a:gd name="T23" fmla="*/ 8 h 117"/>
                  <a:gd name="T24" fmla="*/ 84 w 162"/>
                  <a:gd name="T25" fmla="*/ 8 h 117"/>
                  <a:gd name="T26" fmla="*/ 103 w 162"/>
                  <a:gd name="T27" fmla="*/ 10 h 117"/>
                  <a:gd name="T28" fmla="*/ 132 w 162"/>
                  <a:gd name="T29" fmla="*/ 10 h 117"/>
                  <a:gd name="T30" fmla="*/ 140 w 162"/>
                  <a:gd name="T31" fmla="*/ 12 h 117"/>
                  <a:gd name="T32" fmla="*/ 145 w 162"/>
                  <a:gd name="T33" fmla="*/ 18 h 117"/>
                  <a:gd name="T34" fmla="*/ 147 w 162"/>
                  <a:gd name="T35" fmla="*/ 27 h 117"/>
                  <a:gd name="T36" fmla="*/ 152 w 162"/>
                  <a:gd name="T37" fmla="*/ 35 h 117"/>
                  <a:gd name="T38" fmla="*/ 153 w 162"/>
                  <a:gd name="T39" fmla="*/ 43 h 117"/>
                  <a:gd name="T40" fmla="*/ 144 w 162"/>
                  <a:gd name="T41" fmla="*/ 47 h 117"/>
                  <a:gd name="T42" fmla="*/ 150 w 162"/>
                  <a:gd name="T43" fmla="*/ 56 h 117"/>
                  <a:gd name="T44" fmla="*/ 152 w 162"/>
                  <a:gd name="T45" fmla="*/ 65 h 117"/>
                  <a:gd name="T46" fmla="*/ 162 w 162"/>
                  <a:gd name="T47" fmla="*/ 83 h 117"/>
                  <a:gd name="T48" fmla="*/ 161 w 162"/>
                  <a:gd name="T49" fmla="*/ 89 h 117"/>
                  <a:gd name="T50" fmla="*/ 154 w 162"/>
                  <a:gd name="T51" fmla="*/ 91 h 117"/>
                  <a:gd name="T52" fmla="*/ 141 w 162"/>
                  <a:gd name="T53" fmla="*/ 108 h 117"/>
                  <a:gd name="T54" fmla="*/ 146 w 162"/>
                  <a:gd name="T55" fmla="*/ 117 h 117"/>
                  <a:gd name="T56" fmla="*/ 143 w 162"/>
                  <a:gd name="T57" fmla="*/ 116 h 117"/>
                  <a:gd name="T58" fmla="*/ 127 w 162"/>
                  <a:gd name="T59" fmla="*/ 108 h 117"/>
                  <a:gd name="T60" fmla="*/ 115 w 162"/>
                  <a:gd name="T61" fmla="*/ 110 h 117"/>
                  <a:gd name="T62" fmla="*/ 107 w 162"/>
                  <a:gd name="T63" fmla="*/ 109 h 117"/>
                  <a:gd name="T64" fmla="*/ 98 w 162"/>
                  <a:gd name="T65" fmla="*/ 113 h 117"/>
                  <a:gd name="T66" fmla="*/ 90 w 162"/>
                  <a:gd name="T67" fmla="*/ 106 h 117"/>
                  <a:gd name="T68" fmla="*/ 83 w 162"/>
                  <a:gd name="T69" fmla="*/ 109 h 117"/>
                  <a:gd name="T70" fmla="*/ 82 w 162"/>
                  <a:gd name="T71" fmla="*/ 107 h 117"/>
                  <a:gd name="T72" fmla="*/ 74 w 162"/>
                  <a:gd name="T73" fmla="*/ 97 h 117"/>
                  <a:gd name="T74" fmla="*/ 62 w 162"/>
                  <a:gd name="T75" fmla="*/ 96 h 117"/>
                  <a:gd name="T76" fmla="*/ 60 w 162"/>
                  <a:gd name="T77" fmla="*/ 90 h 117"/>
                  <a:gd name="T78" fmla="*/ 49 w 162"/>
                  <a:gd name="T79" fmla="*/ 88 h 117"/>
                  <a:gd name="T80" fmla="*/ 47 w 162"/>
                  <a:gd name="T81" fmla="*/ 93 h 117"/>
                  <a:gd name="T82" fmla="*/ 38 w 162"/>
                  <a:gd name="T83" fmla="*/ 89 h 117"/>
                  <a:gd name="T84" fmla="*/ 38 w 162"/>
                  <a:gd name="T85" fmla="*/ 83 h 117"/>
                  <a:gd name="T86" fmla="*/ 26 w 162"/>
                  <a:gd name="T87" fmla="*/ 81 h 117"/>
                  <a:gd name="T88" fmla="*/ 18 w 162"/>
                  <a:gd name="T89" fmla="*/ 75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62" h="117">
                    <a:moveTo>
                      <a:pt x="18" y="75"/>
                    </a:moveTo>
                    <a:lnTo>
                      <a:pt x="11" y="62"/>
                    </a:lnTo>
                    <a:lnTo>
                      <a:pt x="11" y="55"/>
                    </a:lnTo>
                    <a:lnTo>
                      <a:pt x="6" y="44"/>
                    </a:lnTo>
                    <a:lnTo>
                      <a:pt x="0" y="37"/>
                    </a:lnTo>
                    <a:lnTo>
                      <a:pt x="4" y="32"/>
                    </a:lnTo>
                    <a:lnTo>
                      <a:pt x="0" y="22"/>
                    </a:lnTo>
                    <a:lnTo>
                      <a:pt x="10" y="16"/>
                    </a:lnTo>
                    <a:lnTo>
                      <a:pt x="33" y="7"/>
                    </a:lnTo>
                    <a:lnTo>
                      <a:pt x="52" y="0"/>
                    </a:lnTo>
                    <a:lnTo>
                      <a:pt x="67" y="3"/>
                    </a:lnTo>
                    <a:lnTo>
                      <a:pt x="69" y="8"/>
                    </a:lnTo>
                    <a:lnTo>
                      <a:pt x="84" y="8"/>
                    </a:lnTo>
                    <a:lnTo>
                      <a:pt x="103" y="10"/>
                    </a:lnTo>
                    <a:lnTo>
                      <a:pt x="132" y="10"/>
                    </a:lnTo>
                    <a:lnTo>
                      <a:pt x="140" y="12"/>
                    </a:lnTo>
                    <a:lnTo>
                      <a:pt x="145" y="18"/>
                    </a:lnTo>
                    <a:lnTo>
                      <a:pt x="147" y="27"/>
                    </a:lnTo>
                    <a:lnTo>
                      <a:pt x="152" y="35"/>
                    </a:lnTo>
                    <a:lnTo>
                      <a:pt x="153" y="43"/>
                    </a:lnTo>
                    <a:lnTo>
                      <a:pt x="144" y="47"/>
                    </a:lnTo>
                    <a:lnTo>
                      <a:pt x="150" y="56"/>
                    </a:lnTo>
                    <a:lnTo>
                      <a:pt x="152" y="65"/>
                    </a:lnTo>
                    <a:lnTo>
                      <a:pt x="162" y="83"/>
                    </a:lnTo>
                    <a:lnTo>
                      <a:pt x="161" y="89"/>
                    </a:lnTo>
                    <a:lnTo>
                      <a:pt x="154" y="91"/>
                    </a:lnTo>
                    <a:lnTo>
                      <a:pt x="141" y="108"/>
                    </a:lnTo>
                    <a:lnTo>
                      <a:pt x="146" y="117"/>
                    </a:lnTo>
                    <a:lnTo>
                      <a:pt x="143" y="116"/>
                    </a:lnTo>
                    <a:lnTo>
                      <a:pt x="127" y="108"/>
                    </a:lnTo>
                    <a:lnTo>
                      <a:pt x="115" y="110"/>
                    </a:lnTo>
                    <a:lnTo>
                      <a:pt x="107" y="109"/>
                    </a:lnTo>
                    <a:lnTo>
                      <a:pt x="98" y="113"/>
                    </a:lnTo>
                    <a:lnTo>
                      <a:pt x="90" y="106"/>
                    </a:lnTo>
                    <a:lnTo>
                      <a:pt x="83" y="109"/>
                    </a:lnTo>
                    <a:lnTo>
                      <a:pt x="82" y="107"/>
                    </a:lnTo>
                    <a:lnTo>
                      <a:pt x="74" y="97"/>
                    </a:lnTo>
                    <a:lnTo>
                      <a:pt x="62" y="96"/>
                    </a:lnTo>
                    <a:lnTo>
                      <a:pt x="60" y="90"/>
                    </a:lnTo>
                    <a:lnTo>
                      <a:pt x="49" y="88"/>
                    </a:lnTo>
                    <a:lnTo>
                      <a:pt x="47" y="93"/>
                    </a:lnTo>
                    <a:lnTo>
                      <a:pt x="38" y="89"/>
                    </a:lnTo>
                    <a:lnTo>
                      <a:pt x="38" y="83"/>
                    </a:lnTo>
                    <a:lnTo>
                      <a:pt x="26" y="81"/>
                    </a:lnTo>
                    <a:lnTo>
                      <a:pt x="18" y="7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2" name="Freeform 152"/>
              <p:cNvSpPr>
                <a:spLocks/>
              </p:cNvSpPr>
              <p:nvPr/>
            </p:nvSpPr>
            <p:spPr bwMode="auto">
              <a:xfrm>
                <a:off x="2249487" y="3298825"/>
                <a:ext cx="47625" cy="17463"/>
              </a:xfrm>
              <a:custGeom>
                <a:avLst/>
                <a:gdLst>
                  <a:gd name="T0" fmla="*/ 18 w 30"/>
                  <a:gd name="T1" fmla="*/ 0 h 11"/>
                  <a:gd name="T2" fmla="*/ 27 w 30"/>
                  <a:gd name="T3" fmla="*/ 1 h 11"/>
                  <a:gd name="T4" fmla="*/ 30 w 30"/>
                  <a:gd name="T5" fmla="*/ 6 h 11"/>
                  <a:gd name="T6" fmla="*/ 24 w 30"/>
                  <a:gd name="T7" fmla="*/ 11 h 11"/>
                  <a:gd name="T8" fmla="*/ 11 w 30"/>
                  <a:gd name="T9" fmla="*/ 11 h 11"/>
                  <a:gd name="T10" fmla="*/ 0 w 30"/>
                  <a:gd name="T11" fmla="*/ 11 h 11"/>
                  <a:gd name="T12" fmla="*/ 0 w 30"/>
                  <a:gd name="T13" fmla="*/ 3 h 11"/>
                  <a:gd name="T14" fmla="*/ 3 w 30"/>
                  <a:gd name="T15" fmla="*/ 0 h 11"/>
                  <a:gd name="T16" fmla="*/ 18 w 30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11">
                    <a:moveTo>
                      <a:pt x="18" y="0"/>
                    </a:moveTo>
                    <a:lnTo>
                      <a:pt x="27" y="1"/>
                    </a:lnTo>
                    <a:lnTo>
                      <a:pt x="30" y="6"/>
                    </a:lnTo>
                    <a:lnTo>
                      <a:pt x="24" y="11"/>
                    </a:lnTo>
                    <a:lnTo>
                      <a:pt x="11" y="11"/>
                    </a:lnTo>
                    <a:lnTo>
                      <a:pt x="0" y="11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3" name="Freeform 153"/>
              <p:cNvSpPr>
                <a:spLocks/>
              </p:cNvSpPr>
              <p:nvPr/>
            </p:nvSpPr>
            <p:spPr bwMode="auto">
              <a:xfrm>
                <a:off x="7521575" y="2493962"/>
                <a:ext cx="134938" cy="174625"/>
              </a:xfrm>
              <a:custGeom>
                <a:avLst/>
                <a:gdLst>
                  <a:gd name="T0" fmla="*/ 81 w 85"/>
                  <a:gd name="T1" fmla="*/ 12 h 110"/>
                  <a:gd name="T2" fmla="*/ 85 w 85"/>
                  <a:gd name="T3" fmla="*/ 16 h 110"/>
                  <a:gd name="T4" fmla="*/ 78 w 85"/>
                  <a:gd name="T5" fmla="*/ 14 h 110"/>
                  <a:gd name="T6" fmla="*/ 75 w 85"/>
                  <a:gd name="T7" fmla="*/ 21 h 110"/>
                  <a:gd name="T8" fmla="*/ 74 w 85"/>
                  <a:gd name="T9" fmla="*/ 28 h 110"/>
                  <a:gd name="T10" fmla="*/ 82 w 85"/>
                  <a:gd name="T11" fmla="*/ 43 h 110"/>
                  <a:gd name="T12" fmla="*/ 76 w 85"/>
                  <a:gd name="T13" fmla="*/ 48 h 110"/>
                  <a:gd name="T14" fmla="*/ 75 w 85"/>
                  <a:gd name="T15" fmla="*/ 52 h 110"/>
                  <a:gd name="T16" fmla="*/ 72 w 85"/>
                  <a:gd name="T17" fmla="*/ 58 h 110"/>
                  <a:gd name="T18" fmla="*/ 62 w 85"/>
                  <a:gd name="T19" fmla="*/ 61 h 110"/>
                  <a:gd name="T20" fmla="*/ 58 w 85"/>
                  <a:gd name="T21" fmla="*/ 66 h 110"/>
                  <a:gd name="T22" fmla="*/ 61 w 85"/>
                  <a:gd name="T23" fmla="*/ 75 h 110"/>
                  <a:gd name="T24" fmla="*/ 61 w 85"/>
                  <a:gd name="T25" fmla="*/ 78 h 110"/>
                  <a:gd name="T26" fmla="*/ 69 w 85"/>
                  <a:gd name="T27" fmla="*/ 81 h 110"/>
                  <a:gd name="T28" fmla="*/ 83 w 85"/>
                  <a:gd name="T29" fmla="*/ 90 h 110"/>
                  <a:gd name="T30" fmla="*/ 83 w 85"/>
                  <a:gd name="T31" fmla="*/ 95 h 110"/>
                  <a:gd name="T32" fmla="*/ 76 w 85"/>
                  <a:gd name="T33" fmla="*/ 96 h 110"/>
                  <a:gd name="T34" fmla="*/ 65 w 85"/>
                  <a:gd name="T35" fmla="*/ 97 h 110"/>
                  <a:gd name="T36" fmla="*/ 62 w 85"/>
                  <a:gd name="T37" fmla="*/ 107 h 110"/>
                  <a:gd name="T38" fmla="*/ 55 w 85"/>
                  <a:gd name="T39" fmla="*/ 106 h 110"/>
                  <a:gd name="T40" fmla="*/ 54 w 85"/>
                  <a:gd name="T41" fmla="*/ 108 h 110"/>
                  <a:gd name="T42" fmla="*/ 44 w 85"/>
                  <a:gd name="T43" fmla="*/ 104 h 110"/>
                  <a:gd name="T44" fmla="*/ 44 w 85"/>
                  <a:gd name="T45" fmla="*/ 108 h 110"/>
                  <a:gd name="T46" fmla="*/ 40 w 85"/>
                  <a:gd name="T47" fmla="*/ 110 h 110"/>
                  <a:gd name="T48" fmla="*/ 37 w 85"/>
                  <a:gd name="T49" fmla="*/ 106 h 110"/>
                  <a:gd name="T50" fmla="*/ 32 w 85"/>
                  <a:gd name="T51" fmla="*/ 104 h 110"/>
                  <a:gd name="T52" fmla="*/ 26 w 85"/>
                  <a:gd name="T53" fmla="*/ 100 h 110"/>
                  <a:gd name="T54" fmla="*/ 26 w 85"/>
                  <a:gd name="T55" fmla="*/ 91 h 110"/>
                  <a:gd name="T56" fmla="*/ 29 w 85"/>
                  <a:gd name="T57" fmla="*/ 89 h 110"/>
                  <a:gd name="T58" fmla="*/ 26 w 85"/>
                  <a:gd name="T59" fmla="*/ 85 h 110"/>
                  <a:gd name="T60" fmla="*/ 25 w 85"/>
                  <a:gd name="T61" fmla="*/ 74 h 110"/>
                  <a:gd name="T62" fmla="*/ 22 w 85"/>
                  <a:gd name="T63" fmla="*/ 71 h 110"/>
                  <a:gd name="T64" fmla="*/ 11 w 85"/>
                  <a:gd name="T65" fmla="*/ 68 h 110"/>
                  <a:gd name="T66" fmla="*/ 0 w 85"/>
                  <a:gd name="T67" fmla="*/ 63 h 110"/>
                  <a:gd name="T68" fmla="*/ 8 w 85"/>
                  <a:gd name="T69" fmla="*/ 50 h 110"/>
                  <a:gd name="T70" fmla="*/ 20 w 85"/>
                  <a:gd name="T71" fmla="*/ 39 h 110"/>
                  <a:gd name="T72" fmla="*/ 24 w 85"/>
                  <a:gd name="T73" fmla="*/ 24 h 110"/>
                  <a:gd name="T74" fmla="*/ 36 w 85"/>
                  <a:gd name="T75" fmla="*/ 31 h 110"/>
                  <a:gd name="T76" fmla="*/ 51 w 85"/>
                  <a:gd name="T77" fmla="*/ 31 h 110"/>
                  <a:gd name="T78" fmla="*/ 42 w 85"/>
                  <a:gd name="T79" fmla="*/ 20 h 110"/>
                  <a:gd name="T80" fmla="*/ 63 w 85"/>
                  <a:gd name="T81" fmla="*/ 11 h 110"/>
                  <a:gd name="T82" fmla="*/ 63 w 85"/>
                  <a:gd name="T83" fmla="*/ 0 h 110"/>
                  <a:gd name="T84" fmla="*/ 81 w 85"/>
                  <a:gd name="T85" fmla="*/ 12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85" h="110">
                    <a:moveTo>
                      <a:pt x="81" y="12"/>
                    </a:moveTo>
                    <a:lnTo>
                      <a:pt x="85" y="16"/>
                    </a:lnTo>
                    <a:lnTo>
                      <a:pt x="78" y="14"/>
                    </a:lnTo>
                    <a:lnTo>
                      <a:pt x="75" y="21"/>
                    </a:lnTo>
                    <a:lnTo>
                      <a:pt x="74" y="28"/>
                    </a:lnTo>
                    <a:lnTo>
                      <a:pt x="82" y="43"/>
                    </a:lnTo>
                    <a:lnTo>
                      <a:pt x="76" y="48"/>
                    </a:lnTo>
                    <a:lnTo>
                      <a:pt x="75" y="52"/>
                    </a:lnTo>
                    <a:lnTo>
                      <a:pt x="72" y="58"/>
                    </a:lnTo>
                    <a:lnTo>
                      <a:pt x="62" y="61"/>
                    </a:lnTo>
                    <a:lnTo>
                      <a:pt x="58" y="66"/>
                    </a:lnTo>
                    <a:lnTo>
                      <a:pt x="61" y="75"/>
                    </a:lnTo>
                    <a:lnTo>
                      <a:pt x="61" y="78"/>
                    </a:lnTo>
                    <a:lnTo>
                      <a:pt x="69" y="81"/>
                    </a:lnTo>
                    <a:lnTo>
                      <a:pt x="83" y="90"/>
                    </a:lnTo>
                    <a:lnTo>
                      <a:pt x="83" y="95"/>
                    </a:lnTo>
                    <a:lnTo>
                      <a:pt x="76" y="96"/>
                    </a:lnTo>
                    <a:lnTo>
                      <a:pt x="65" y="97"/>
                    </a:lnTo>
                    <a:lnTo>
                      <a:pt x="62" y="107"/>
                    </a:lnTo>
                    <a:lnTo>
                      <a:pt x="55" y="106"/>
                    </a:lnTo>
                    <a:lnTo>
                      <a:pt x="54" y="108"/>
                    </a:lnTo>
                    <a:lnTo>
                      <a:pt x="44" y="104"/>
                    </a:lnTo>
                    <a:lnTo>
                      <a:pt x="44" y="108"/>
                    </a:lnTo>
                    <a:lnTo>
                      <a:pt x="40" y="110"/>
                    </a:lnTo>
                    <a:lnTo>
                      <a:pt x="37" y="106"/>
                    </a:lnTo>
                    <a:lnTo>
                      <a:pt x="32" y="104"/>
                    </a:lnTo>
                    <a:lnTo>
                      <a:pt x="26" y="100"/>
                    </a:lnTo>
                    <a:lnTo>
                      <a:pt x="26" y="91"/>
                    </a:lnTo>
                    <a:lnTo>
                      <a:pt x="29" y="89"/>
                    </a:lnTo>
                    <a:lnTo>
                      <a:pt x="26" y="85"/>
                    </a:lnTo>
                    <a:lnTo>
                      <a:pt x="25" y="74"/>
                    </a:lnTo>
                    <a:lnTo>
                      <a:pt x="22" y="71"/>
                    </a:lnTo>
                    <a:lnTo>
                      <a:pt x="11" y="68"/>
                    </a:lnTo>
                    <a:lnTo>
                      <a:pt x="0" y="63"/>
                    </a:lnTo>
                    <a:lnTo>
                      <a:pt x="8" y="50"/>
                    </a:lnTo>
                    <a:lnTo>
                      <a:pt x="20" y="39"/>
                    </a:lnTo>
                    <a:lnTo>
                      <a:pt x="24" y="24"/>
                    </a:lnTo>
                    <a:lnTo>
                      <a:pt x="36" y="31"/>
                    </a:lnTo>
                    <a:lnTo>
                      <a:pt x="51" y="31"/>
                    </a:lnTo>
                    <a:lnTo>
                      <a:pt x="42" y="20"/>
                    </a:lnTo>
                    <a:lnTo>
                      <a:pt x="63" y="11"/>
                    </a:lnTo>
                    <a:lnTo>
                      <a:pt x="63" y="0"/>
                    </a:lnTo>
                    <a:lnTo>
                      <a:pt x="81" y="1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4" name="Freeform 154"/>
              <p:cNvSpPr>
                <a:spLocks/>
              </p:cNvSpPr>
              <p:nvPr/>
            </p:nvSpPr>
            <p:spPr bwMode="auto">
              <a:xfrm>
                <a:off x="3924300" y="2516187"/>
                <a:ext cx="87313" cy="179388"/>
              </a:xfrm>
              <a:custGeom>
                <a:avLst/>
                <a:gdLst>
                  <a:gd name="T0" fmla="*/ 11 w 55"/>
                  <a:gd name="T1" fmla="*/ 9 h 113"/>
                  <a:gd name="T2" fmla="*/ 17 w 55"/>
                  <a:gd name="T3" fmla="*/ 3 h 113"/>
                  <a:gd name="T4" fmla="*/ 24 w 55"/>
                  <a:gd name="T5" fmla="*/ 0 h 113"/>
                  <a:gd name="T6" fmla="*/ 28 w 55"/>
                  <a:gd name="T7" fmla="*/ 10 h 113"/>
                  <a:gd name="T8" fmla="*/ 38 w 55"/>
                  <a:gd name="T9" fmla="*/ 10 h 113"/>
                  <a:gd name="T10" fmla="*/ 41 w 55"/>
                  <a:gd name="T11" fmla="*/ 8 h 113"/>
                  <a:gd name="T12" fmla="*/ 50 w 55"/>
                  <a:gd name="T13" fmla="*/ 9 h 113"/>
                  <a:gd name="T14" fmla="*/ 55 w 55"/>
                  <a:gd name="T15" fmla="*/ 19 h 113"/>
                  <a:gd name="T16" fmla="*/ 47 w 55"/>
                  <a:gd name="T17" fmla="*/ 25 h 113"/>
                  <a:gd name="T18" fmla="*/ 46 w 55"/>
                  <a:gd name="T19" fmla="*/ 41 h 113"/>
                  <a:gd name="T20" fmla="*/ 43 w 55"/>
                  <a:gd name="T21" fmla="*/ 44 h 113"/>
                  <a:gd name="T22" fmla="*/ 43 w 55"/>
                  <a:gd name="T23" fmla="*/ 53 h 113"/>
                  <a:gd name="T24" fmla="*/ 35 w 55"/>
                  <a:gd name="T25" fmla="*/ 55 h 113"/>
                  <a:gd name="T26" fmla="*/ 42 w 55"/>
                  <a:gd name="T27" fmla="*/ 67 h 113"/>
                  <a:gd name="T28" fmla="*/ 37 w 55"/>
                  <a:gd name="T29" fmla="*/ 81 h 113"/>
                  <a:gd name="T30" fmla="*/ 42 w 55"/>
                  <a:gd name="T31" fmla="*/ 87 h 113"/>
                  <a:gd name="T32" fmla="*/ 40 w 55"/>
                  <a:gd name="T33" fmla="*/ 93 h 113"/>
                  <a:gd name="T34" fmla="*/ 33 w 55"/>
                  <a:gd name="T35" fmla="*/ 100 h 113"/>
                  <a:gd name="T36" fmla="*/ 35 w 55"/>
                  <a:gd name="T37" fmla="*/ 107 h 113"/>
                  <a:gd name="T38" fmla="*/ 28 w 55"/>
                  <a:gd name="T39" fmla="*/ 113 h 113"/>
                  <a:gd name="T40" fmla="*/ 19 w 55"/>
                  <a:gd name="T41" fmla="*/ 110 h 113"/>
                  <a:gd name="T42" fmla="*/ 9 w 55"/>
                  <a:gd name="T43" fmla="*/ 112 h 113"/>
                  <a:gd name="T44" fmla="*/ 13 w 55"/>
                  <a:gd name="T45" fmla="*/ 96 h 113"/>
                  <a:gd name="T46" fmla="*/ 11 w 55"/>
                  <a:gd name="T47" fmla="*/ 83 h 113"/>
                  <a:gd name="T48" fmla="*/ 4 w 55"/>
                  <a:gd name="T49" fmla="*/ 81 h 113"/>
                  <a:gd name="T50" fmla="*/ 0 w 55"/>
                  <a:gd name="T51" fmla="*/ 73 h 113"/>
                  <a:gd name="T52" fmla="*/ 2 w 55"/>
                  <a:gd name="T53" fmla="*/ 60 h 113"/>
                  <a:gd name="T54" fmla="*/ 9 w 55"/>
                  <a:gd name="T55" fmla="*/ 52 h 113"/>
                  <a:gd name="T56" fmla="*/ 10 w 55"/>
                  <a:gd name="T57" fmla="*/ 44 h 113"/>
                  <a:gd name="T58" fmla="*/ 14 w 55"/>
                  <a:gd name="T59" fmla="*/ 32 h 113"/>
                  <a:gd name="T60" fmla="*/ 14 w 55"/>
                  <a:gd name="T61" fmla="*/ 23 h 113"/>
                  <a:gd name="T62" fmla="*/ 11 w 55"/>
                  <a:gd name="T63" fmla="*/ 16 h 113"/>
                  <a:gd name="T64" fmla="*/ 11 w 55"/>
                  <a:gd name="T65" fmla="*/ 9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5" h="113">
                    <a:moveTo>
                      <a:pt x="11" y="9"/>
                    </a:moveTo>
                    <a:lnTo>
                      <a:pt x="17" y="3"/>
                    </a:lnTo>
                    <a:lnTo>
                      <a:pt x="24" y="0"/>
                    </a:lnTo>
                    <a:lnTo>
                      <a:pt x="28" y="10"/>
                    </a:lnTo>
                    <a:lnTo>
                      <a:pt x="38" y="10"/>
                    </a:lnTo>
                    <a:lnTo>
                      <a:pt x="41" y="8"/>
                    </a:lnTo>
                    <a:lnTo>
                      <a:pt x="50" y="9"/>
                    </a:lnTo>
                    <a:lnTo>
                      <a:pt x="55" y="19"/>
                    </a:lnTo>
                    <a:lnTo>
                      <a:pt x="47" y="25"/>
                    </a:lnTo>
                    <a:lnTo>
                      <a:pt x="46" y="41"/>
                    </a:lnTo>
                    <a:lnTo>
                      <a:pt x="43" y="44"/>
                    </a:lnTo>
                    <a:lnTo>
                      <a:pt x="43" y="53"/>
                    </a:lnTo>
                    <a:lnTo>
                      <a:pt x="35" y="55"/>
                    </a:lnTo>
                    <a:lnTo>
                      <a:pt x="42" y="67"/>
                    </a:lnTo>
                    <a:lnTo>
                      <a:pt x="37" y="81"/>
                    </a:lnTo>
                    <a:lnTo>
                      <a:pt x="42" y="87"/>
                    </a:lnTo>
                    <a:lnTo>
                      <a:pt x="40" y="93"/>
                    </a:lnTo>
                    <a:lnTo>
                      <a:pt x="33" y="100"/>
                    </a:lnTo>
                    <a:lnTo>
                      <a:pt x="35" y="107"/>
                    </a:lnTo>
                    <a:lnTo>
                      <a:pt x="28" y="113"/>
                    </a:lnTo>
                    <a:lnTo>
                      <a:pt x="19" y="110"/>
                    </a:lnTo>
                    <a:lnTo>
                      <a:pt x="9" y="112"/>
                    </a:lnTo>
                    <a:lnTo>
                      <a:pt x="13" y="96"/>
                    </a:lnTo>
                    <a:lnTo>
                      <a:pt x="11" y="83"/>
                    </a:lnTo>
                    <a:lnTo>
                      <a:pt x="4" y="81"/>
                    </a:lnTo>
                    <a:lnTo>
                      <a:pt x="0" y="73"/>
                    </a:lnTo>
                    <a:lnTo>
                      <a:pt x="2" y="60"/>
                    </a:lnTo>
                    <a:lnTo>
                      <a:pt x="9" y="52"/>
                    </a:lnTo>
                    <a:lnTo>
                      <a:pt x="10" y="44"/>
                    </a:lnTo>
                    <a:lnTo>
                      <a:pt x="14" y="32"/>
                    </a:lnTo>
                    <a:lnTo>
                      <a:pt x="14" y="23"/>
                    </a:lnTo>
                    <a:lnTo>
                      <a:pt x="11" y="16"/>
                    </a:lnTo>
                    <a:lnTo>
                      <a:pt x="11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5" name="Freeform 155"/>
              <p:cNvSpPr>
                <a:spLocks/>
              </p:cNvSpPr>
              <p:nvPr/>
            </p:nvSpPr>
            <p:spPr bwMode="auto">
              <a:xfrm>
                <a:off x="2393950" y="4546600"/>
                <a:ext cx="247650" cy="271463"/>
              </a:xfrm>
              <a:custGeom>
                <a:avLst/>
                <a:gdLst>
                  <a:gd name="T0" fmla="*/ 0 w 156"/>
                  <a:gd name="T1" fmla="*/ 61 h 171"/>
                  <a:gd name="T2" fmla="*/ 4 w 156"/>
                  <a:gd name="T3" fmla="*/ 36 h 171"/>
                  <a:gd name="T4" fmla="*/ 3 w 156"/>
                  <a:gd name="T5" fmla="*/ 25 h 171"/>
                  <a:gd name="T6" fmla="*/ 10 w 156"/>
                  <a:gd name="T7" fmla="*/ 6 h 171"/>
                  <a:gd name="T8" fmla="*/ 41 w 156"/>
                  <a:gd name="T9" fmla="*/ 0 h 171"/>
                  <a:gd name="T10" fmla="*/ 58 w 156"/>
                  <a:gd name="T11" fmla="*/ 1 h 171"/>
                  <a:gd name="T12" fmla="*/ 76 w 156"/>
                  <a:gd name="T13" fmla="*/ 11 h 171"/>
                  <a:gd name="T14" fmla="*/ 77 w 156"/>
                  <a:gd name="T15" fmla="*/ 18 h 171"/>
                  <a:gd name="T16" fmla="*/ 83 w 156"/>
                  <a:gd name="T17" fmla="*/ 29 h 171"/>
                  <a:gd name="T18" fmla="*/ 85 w 156"/>
                  <a:gd name="T19" fmla="*/ 57 h 171"/>
                  <a:gd name="T20" fmla="*/ 104 w 156"/>
                  <a:gd name="T21" fmla="*/ 61 h 171"/>
                  <a:gd name="T22" fmla="*/ 111 w 156"/>
                  <a:gd name="T23" fmla="*/ 57 h 171"/>
                  <a:gd name="T24" fmla="*/ 124 w 156"/>
                  <a:gd name="T25" fmla="*/ 63 h 171"/>
                  <a:gd name="T26" fmla="*/ 128 w 156"/>
                  <a:gd name="T27" fmla="*/ 69 h 171"/>
                  <a:gd name="T28" fmla="*/ 132 w 156"/>
                  <a:gd name="T29" fmla="*/ 88 h 171"/>
                  <a:gd name="T30" fmla="*/ 135 w 156"/>
                  <a:gd name="T31" fmla="*/ 96 h 171"/>
                  <a:gd name="T32" fmla="*/ 141 w 156"/>
                  <a:gd name="T33" fmla="*/ 97 h 171"/>
                  <a:gd name="T34" fmla="*/ 148 w 156"/>
                  <a:gd name="T35" fmla="*/ 94 h 171"/>
                  <a:gd name="T36" fmla="*/ 155 w 156"/>
                  <a:gd name="T37" fmla="*/ 97 h 171"/>
                  <a:gd name="T38" fmla="*/ 156 w 156"/>
                  <a:gd name="T39" fmla="*/ 109 h 171"/>
                  <a:gd name="T40" fmla="*/ 155 w 156"/>
                  <a:gd name="T41" fmla="*/ 121 h 171"/>
                  <a:gd name="T42" fmla="*/ 153 w 156"/>
                  <a:gd name="T43" fmla="*/ 133 h 171"/>
                  <a:gd name="T44" fmla="*/ 152 w 156"/>
                  <a:gd name="T45" fmla="*/ 151 h 171"/>
                  <a:gd name="T46" fmla="*/ 138 w 156"/>
                  <a:gd name="T47" fmla="*/ 167 h 171"/>
                  <a:gd name="T48" fmla="*/ 124 w 156"/>
                  <a:gd name="T49" fmla="*/ 171 h 171"/>
                  <a:gd name="T50" fmla="*/ 104 w 156"/>
                  <a:gd name="T51" fmla="*/ 167 h 171"/>
                  <a:gd name="T52" fmla="*/ 85 w 156"/>
                  <a:gd name="T53" fmla="*/ 162 h 171"/>
                  <a:gd name="T54" fmla="*/ 99 w 156"/>
                  <a:gd name="T55" fmla="*/ 130 h 171"/>
                  <a:gd name="T56" fmla="*/ 95 w 156"/>
                  <a:gd name="T57" fmla="*/ 121 h 171"/>
                  <a:gd name="T58" fmla="*/ 76 w 156"/>
                  <a:gd name="T59" fmla="*/ 113 h 171"/>
                  <a:gd name="T60" fmla="*/ 52 w 156"/>
                  <a:gd name="T61" fmla="*/ 98 h 171"/>
                  <a:gd name="T62" fmla="*/ 37 w 156"/>
                  <a:gd name="T63" fmla="*/ 95 h 171"/>
                  <a:gd name="T64" fmla="*/ 0 w 156"/>
                  <a:gd name="T65" fmla="*/ 6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56" h="171">
                    <a:moveTo>
                      <a:pt x="0" y="61"/>
                    </a:moveTo>
                    <a:lnTo>
                      <a:pt x="4" y="36"/>
                    </a:lnTo>
                    <a:lnTo>
                      <a:pt x="3" y="25"/>
                    </a:lnTo>
                    <a:lnTo>
                      <a:pt x="10" y="6"/>
                    </a:lnTo>
                    <a:lnTo>
                      <a:pt x="41" y="0"/>
                    </a:lnTo>
                    <a:lnTo>
                      <a:pt x="58" y="1"/>
                    </a:lnTo>
                    <a:lnTo>
                      <a:pt x="76" y="11"/>
                    </a:lnTo>
                    <a:lnTo>
                      <a:pt x="77" y="18"/>
                    </a:lnTo>
                    <a:lnTo>
                      <a:pt x="83" y="29"/>
                    </a:lnTo>
                    <a:lnTo>
                      <a:pt x="85" y="57"/>
                    </a:lnTo>
                    <a:lnTo>
                      <a:pt x="104" y="61"/>
                    </a:lnTo>
                    <a:lnTo>
                      <a:pt x="111" y="57"/>
                    </a:lnTo>
                    <a:lnTo>
                      <a:pt x="124" y="63"/>
                    </a:lnTo>
                    <a:lnTo>
                      <a:pt x="128" y="69"/>
                    </a:lnTo>
                    <a:lnTo>
                      <a:pt x="132" y="88"/>
                    </a:lnTo>
                    <a:lnTo>
                      <a:pt x="135" y="96"/>
                    </a:lnTo>
                    <a:lnTo>
                      <a:pt x="141" y="97"/>
                    </a:lnTo>
                    <a:lnTo>
                      <a:pt x="148" y="94"/>
                    </a:lnTo>
                    <a:lnTo>
                      <a:pt x="155" y="97"/>
                    </a:lnTo>
                    <a:lnTo>
                      <a:pt x="156" y="109"/>
                    </a:lnTo>
                    <a:lnTo>
                      <a:pt x="155" y="121"/>
                    </a:lnTo>
                    <a:lnTo>
                      <a:pt x="153" y="133"/>
                    </a:lnTo>
                    <a:lnTo>
                      <a:pt x="152" y="151"/>
                    </a:lnTo>
                    <a:lnTo>
                      <a:pt x="138" y="167"/>
                    </a:lnTo>
                    <a:lnTo>
                      <a:pt x="124" y="171"/>
                    </a:lnTo>
                    <a:lnTo>
                      <a:pt x="104" y="167"/>
                    </a:lnTo>
                    <a:lnTo>
                      <a:pt x="85" y="162"/>
                    </a:lnTo>
                    <a:lnTo>
                      <a:pt x="99" y="130"/>
                    </a:lnTo>
                    <a:lnTo>
                      <a:pt x="95" y="121"/>
                    </a:lnTo>
                    <a:lnTo>
                      <a:pt x="76" y="113"/>
                    </a:lnTo>
                    <a:lnTo>
                      <a:pt x="52" y="98"/>
                    </a:lnTo>
                    <a:lnTo>
                      <a:pt x="37" y="95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6" name="Freeform 156"/>
              <p:cNvSpPr>
                <a:spLocks/>
              </p:cNvSpPr>
              <p:nvPr/>
            </p:nvSpPr>
            <p:spPr bwMode="auto">
              <a:xfrm>
                <a:off x="5153025" y="2836862"/>
                <a:ext cx="17463" cy="38100"/>
              </a:xfrm>
              <a:custGeom>
                <a:avLst/>
                <a:gdLst>
                  <a:gd name="T0" fmla="*/ 9 w 11"/>
                  <a:gd name="T1" fmla="*/ 3 h 24"/>
                  <a:gd name="T2" fmla="*/ 11 w 11"/>
                  <a:gd name="T3" fmla="*/ 15 h 24"/>
                  <a:gd name="T4" fmla="*/ 9 w 11"/>
                  <a:gd name="T5" fmla="*/ 21 h 24"/>
                  <a:gd name="T6" fmla="*/ 1 w 11"/>
                  <a:gd name="T7" fmla="*/ 24 h 24"/>
                  <a:gd name="T8" fmla="*/ 1 w 11"/>
                  <a:gd name="T9" fmla="*/ 19 h 24"/>
                  <a:gd name="T10" fmla="*/ 5 w 11"/>
                  <a:gd name="T11" fmla="*/ 16 h 24"/>
                  <a:gd name="T12" fmla="*/ 0 w 11"/>
                  <a:gd name="T13" fmla="*/ 14 h 24"/>
                  <a:gd name="T14" fmla="*/ 3 w 11"/>
                  <a:gd name="T15" fmla="*/ 0 h 24"/>
                  <a:gd name="T16" fmla="*/ 9 w 11"/>
                  <a:gd name="T17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24">
                    <a:moveTo>
                      <a:pt x="9" y="3"/>
                    </a:moveTo>
                    <a:lnTo>
                      <a:pt x="11" y="15"/>
                    </a:lnTo>
                    <a:lnTo>
                      <a:pt x="9" y="21"/>
                    </a:lnTo>
                    <a:lnTo>
                      <a:pt x="1" y="24"/>
                    </a:lnTo>
                    <a:lnTo>
                      <a:pt x="1" y="19"/>
                    </a:lnTo>
                    <a:lnTo>
                      <a:pt x="5" y="16"/>
                    </a:lnTo>
                    <a:lnTo>
                      <a:pt x="0" y="14"/>
                    </a:lnTo>
                    <a:lnTo>
                      <a:pt x="3" y="0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7" name="Freeform 157"/>
              <p:cNvSpPr>
                <a:spLocks/>
              </p:cNvSpPr>
              <p:nvPr/>
            </p:nvSpPr>
            <p:spPr bwMode="auto">
              <a:xfrm>
                <a:off x="5618162" y="3048000"/>
                <a:ext cx="26988" cy="50800"/>
              </a:xfrm>
              <a:custGeom>
                <a:avLst/>
                <a:gdLst>
                  <a:gd name="T0" fmla="*/ 3 w 17"/>
                  <a:gd name="T1" fmla="*/ 28 h 32"/>
                  <a:gd name="T2" fmla="*/ 0 w 17"/>
                  <a:gd name="T3" fmla="*/ 13 h 32"/>
                  <a:gd name="T4" fmla="*/ 4 w 17"/>
                  <a:gd name="T5" fmla="*/ 2 h 32"/>
                  <a:gd name="T6" fmla="*/ 9 w 17"/>
                  <a:gd name="T7" fmla="*/ 0 h 32"/>
                  <a:gd name="T8" fmla="*/ 15 w 17"/>
                  <a:gd name="T9" fmla="*/ 7 h 32"/>
                  <a:gd name="T10" fmla="*/ 17 w 17"/>
                  <a:gd name="T11" fmla="*/ 18 h 32"/>
                  <a:gd name="T12" fmla="*/ 14 w 17"/>
                  <a:gd name="T13" fmla="*/ 31 h 32"/>
                  <a:gd name="T14" fmla="*/ 9 w 17"/>
                  <a:gd name="T15" fmla="*/ 32 h 32"/>
                  <a:gd name="T16" fmla="*/ 3 w 17"/>
                  <a:gd name="T17" fmla="*/ 28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32">
                    <a:moveTo>
                      <a:pt x="3" y="28"/>
                    </a:moveTo>
                    <a:lnTo>
                      <a:pt x="0" y="13"/>
                    </a:lnTo>
                    <a:lnTo>
                      <a:pt x="4" y="2"/>
                    </a:lnTo>
                    <a:lnTo>
                      <a:pt x="9" y="0"/>
                    </a:lnTo>
                    <a:lnTo>
                      <a:pt x="15" y="7"/>
                    </a:lnTo>
                    <a:lnTo>
                      <a:pt x="17" y="18"/>
                    </a:lnTo>
                    <a:lnTo>
                      <a:pt x="14" y="31"/>
                    </a:lnTo>
                    <a:lnTo>
                      <a:pt x="9" y="32"/>
                    </a:lnTo>
                    <a:lnTo>
                      <a:pt x="3" y="28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8" name="Freeform 158"/>
              <p:cNvSpPr>
                <a:spLocks/>
              </p:cNvSpPr>
              <p:nvPr/>
            </p:nvSpPr>
            <p:spPr bwMode="auto">
              <a:xfrm>
                <a:off x="4706937" y="2324100"/>
                <a:ext cx="250825" cy="147638"/>
              </a:xfrm>
              <a:custGeom>
                <a:avLst/>
                <a:gdLst>
                  <a:gd name="T0" fmla="*/ 37 w 158"/>
                  <a:gd name="T1" fmla="*/ 7 h 93"/>
                  <a:gd name="T2" fmla="*/ 44 w 158"/>
                  <a:gd name="T3" fmla="*/ 3 h 93"/>
                  <a:gd name="T4" fmla="*/ 54 w 158"/>
                  <a:gd name="T5" fmla="*/ 5 h 93"/>
                  <a:gd name="T6" fmla="*/ 64 w 158"/>
                  <a:gd name="T7" fmla="*/ 5 h 93"/>
                  <a:gd name="T8" fmla="*/ 72 w 158"/>
                  <a:gd name="T9" fmla="*/ 10 h 93"/>
                  <a:gd name="T10" fmla="*/ 78 w 158"/>
                  <a:gd name="T11" fmla="*/ 7 h 93"/>
                  <a:gd name="T12" fmla="*/ 89 w 158"/>
                  <a:gd name="T13" fmla="*/ 5 h 93"/>
                  <a:gd name="T14" fmla="*/ 93 w 158"/>
                  <a:gd name="T15" fmla="*/ 0 h 93"/>
                  <a:gd name="T16" fmla="*/ 100 w 158"/>
                  <a:gd name="T17" fmla="*/ 0 h 93"/>
                  <a:gd name="T18" fmla="*/ 105 w 158"/>
                  <a:gd name="T19" fmla="*/ 2 h 93"/>
                  <a:gd name="T20" fmla="*/ 110 w 158"/>
                  <a:gd name="T21" fmla="*/ 8 h 93"/>
                  <a:gd name="T22" fmla="*/ 117 w 158"/>
                  <a:gd name="T23" fmla="*/ 17 h 93"/>
                  <a:gd name="T24" fmla="*/ 128 w 158"/>
                  <a:gd name="T25" fmla="*/ 29 h 93"/>
                  <a:gd name="T26" fmla="*/ 130 w 158"/>
                  <a:gd name="T27" fmla="*/ 38 h 93"/>
                  <a:gd name="T28" fmla="*/ 129 w 158"/>
                  <a:gd name="T29" fmla="*/ 47 h 93"/>
                  <a:gd name="T30" fmla="*/ 133 w 158"/>
                  <a:gd name="T31" fmla="*/ 56 h 93"/>
                  <a:gd name="T32" fmla="*/ 141 w 158"/>
                  <a:gd name="T33" fmla="*/ 59 h 93"/>
                  <a:gd name="T34" fmla="*/ 149 w 158"/>
                  <a:gd name="T35" fmla="*/ 56 h 93"/>
                  <a:gd name="T36" fmla="*/ 156 w 158"/>
                  <a:gd name="T37" fmla="*/ 60 h 93"/>
                  <a:gd name="T38" fmla="*/ 158 w 158"/>
                  <a:gd name="T39" fmla="*/ 65 h 93"/>
                  <a:gd name="T40" fmla="*/ 150 w 158"/>
                  <a:gd name="T41" fmla="*/ 69 h 93"/>
                  <a:gd name="T42" fmla="*/ 145 w 158"/>
                  <a:gd name="T43" fmla="*/ 67 h 93"/>
                  <a:gd name="T44" fmla="*/ 143 w 158"/>
                  <a:gd name="T45" fmla="*/ 92 h 93"/>
                  <a:gd name="T46" fmla="*/ 133 w 158"/>
                  <a:gd name="T47" fmla="*/ 90 h 93"/>
                  <a:gd name="T48" fmla="*/ 121 w 158"/>
                  <a:gd name="T49" fmla="*/ 83 h 93"/>
                  <a:gd name="T50" fmla="*/ 101 w 158"/>
                  <a:gd name="T51" fmla="*/ 87 h 93"/>
                  <a:gd name="T52" fmla="*/ 94 w 158"/>
                  <a:gd name="T53" fmla="*/ 93 h 93"/>
                  <a:gd name="T54" fmla="*/ 69 w 158"/>
                  <a:gd name="T55" fmla="*/ 91 h 93"/>
                  <a:gd name="T56" fmla="*/ 56 w 158"/>
                  <a:gd name="T57" fmla="*/ 88 h 93"/>
                  <a:gd name="T58" fmla="*/ 50 w 158"/>
                  <a:gd name="T59" fmla="*/ 90 h 93"/>
                  <a:gd name="T60" fmla="*/ 44 w 158"/>
                  <a:gd name="T61" fmla="*/ 81 h 93"/>
                  <a:gd name="T62" fmla="*/ 41 w 158"/>
                  <a:gd name="T63" fmla="*/ 78 h 93"/>
                  <a:gd name="T64" fmla="*/ 45 w 158"/>
                  <a:gd name="T65" fmla="*/ 74 h 93"/>
                  <a:gd name="T66" fmla="*/ 40 w 158"/>
                  <a:gd name="T67" fmla="*/ 72 h 93"/>
                  <a:gd name="T68" fmla="*/ 36 w 158"/>
                  <a:gd name="T69" fmla="*/ 76 h 93"/>
                  <a:gd name="T70" fmla="*/ 25 w 158"/>
                  <a:gd name="T71" fmla="*/ 70 h 93"/>
                  <a:gd name="T72" fmla="*/ 23 w 158"/>
                  <a:gd name="T73" fmla="*/ 62 h 93"/>
                  <a:gd name="T74" fmla="*/ 13 w 158"/>
                  <a:gd name="T75" fmla="*/ 57 h 93"/>
                  <a:gd name="T76" fmla="*/ 10 w 158"/>
                  <a:gd name="T77" fmla="*/ 51 h 93"/>
                  <a:gd name="T78" fmla="*/ 0 w 158"/>
                  <a:gd name="T79" fmla="*/ 43 h 93"/>
                  <a:gd name="T80" fmla="*/ 13 w 158"/>
                  <a:gd name="T81" fmla="*/ 39 h 93"/>
                  <a:gd name="T82" fmla="*/ 22 w 158"/>
                  <a:gd name="T83" fmla="*/ 25 h 93"/>
                  <a:gd name="T84" fmla="*/ 28 w 158"/>
                  <a:gd name="T85" fmla="*/ 11 h 93"/>
                  <a:gd name="T86" fmla="*/ 37 w 158"/>
                  <a:gd name="T87" fmla="*/ 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8" h="93">
                    <a:moveTo>
                      <a:pt x="37" y="7"/>
                    </a:moveTo>
                    <a:lnTo>
                      <a:pt x="44" y="3"/>
                    </a:lnTo>
                    <a:lnTo>
                      <a:pt x="54" y="5"/>
                    </a:lnTo>
                    <a:lnTo>
                      <a:pt x="64" y="5"/>
                    </a:lnTo>
                    <a:lnTo>
                      <a:pt x="72" y="10"/>
                    </a:lnTo>
                    <a:lnTo>
                      <a:pt x="78" y="7"/>
                    </a:lnTo>
                    <a:lnTo>
                      <a:pt x="89" y="5"/>
                    </a:lnTo>
                    <a:lnTo>
                      <a:pt x="93" y="0"/>
                    </a:lnTo>
                    <a:lnTo>
                      <a:pt x="100" y="0"/>
                    </a:lnTo>
                    <a:lnTo>
                      <a:pt x="105" y="2"/>
                    </a:lnTo>
                    <a:lnTo>
                      <a:pt x="110" y="8"/>
                    </a:lnTo>
                    <a:lnTo>
                      <a:pt x="117" y="17"/>
                    </a:lnTo>
                    <a:lnTo>
                      <a:pt x="128" y="29"/>
                    </a:lnTo>
                    <a:lnTo>
                      <a:pt x="130" y="38"/>
                    </a:lnTo>
                    <a:lnTo>
                      <a:pt x="129" y="47"/>
                    </a:lnTo>
                    <a:lnTo>
                      <a:pt x="133" y="56"/>
                    </a:lnTo>
                    <a:lnTo>
                      <a:pt x="141" y="59"/>
                    </a:lnTo>
                    <a:lnTo>
                      <a:pt x="149" y="56"/>
                    </a:lnTo>
                    <a:lnTo>
                      <a:pt x="156" y="60"/>
                    </a:lnTo>
                    <a:lnTo>
                      <a:pt x="158" y="65"/>
                    </a:lnTo>
                    <a:lnTo>
                      <a:pt x="150" y="69"/>
                    </a:lnTo>
                    <a:lnTo>
                      <a:pt x="145" y="67"/>
                    </a:lnTo>
                    <a:lnTo>
                      <a:pt x="143" y="92"/>
                    </a:lnTo>
                    <a:lnTo>
                      <a:pt x="133" y="90"/>
                    </a:lnTo>
                    <a:lnTo>
                      <a:pt x="121" y="83"/>
                    </a:lnTo>
                    <a:lnTo>
                      <a:pt x="101" y="87"/>
                    </a:lnTo>
                    <a:lnTo>
                      <a:pt x="94" y="93"/>
                    </a:lnTo>
                    <a:lnTo>
                      <a:pt x="69" y="91"/>
                    </a:lnTo>
                    <a:lnTo>
                      <a:pt x="56" y="88"/>
                    </a:lnTo>
                    <a:lnTo>
                      <a:pt x="50" y="90"/>
                    </a:lnTo>
                    <a:lnTo>
                      <a:pt x="44" y="81"/>
                    </a:lnTo>
                    <a:lnTo>
                      <a:pt x="41" y="78"/>
                    </a:lnTo>
                    <a:lnTo>
                      <a:pt x="45" y="74"/>
                    </a:lnTo>
                    <a:lnTo>
                      <a:pt x="40" y="72"/>
                    </a:lnTo>
                    <a:lnTo>
                      <a:pt x="36" y="76"/>
                    </a:lnTo>
                    <a:lnTo>
                      <a:pt x="25" y="70"/>
                    </a:lnTo>
                    <a:lnTo>
                      <a:pt x="23" y="62"/>
                    </a:lnTo>
                    <a:lnTo>
                      <a:pt x="13" y="57"/>
                    </a:lnTo>
                    <a:lnTo>
                      <a:pt x="10" y="51"/>
                    </a:lnTo>
                    <a:lnTo>
                      <a:pt x="0" y="43"/>
                    </a:lnTo>
                    <a:lnTo>
                      <a:pt x="13" y="39"/>
                    </a:lnTo>
                    <a:lnTo>
                      <a:pt x="22" y="25"/>
                    </a:lnTo>
                    <a:lnTo>
                      <a:pt x="28" y="11"/>
                    </a:lnTo>
                    <a:lnTo>
                      <a:pt x="37" y="7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69" name="Freeform 159"/>
              <p:cNvSpPr>
                <a:spLocks/>
              </p:cNvSpPr>
              <p:nvPr/>
            </p:nvSpPr>
            <p:spPr bwMode="auto">
              <a:xfrm>
                <a:off x="7673975" y="2127250"/>
                <a:ext cx="238125" cy="269875"/>
              </a:xfrm>
              <a:custGeom>
                <a:avLst/>
                <a:gdLst>
                  <a:gd name="T0" fmla="*/ 81 w 150"/>
                  <a:gd name="T1" fmla="*/ 73 h 170"/>
                  <a:gd name="T2" fmla="*/ 126 w 150"/>
                  <a:gd name="T3" fmla="*/ 109 h 170"/>
                  <a:gd name="T4" fmla="*/ 97 w 150"/>
                  <a:gd name="T5" fmla="*/ 102 h 170"/>
                  <a:gd name="T6" fmla="*/ 109 w 150"/>
                  <a:gd name="T7" fmla="*/ 131 h 170"/>
                  <a:gd name="T8" fmla="*/ 140 w 150"/>
                  <a:gd name="T9" fmla="*/ 152 h 170"/>
                  <a:gd name="T10" fmla="*/ 150 w 150"/>
                  <a:gd name="T11" fmla="*/ 166 h 170"/>
                  <a:gd name="T12" fmla="*/ 129 w 150"/>
                  <a:gd name="T13" fmla="*/ 154 h 170"/>
                  <a:gd name="T14" fmla="*/ 129 w 150"/>
                  <a:gd name="T15" fmla="*/ 170 h 170"/>
                  <a:gd name="T16" fmla="*/ 114 w 150"/>
                  <a:gd name="T17" fmla="*/ 153 h 170"/>
                  <a:gd name="T18" fmla="*/ 101 w 150"/>
                  <a:gd name="T19" fmla="*/ 133 h 170"/>
                  <a:gd name="T20" fmla="*/ 83 w 150"/>
                  <a:gd name="T21" fmla="*/ 111 h 170"/>
                  <a:gd name="T22" fmla="*/ 76 w 150"/>
                  <a:gd name="T23" fmla="*/ 96 h 170"/>
                  <a:gd name="T24" fmla="*/ 55 w 150"/>
                  <a:gd name="T25" fmla="*/ 69 h 170"/>
                  <a:gd name="T26" fmla="*/ 29 w 150"/>
                  <a:gd name="T27" fmla="*/ 49 h 170"/>
                  <a:gd name="T28" fmla="*/ 8 w 150"/>
                  <a:gd name="T29" fmla="*/ 22 h 170"/>
                  <a:gd name="T30" fmla="*/ 14 w 150"/>
                  <a:gd name="T31" fmla="*/ 12 h 170"/>
                  <a:gd name="T32" fmla="*/ 0 w 150"/>
                  <a:gd name="T33" fmla="*/ 3 h 170"/>
                  <a:gd name="T34" fmla="*/ 4 w 150"/>
                  <a:gd name="T35" fmla="*/ 0 h 170"/>
                  <a:gd name="T36" fmla="*/ 20 w 150"/>
                  <a:gd name="T37" fmla="*/ 14 h 170"/>
                  <a:gd name="T38" fmla="*/ 42 w 150"/>
                  <a:gd name="T39" fmla="*/ 33 h 170"/>
                  <a:gd name="T40" fmla="*/ 58 w 150"/>
                  <a:gd name="T41" fmla="*/ 53 h 170"/>
                  <a:gd name="T42" fmla="*/ 81 w 150"/>
                  <a:gd name="T43" fmla="*/ 7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0" h="170">
                    <a:moveTo>
                      <a:pt x="81" y="73"/>
                    </a:moveTo>
                    <a:lnTo>
                      <a:pt x="126" y="109"/>
                    </a:lnTo>
                    <a:lnTo>
                      <a:pt x="97" y="102"/>
                    </a:lnTo>
                    <a:lnTo>
                      <a:pt x="109" y="131"/>
                    </a:lnTo>
                    <a:lnTo>
                      <a:pt x="140" y="152"/>
                    </a:lnTo>
                    <a:lnTo>
                      <a:pt x="150" y="166"/>
                    </a:lnTo>
                    <a:lnTo>
                      <a:pt x="129" y="154"/>
                    </a:lnTo>
                    <a:lnTo>
                      <a:pt x="129" y="170"/>
                    </a:lnTo>
                    <a:lnTo>
                      <a:pt x="114" y="153"/>
                    </a:lnTo>
                    <a:lnTo>
                      <a:pt x="101" y="133"/>
                    </a:lnTo>
                    <a:lnTo>
                      <a:pt x="83" y="111"/>
                    </a:lnTo>
                    <a:lnTo>
                      <a:pt x="76" y="96"/>
                    </a:lnTo>
                    <a:lnTo>
                      <a:pt x="55" y="69"/>
                    </a:lnTo>
                    <a:lnTo>
                      <a:pt x="29" y="49"/>
                    </a:lnTo>
                    <a:lnTo>
                      <a:pt x="8" y="22"/>
                    </a:lnTo>
                    <a:lnTo>
                      <a:pt x="14" y="12"/>
                    </a:lnTo>
                    <a:lnTo>
                      <a:pt x="0" y="3"/>
                    </a:lnTo>
                    <a:lnTo>
                      <a:pt x="4" y="0"/>
                    </a:lnTo>
                    <a:lnTo>
                      <a:pt x="20" y="14"/>
                    </a:lnTo>
                    <a:lnTo>
                      <a:pt x="42" y="33"/>
                    </a:lnTo>
                    <a:lnTo>
                      <a:pt x="58" y="53"/>
                    </a:lnTo>
                    <a:lnTo>
                      <a:pt x="81" y="7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0" name="Freeform 160"/>
              <p:cNvSpPr>
                <a:spLocks/>
              </p:cNvSpPr>
              <p:nvPr/>
            </p:nvSpPr>
            <p:spPr bwMode="auto">
              <a:xfrm>
                <a:off x="4664075" y="2101850"/>
                <a:ext cx="76200" cy="26988"/>
              </a:xfrm>
              <a:custGeom>
                <a:avLst/>
                <a:gdLst>
                  <a:gd name="T0" fmla="*/ 48 w 48"/>
                  <a:gd name="T1" fmla="*/ 17 h 17"/>
                  <a:gd name="T2" fmla="*/ 19 w 48"/>
                  <a:gd name="T3" fmla="*/ 17 h 17"/>
                  <a:gd name="T4" fmla="*/ 0 w 48"/>
                  <a:gd name="T5" fmla="*/ 15 h 17"/>
                  <a:gd name="T6" fmla="*/ 2 w 48"/>
                  <a:gd name="T7" fmla="*/ 6 h 17"/>
                  <a:gd name="T8" fmla="*/ 23 w 48"/>
                  <a:gd name="T9" fmla="*/ 0 h 17"/>
                  <a:gd name="T10" fmla="*/ 39 w 48"/>
                  <a:gd name="T11" fmla="*/ 4 h 17"/>
                  <a:gd name="T12" fmla="*/ 47 w 48"/>
                  <a:gd name="T13" fmla="*/ 7 h 17"/>
                  <a:gd name="T14" fmla="*/ 46 w 48"/>
                  <a:gd name="T15" fmla="*/ 12 h 17"/>
                  <a:gd name="T16" fmla="*/ 48 w 48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17">
                    <a:moveTo>
                      <a:pt x="48" y="17"/>
                    </a:moveTo>
                    <a:lnTo>
                      <a:pt x="19" y="17"/>
                    </a:lnTo>
                    <a:lnTo>
                      <a:pt x="0" y="15"/>
                    </a:lnTo>
                    <a:lnTo>
                      <a:pt x="2" y="6"/>
                    </a:lnTo>
                    <a:lnTo>
                      <a:pt x="23" y="0"/>
                    </a:lnTo>
                    <a:lnTo>
                      <a:pt x="39" y="4"/>
                    </a:lnTo>
                    <a:lnTo>
                      <a:pt x="47" y="7"/>
                    </a:lnTo>
                    <a:lnTo>
                      <a:pt x="46" y="12"/>
                    </a:lnTo>
                    <a:lnTo>
                      <a:pt x="48" y="1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1" name="Freeform 161"/>
              <p:cNvSpPr>
                <a:spLocks/>
              </p:cNvSpPr>
              <p:nvPr/>
            </p:nvSpPr>
            <p:spPr bwMode="auto">
              <a:xfrm>
                <a:off x="6980237" y="1558925"/>
                <a:ext cx="80963" cy="17463"/>
              </a:xfrm>
              <a:custGeom>
                <a:avLst/>
                <a:gdLst>
                  <a:gd name="T0" fmla="*/ 51 w 51"/>
                  <a:gd name="T1" fmla="*/ 10 h 11"/>
                  <a:gd name="T2" fmla="*/ 32 w 51"/>
                  <a:gd name="T3" fmla="*/ 11 h 11"/>
                  <a:gd name="T4" fmla="*/ 3 w 51"/>
                  <a:gd name="T5" fmla="*/ 9 h 11"/>
                  <a:gd name="T6" fmla="*/ 0 w 51"/>
                  <a:gd name="T7" fmla="*/ 8 h 11"/>
                  <a:gd name="T8" fmla="*/ 2 w 51"/>
                  <a:gd name="T9" fmla="*/ 2 h 11"/>
                  <a:gd name="T10" fmla="*/ 15 w 51"/>
                  <a:gd name="T11" fmla="*/ 0 h 11"/>
                  <a:gd name="T12" fmla="*/ 43 w 51"/>
                  <a:gd name="T13" fmla="*/ 6 h 11"/>
                  <a:gd name="T14" fmla="*/ 51 w 51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11">
                    <a:moveTo>
                      <a:pt x="51" y="10"/>
                    </a:moveTo>
                    <a:lnTo>
                      <a:pt x="32" y="11"/>
                    </a:lnTo>
                    <a:lnTo>
                      <a:pt x="3" y="9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15" y="0"/>
                    </a:lnTo>
                    <a:lnTo>
                      <a:pt x="43" y="6"/>
                    </a:lnTo>
                    <a:lnTo>
                      <a:pt x="51" y="1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2" name="Freeform 162"/>
              <p:cNvSpPr>
                <a:spLocks/>
              </p:cNvSpPr>
              <p:nvPr/>
            </p:nvSpPr>
            <p:spPr bwMode="auto">
              <a:xfrm>
                <a:off x="7024687" y="1517650"/>
                <a:ext cx="101600" cy="20638"/>
              </a:xfrm>
              <a:custGeom>
                <a:avLst/>
                <a:gdLst>
                  <a:gd name="T0" fmla="*/ 64 w 64"/>
                  <a:gd name="T1" fmla="*/ 7 h 13"/>
                  <a:gd name="T2" fmla="*/ 60 w 64"/>
                  <a:gd name="T3" fmla="*/ 13 h 13"/>
                  <a:gd name="T4" fmla="*/ 38 w 64"/>
                  <a:gd name="T5" fmla="*/ 11 h 13"/>
                  <a:gd name="T6" fmla="*/ 5 w 64"/>
                  <a:gd name="T7" fmla="*/ 5 h 13"/>
                  <a:gd name="T8" fmla="*/ 0 w 64"/>
                  <a:gd name="T9" fmla="*/ 0 h 13"/>
                  <a:gd name="T10" fmla="*/ 27 w 64"/>
                  <a:gd name="T11" fmla="*/ 2 h 13"/>
                  <a:gd name="T12" fmla="*/ 64 w 64"/>
                  <a:gd name="T1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13">
                    <a:moveTo>
                      <a:pt x="64" y="7"/>
                    </a:moveTo>
                    <a:lnTo>
                      <a:pt x="60" y="13"/>
                    </a:lnTo>
                    <a:lnTo>
                      <a:pt x="38" y="11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27" y="2"/>
                    </a:lnTo>
                    <a:lnTo>
                      <a:pt x="64" y="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3" name="Freeform 163"/>
              <p:cNvSpPr>
                <a:spLocks/>
              </p:cNvSpPr>
              <p:nvPr/>
            </p:nvSpPr>
            <p:spPr bwMode="auto">
              <a:xfrm>
                <a:off x="6835775" y="1501775"/>
                <a:ext cx="176213" cy="38100"/>
              </a:xfrm>
              <a:custGeom>
                <a:avLst/>
                <a:gdLst>
                  <a:gd name="T0" fmla="*/ 102 w 111"/>
                  <a:gd name="T1" fmla="*/ 9 h 24"/>
                  <a:gd name="T2" fmla="*/ 111 w 111"/>
                  <a:gd name="T3" fmla="*/ 21 h 24"/>
                  <a:gd name="T4" fmla="*/ 64 w 111"/>
                  <a:gd name="T5" fmla="*/ 20 h 24"/>
                  <a:gd name="T6" fmla="*/ 50 w 111"/>
                  <a:gd name="T7" fmla="*/ 24 h 24"/>
                  <a:gd name="T8" fmla="*/ 10 w 111"/>
                  <a:gd name="T9" fmla="*/ 14 h 24"/>
                  <a:gd name="T10" fmla="*/ 0 w 111"/>
                  <a:gd name="T11" fmla="*/ 3 h 24"/>
                  <a:gd name="T12" fmla="*/ 12 w 111"/>
                  <a:gd name="T13" fmla="*/ 0 h 24"/>
                  <a:gd name="T14" fmla="*/ 45 w 111"/>
                  <a:gd name="T15" fmla="*/ 1 h 24"/>
                  <a:gd name="T16" fmla="*/ 102 w 111"/>
                  <a:gd name="T17" fmla="*/ 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1" h="24">
                    <a:moveTo>
                      <a:pt x="102" y="9"/>
                    </a:moveTo>
                    <a:lnTo>
                      <a:pt x="111" y="21"/>
                    </a:lnTo>
                    <a:lnTo>
                      <a:pt x="64" y="20"/>
                    </a:lnTo>
                    <a:lnTo>
                      <a:pt x="50" y="24"/>
                    </a:lnTo>
                    <a:lnTo>
                      <a:pt x="10" y="14"/>
                    </a:lnTo>
                    <a:lnTo>
                      <a:pt x="0" y="3"/>
                    </a:lnTo>
                    <a:lnTo>
                      <a:pt x="12" y="0"/>
                    </a:lnTo>
                    <a:lnTo>
                      <a:pt x="45" y="1"/>
                    </a:lnTo>
                    <a:lnTo>
                      <a:pt x="102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4" name="Freeform 164"/>
              <p:cNvSpPr>
                <a:spLocks/>
              </p:cNvSpPr>
              <p:nvPr/>
            </p:nvSpPr>
            <p:spPr bwMode="auto">
              <a:xfrm>
                <a:off x="5230812" y="1482725"/>
                <a:ext cx="268288" cy="160338"/>
              </a:xfrm>
              <a:custGeom>
                <a:avLst/>
                <a:gdLst>
                  <a:gd name="T0" fmla="*/ 90 w 169"/>
                  <a:gd name="T1" fmla="*/ 100 h 101"/>
                  <a:gd name="T2" fmla="*/ 83 w 169"/>
                  <a:gd name="T3" fmla="*/ 101 h 101"/>
                  <a:gd name="T4" fmla="*/ 39 w 169"/>
                  <a:gd name="T5" fmla="*/ 99 h 101"/>
                  <a:gd name="T6" fmla="*/ 32 w 169"/>
                  <a:gd name="T7" fmla="*/ 92 h 101"/>
                  <a:gd name="T8" fmla="*/ 6 w 169"/>
                  <a:gd name="T9" fmla="*/ 87 h 101"/>
                  <a:gd name="T10" fmla="*/ 0 w 169"/>
                  <a:gd name="T11" fmla="*/ 78 h 101"/>
                  <a:gd name="T12" fmla="*/ 11 w 169"/>
                  <a:gd name="T13" fmla="*/ 75 h 101"/>
                  <a:gd name="T14" fmla="*/ 5 w 169"/>
                  <a:gd name="T15" fmla="*/ 66 h 101"/>
                  <a:gd name="T16" fmla="*/ 23 w 169"/>
                  <a:gd name="T17" fmla="*/ 52 h 101"/>
                  <a:gd name="T18" fmla="*/ 10 w 169"/>
                  <a:gd name="T19" fmla="*/ 50 h 101"/>
                  <a:gd name="T20" fmla="*/ 32 w 169"/>
                  <a:gd name="T21" fmla="*/ 36 h 101"/>
                  <a:gd name="T22" fmla="*/ 24 w 169"/>
                  <a:gd name="T23" fmla="*/ 29 h 101"/>
                  <a:gd name="T24" fmla="*/ 46 w 169"/>
                  <a:gd name="T25" fmla="*/ 20 h 101"/>
                  <a:gd name="T26" fmla="*/ 80 w 169"/>
                  <a:gd name="T27" fmla="*/ 10 h 101"/>
                  <a:gd name="T28" fmla="*/ 118 w 169"/>
                  <a:gd name="T29" fmla="*/ 8 h 101"/>
                  <a:gd name="T30" fmla="*/ 134 w 169"/>
                  <a:gd name="T31" fmla="*/ 2 h 101"/>
                  <a:gd name="T32" fmla="*/ 156 w 169"/>
                  <a:gd name="T33" fmla="*/ 0 h 101"/>
                  <a:gd name="T34" fmla="*/ 169 w 169"/>
                  <a:gd name="T35" fmla="*/ 6 h 101"/>
                  <a:gd name="T36" fmla="*/ 165 w 169"/>
                  <a:gd name="T37" fmla="*/ 11 h 101"/>
                  <a:gd name="T38" fmla="*/ 127 w 169"/>
                  <a:gd name="T39" fmla="*/ 18 h 101"/>
                  <a:gd name="T40" fmla="*/ 95 w 169"/>
                  <a:gd name="T41" fmla="*/ 26 h 101"/>
                  <a:gd name="T42" fmla="*/ 67 w 169"/>
                  <a:gd name="T43" fmla="*/ 41 h 101"/>
                  <a:gd name="T44" fmla="*/ 58 w 169"/>
                  <a:gd name="T45" fmla="*/ 56 h 101"/>
                  <a:gd name="T46" fmla="*/ 47 w 169"/>
                  <a:gd name="T47" fmla="*/ 72 h 101"/>
                  <a:gd name="T48" fmla="*/ 57 w 169"/>
                  <a:gd name="T49" fmla="*/ 86 h 101"/>
                  <a:gd name="T50" fmla="*/ 90 w 169"/>
                  <a:gd name="T51" fmla="*/ 10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9" h="101">
                    <a:moveTo>
                      <a:pt x="90" y="100"/>
                    </a:moveTo>
                    <a:lnTo>
                      <a:pt x="83" y="101"/>
                    </a:lnTo>
                    <a:lnTo>
                      <a:pt x="39" y="99"/>
                    </a:lnTo>
                    <a:lnTo>
                      <a:pt x="32" y="92"/>
                    </a:lnTo>
                    <a:lnTo>
                      <a:pt x="6" y="87"/>
                    </a:lnTo>
                    <a:lnTo>
                      <a:pt x="0" y="78"/>
                    </a:lnTo>
                    <a:lnTo>
                      <a:pt x="11" y="75"/>
                    </a:lnTo>
                    <a:lnTo>
                      <a:pt x="5" y="66"/>
                    </a:lnTo>
                    <a:lnTo>
                      <a:pt x="23" y="52"/>
                    </a:lnTo>
                    <a:lnTo>
                      <a:pt x="10" y="50"/>
                    </a:lnTo>
                    <a:lnTo>
                      <a:pt x="32" y="36"/>
                    </a:lnTo>
                    <a:lnTo>
                      <a:pt x="24" y="29"/>
                    </a:lnTo>
                    <a:lnTo>
                      <a:pt x="46" y="20"/>
                    </a:lnTo>
                    <a:lnTo>
                      <a:pt x="80" y="10"/>
                    </a:lnTo>
                    <a:lnTo>
                      <a:pt x="118" y="8"/>
                    </a:lnTo>
                    <a:lnTo>
                      <a:pt x="134" y="2"/>
                    </a:lnTo>
                    <a:lnTo>
                      <a:pt x="156" y="0"/>
                    </a:lnTo>
                    <a:lnTo>
                      <a:pt x="169" y="6"/>
                    </a:lnTo>
                    <a:lnTo>
                      <a:pt x="165" y="11"/>
                    </a:lnTo>
                    <a:lnTo>
                      <a:pt x="127" y="18"/>
                    </a:lnTo>
                    <a:lnTo>
                      <a:pt x="95" y="26"/>
                    </a:lnTo>
                    <a:lnTo>
                      <a:pt x="67" y="41"/>
                    </a:lnTo>
                    <a:lnTo>
                      <a:pt x="58" y="56"/>
                    </a:lnTo>
                    <a:lnTo>
                      <a:pt x="47" y="72"/>
                    </a:lnTo>
                    <a:lnTo>
                      <a:pt x="57" y="86"/>
                    </a:lnTo>
                    <a:lnTo>
                      <a:pt x="90" y="10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5" name="Freeform 165"/>
              <p:cNvSpPr>
                <a:spLocks/>
              </p:cNvSpPr>
              <p:nvPr/>
            </p:nvSpPr>
            <p:spPr bwMode="auto">
              <a:xfrm>
                <a:off x="6043612" y="1427162"/>
                <a:ext cx="98425" cy="33338"/>
              </a:xfrm>
              <a:custGeom>
                <a:avLst/>
                <a:gdLst>
                  <a:gd name="T0" fmla="*/ 62 w 62"/>
                  <a:gd name="T1" fmla="*/ 15 h 21"/>
                  <a:gd name="T2" fmla="*/ 2 w 62"/>
                  <a:gd name="T3" fmla="*/ 21 h 21"/>
                  <a:gd name="T4" fmla="*/ 0 w 62"/>
                  <a:gd name="T5" fmla="*/ 2 h 21"/>
                  <a:gd name="T6" fmla="*/ 8 w 62"/>
                  <a:gd name="T7" fmla="*/ 0 h 21"/>
                  <a:gd name="T8" fmla="*/ 18 w 62"/>
                  <a:gd name="T9" fmla="*/ 1 h 21"/>
                  <a:gd name="T10" fmla="*/ 58 w 62"/>
                  <a:gd name="T11" fmla="*/ 9 h 21"/>
                  <a:gd name="T12" fmla="*/ 62 w 62"/>
                  <a:gd name="T13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" h="21">
                    <a:moveTo>
                      <a:pt x="62" y="15"/>
                    </a:moveTo>
                    <a:lnTo>
                      <a:pt x="2" y="21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8" y="1"/>
                    </a:lnTo>
                    <a:lnTo>
                      <a:pt x="58" y="9"/>
                    </a:lnTo>
                    <a:lnTo>
                      <a:pt x="62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6" name="Freeform 166"/>
              <p:cNvSpPr>
                <a:spLocks/>
              </p:cNvSpPr>
              <p:nvPr/>
            </p:nvSpPr>
            <p:spPr bwMode="auto">
              <a:xfrm>
                <a:off x="4989512" y="1393825"/>
                <a:ext cx="119063" cy="19050"/>
              </a:xfrm>
              <a:custGeom>
                <a:avLst/>
                <a:gdLst>
                  <a:gd name="T0" fmla="*/ 72 w 75"/>
                  <a:gd name="T1" fmla="*/ 5 h 12"/>
                  <a:gd name="T2" fmla="*/ 58 w 75"/>
                  <a:gd name="T3" fmla="*/ 7 h 12"/>
                  <a:gd name="T4" fmla="*/ 48 w 75"/>
                  <a:gd name="T5" fmla="*/ 8 h 12"/>
                  <a:gd name="T6" fmla="*/ 48 w 75"/>
                  <a:gd name="T7" fmla="*/ 10 h 12"/>
                  <a:gd name="T8" fmla="*/ 36 w 75"/>
                  <a:gd name="T9" fmla="*/ 12 h 12"/>
                  <a:gd name="T10" fmla="*/ 22 w 75"/>
                  <a:gd name="T11" fmla="*/ 9 h 12"/>
                  <a:gd name="T12" fmla="*/ 26 w 75"/>
                  <a:gd name="T13" fmla="*/ 5 h 12"/>
                  <a:gd name="T14" fmla="*/ 0 w 75"/>
                  <a:gd name="T15" fmla="*/ 5 h 12"/>
                  <a:gd name="T16" fmla="*/ 21 w 75"/>
                  <a:gd name="T17" fmla="*/ 2 h 12"/>
                  <a:gd name="T18" fmla="*/ 38 w 75"/>
                  <a:gd name="T19" fmla="*/ 2 h 12"/>
                  <a:gd name="T20" fmla="*/ 43 w 75"/>
                  <a:gd name="T21" fmla="*/ 5 h 12"/>
                  <a:gd name="T22" fmla="*/ 47 w 75"/>
                  <a:gd name="T23" fmla="*/ 2 h 12"/>
                  <a:gd name="T24" fmla="*/ 56 w 75"/>
                  <a:gd name="T25" fmla="*/ 0 h 12"/>
                  <a:gd name="T26" fmla="*/ 75 w 75"/>
                  <a:gd name="T27" fmla="*/ 3 h 12"/>
                  <a:gd name="T28" fmla="*/ 72 w 75"/>
                  <a:gd name="T2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5" h="12">
                    <a:moveTo>
                      <a:pt x="72" y="5"/>
                    </a:moveTo>
                    <a:lnTo>
                      <a:pt x="58" y="7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36" y="12"/>
                    </a:lnTo>
                    <a:lnTo>
                      <a:pt x="22" y="9"/>
                    </a:lnTo>
                    <a:lnTo>
                      <a:pt x="26" y="5"/>
                    </a:lnTo>
                    <a:lnTo>
                      <a:pt x="0" y="5"/>
                    </a:lnTo>
                    <a:lnTo>
                      <a:pt x="21" y="2"/>
                    </a:lnTo>
                    <a:lnTo>
                      <a:pt x="38" y="2"/>
                    </a:lnTo>
                    <a:lnTo>
                      <a:pt x="43" y="5"/>
                    </a:lnTo>
                    <a:lnTo>
                      <a:pt x="47" y="2"/>
                    </a:lnTo>
                    <a:lnTo>
                      <a:pt x="56" y="0"/>
                    </a:lnTo>
                    <a:lnTo>
                      <a:pt x="75" y="3"/>
                    </a:lnTo>
                    <a:lnTo>
                      <a:pt x="72" y="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7" name="Freeform 167"/>
              <p:cNvSpPr>
                <a:spLocks/>
              </p:cNvSpPr>
              <p:nvPr/>
            </p:nvSpPr>
            <p:spPr bwMode="auto">
              <a:xfrm>
                <a:off x="5830887" y="1387475"/>
                <a:ext cx="198438" cy="53975"/>
              </a:xfrm>
              <a:custGeom>
                <a:avLst/>
                <a:gdLst>
                  <a:gd name="T0" fmla="*/ 125 w 125"/>
                  <a:gd name="T1" fmla="*/ 32 h 34"/>
                  <a:gd name="T2" fmla="*/ 102 w 125"/>
                  <a:gd name="T3" fmla="*/ 34 h 34"/>
                  <a:gd name="T4" fmla="*/ 65 w 125"/>
                  <a:gd name="T5" fmla="*/ 30 h 34"/>
                  <a:gd name="T6" fmla="*/ 39 w 125"/>
                  <a:gd name="T7" fmla="*/ 24 h 34"/>
                  <a:gd name="T8" fmla="*/ 19 w 125"/>
                  <a:gd name="T9" fmla="*/ 15 h 34"/>
                  <a:gd name="T10" fmla="*/ 0 w 125"/>
                  <a:gd name="T11" fmla="*/ 12 h 34"/>
                  <a:gd name="T12" fmla="*/ 19 w 125"/>
                  <a:gd name="T13" fmla="*/ 3 h 34"/>
                  <a:gd name="T14" fmla="*/ 39 w 125"/>
                  <a:gd name="T15" fmla="*/ 0 h 34"/>
                  <a:gd name="T16" fmla="*/ 70 w 125"/>
                  <a:gd name="T17" fmla="*/ 7 h 34"/>
                  <a:gd name="T18" fmla="*/ 113 w 125"/>
                  <a:gd name="T19" fmla="*/ 19 h 34"/>
                  <a:gd name="T20" fmla="*/ 125 w 125"/>
                  <a:gd name="T21" fmla="*/ 3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34">
                    <a:moveTo>
                      <a:pt x="125" y="32"/>
                    </a:moveTo>
                    <a:lnTo>
                      <a:pt x="102" y="34"/>
                    </a:lnTo>
                    <a:lnTo>
                      <a:pt x="65" y="30"/>
                    </a:lnTo>
                    <a:lnTo>
                      <a:pt x="39" y="24"/>
                    </a:lnTo>
                    <a:lnTo>
                      <a:pt x="19" y="15"/>
                    </a:lnTo>
                    <a:lnTo>
                      <a:pt x="0" y="12"/>
                    </a:lnTo>
                    <a:lnTo>
                      <a:pt x="19" y="3"/>
                    </a:lnTo>
                    <a:lnTo>
                      <a:pt x="39" y="0"/>
                    </a:lnTo>
                    <a:lnTo>
                      <a:pt x="70" y="7"/>
                    </a:lnTo>
                    <a:lnTo>
                      <a:pt x="113" y="19"/>
                    </a:lnTo>
                    <a:lnTo>
                      <a:pt x="125" y="3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8" name="Freeform 168"/>
              <p:cNvSpPr>
                <a:spLocks/>
              </p:cNvSpPr>
              <p:nvPr/>
            </p:nvSpPr>
            <p:spPr bwMode="auto">
              <a:xfrm>
                <a:off x="5029200" y="3946525"/>
                <a:ext cx="52388" cy="58738"/>
              </a:xfrm>
              <a:custGeom>
                <a:avLst/>
                <a:gdLst>
                  <a:gd name="T0" fmla="*/ 25 w 33"/>
                  <a:gd name="T1" fmla="*/ 0 h 37"/>
                  <a:gd name="T2" fmla="*/ 33 w 33"/>
                  <a:gd name="T3" fmla="*/ 12 h 37"/>
                  <a:gd name="T4" fmla="*/ 31 w 33"/>
                  <a:gd name="T5" fmla="*/ 24 h 37"/>
                  <a:gd name="T6" fmla="*/ 26 w 33"/>
                  <a:gd name="T7" fmla="*/ 27 h 37"/>
                  <a:gd name="T8" fmla="*/ 16 w 33"/>
                  <a:gd name="T9" fmla="*/ 25 h 37"/>
                  <a:gd name="T10" fmla="*/ 11 w 33"/>
                  <a:gd name="T11" fmla="*/ 37 h 37"/>
                  <a:gd name="T12" fmla="*/ 0 w 33"/>
                  <a:gd name="T13" fmla="*/ 35 h 37"/>
                  <a:gd name="T14" fmla="*/ 1 w 33"/>
                  <a:gd name="T15" fmla="*/ 24 h 37"/>
                  <a:gd name="T16" fmla="*/ 4 w 33"/>
                  <a:gd name="T17" fmla="*/ 22 h 37"/>
                  <a:gd name="T18" fmla="*/ 4 w 33"/>
                  <a:gd name="T19" fmla="*/ 10 h 37"/>
                  <a:gd name="T20" fmla="*/ 10 w 33"/>
                  <a:gd name="T21" fmla="*/ 4 h 37"/>
                  <a:gd name="T22" fmla="*/ 14 w 33"/>
                  <a:gd name="T23" fmla="*/ 6 h 37"/>
                  <a:gd name="T24" fmla="*/ 25 w 33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37">
                    <a:moveTo>
                      <a:pt x="25" y="0"/>
                    </a:moveTo>
                    <a:lnTo>
                      <a:pt x="33" y="12"/>
                    </a:lnTo>
                    <a:lnTo>
                      <a:pt x="31" y="24"/>
                    </a:lnTo>
                    <a:lnTo>
                      <a:pt x="26" y="27"/>
                    </a:lnTo>
                    <a:lnTo>
                      <a:pt x="16" y="25"/>
                    </a:lnTo>
                    <a:lnTo>
                      <a:pt x="11" y="37"/>
                    </a:lnTo>
                    <a:lnTo>
                      <a:pt x="0" y="35"/>
                    </a:lnTo>
                    <a:lnTo>
                      <a:pt x="1" y="24"/>
                    </a:lnTo>
                    <a:lnTo>
                      <a:pt x="4" y="22"/>
                    </a:lnTo>
                    <a:lnTo>
                      <a:pt x="4" y="10"/>
                    </a:lnTo>
                    <a:lnTo>
                      <a:pt x="10" y="4"/>
                    </a:lnTo>
                    <a:lnTo>
                      <a:pt x="14" y="6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79" name="Freeform 169"/>
              <p:cNvSpPr>
                <a:spLocks/>
              </p:cNvSpPr>
              <p:nvPr/>
            </p:nvSpPr>
            <p:spPr bwMode="auto">
              <a:xfrm>
                <a:off x="3694112" y="2997200"/>
                <a:ext cx="244475" cy="219075"/>
              </a:xfrm>
              <a:custGeom>
                <a:avLst/>
                <a:gdLst>
                  <a:gd name="T0" fmla="*/ 151 w 154"/>
                  <a:gd name="T1" fmla="*/ 11 h 138"/>
                  <a:gd name="T2" fmla="*/ 151 w 154"/>
                  <a:gd name="T3" fmla="*/ 0 h 138"/>
                  <a:gd name="T4" fmla="*/ 154 w 154"/>
                  <a:gd name="T5" fmla="*/ 0 h 138"/>
                  <a:gd name="T6" fmla="*/ 154 w 154"/>
                  <a:gd name="T7" fmla="*/ 1 h 138"/>
                  <a:gd name="T8" fmla="*/ 153 w 154"/>
                  <a:gd name="T9" fmla="*/ 5 h 138"/>
                  <a:gd name="T10" fmla="*/ 153 w 154"/>
                  <a:gd name="T11" fmla="*/ 37 h 138"/>
                  <a:gd name="T12" fmla="*/ 94 w 154"/>
                  <a:gd name="T13" fmla="*/ 36 h 138"/>
                  <a:gd name="T14" fmla="*/ 93 w 154"/>
                  <a:gd name="T15" fmla="*/ 89 h 138"/>
                  <a:gd name="T16" fmla="*/ 77 w 154"/>
                  <a:gd name="T17" fmla="*/ 91 h 138"/>
                  <a:gd name="T18" fmla="*/ 72 w 154"/>
                  <a:gd name="T19" fmla="*/ 101 h 138"/>
                  <a:gd name="T20" fmla="*/ 75 w 154"/>
                  <a:gd name="T21" fmla="*/ 131 h 138"/>
                  <a:gd name="T22" fmla="*/ 4 w 154"/>
                  <a:gd name="T23" fmla="*/ 131 h 138"/>
                  <a:gd name="T24" fmla="*/ 0 w 154"/>
                  <a:gd name="T25" fmla="*/ 138 h 138"/>
                  <a:gd name="T26" fmla="*/ 1 w 154"/>
                  <a:gd name="T27" fmla="*/ 129 h 138"/>
                  <a:gd name="T28" fmla="*/ 1 w 154"/>
                  <a:gd name="T29" fmla="*/ 129 h 138"/>
                  <a:gd name="T30" fmla="*/ 42 w 154"/>
                  <a:gd name="T31" fmla="*/ 128 h 138"/>
                  <a:gd name="T32" fmla="*/ 44 w 154"/>
                  <a:gd name="T33" fmla="*/ 120 h 138"/>
                  <a:gd name="T34" fmla="*/ 52 w 154"/>
                  <a:gd name="T35" fmla="*/ 111 h 138"/>
                  <a:gd name="T36" fmla="*/ 59 w 154"/>
                  <a:gd name="T37" fmla="*/ 82 h 138"/>
                  <a:gd name="T38" fmla="*/ 84 w 154"/>
                  <a:gd name="T39" fmla="*/ 60 h 138"/>
                  <a:gd name="T40" fmla="*/ 93 w 154"/>
                  <a:gd name="T41" fmla="*/ 34 h 138"/>
                  <a:gd name="T42" fmla="*/ 99 w 154"/>
                  <a:gd name="T43" fmla="*/ 32 h 138"/>
                  <a:gd name="T44" fmla="*/ 105 w 154"/>
                  <a:gd name="T45" fmla="*/ 16 h 138"/>
                  <a:gd name="T46" fmla="*/ 120 w 154"/>
                  <a:gd name="T47" fmla="*/ 14 h 138"/>
                  <a:gd name="T48" fmla="*/ 126 w 154"/>
                  <a:gd name="T49" fmla="*/ 16 h 138"/>
                  <a:gd name="T50" fmla="*/ 134 w 154"/>
                  <a:gd name="T51" fmla="*/ 16 h 138"/>
                  <a:gd name="T52" fmla="*/ 140 w 154"/>
                  <a:gd name="T53" fmla="*/ 12 h 138"/>
                  <a:gd name="T54" fmla="*/ 151 w 154"/>
                  <a:gd name="T55" fmla="*/ 11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4" h="138">
                    <a:moveTo>
                      <a:pt x="151" y="11"/>
                    </a:moveTo>
                    <a:lnTo>
                      <a:pt x="151" y="0"/>
                    </a:lnTo>
                    <a:lnTo>
                      <a:pt x="154" y="0"/>
                    </a:lnTo>
                    <a:lnTo>
                      <a:pt x="154" y="1"/>
                    </a:lnTo>
                    <a:lnTo>
                      <a:pt x="153" y="5"/>
                    </a:lnTo>
                    <a:lnTo>
                      <a:pt x="153" y="37"/>
                    </a:lnTo>
                    <a:lnTo>
                      <a:pt x="94" y="36"/>
                    </a:lnTo>
                    <a:lnTo>
                      <a:pt x="93" y="89"/>
                    </a:lnTo>
                    <a:lnTo>
                      <a:pt x="77" y="91"/>
                    </a:lnTo>
                    <a:lnTo>
                      <a:pt x="72" y="101"/>
                    </a:lnTo>
                    <a:lnTo>
                      <a:pt x="75" y="131"/>
                    </a:lnTo>
                    <a:lnTo>
                      <a:pt x="4" y="131"/>
                    </a:lnTo>
                    <a:lnTo>
                      <a:pt x="0" y="138"/>
                    </a:lnTo>
                    <a:lnTo>
                      <a:pt x="1" y="129"/>
                    </a:lnTo>
                    <a:lnTo>
                      <a:pt x="1" y="129"/>
                    </a:lnTo>
                    <a:lnTo>
                      <a:pt x="42" y="128"/>
                    </a:lnTo>
                    <a:lnTo>
                      <a:pt x="44" y="120"/>
                    </a:lnTo>
                    <a:lnTo>
                      <a:pt x="52" y="111"/>
                    </a:lnTo>
                    <a:lnTo>
                      <a:pt x="59" y="82"/>
                    </a:lnTo>
                    <a:lnTo>
                      <a:pt x="84" y="60"/>
                    </a:lnTo>
                    <a:lnTo>
                      <a:pt x="93" y="34"/>
                    </a:lnTo>
                    <a:lnTo>
                      <a:pt x="99" y="32"/>
                    </a:lnTo>
                    <a:lnTo>
                      <a:pt x="105" y="16"/>
                    </a:lnTo>
                    <a:lnTo>
                      <a:pt x="120" y="14"/>
                    </a:lnTo>
                    <a:lnTo>
                      <a:pt x="126" y="16"/>
                    </a:lnTo>
                    <a:lnTo>
                      <a:pt x="134" y="16"/>
                    </a:lnTo>
                    <a:lnTo>
                      <a:pt x="140" y="12"/>
                    </a:lnTo>
                    <a:lnTo>
                      <a:pt x="151" y="1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0" name="Freeform 170"/>
              <p:cNvSpPr>
                <a:spLocks/>
              </p:cNvSpPr>
              <p:nvPr/>
            </p:nvSpPr>
            <p:spPr bwMode="auto">
              <a:xfrm>
                <a:off x="5156200" y="2849562"/>
                <a:ext cx="614363" cy="520700"/>
              </a:xfrm>
              <a:custGeom>
                <a:avLst/>
                <a:gdLst>
                  <a:gd name="T0" fmla="*/ 161 w 387"/>
                  <a:gd name="T1" fmla="*/ 319 h 328"/>
                  <a:gd name="T2" fmla="*/ 153 w 387"/>
                  <a:gd name="T3" fmla="*/ 304 h 328"/>
                  <a:gd name="T4" fmla="*/ 132 w 387"/>
                  <a:gd name="T5" fmla="*/ 280 h 328"/>
                  <a:gd name="T6" fmla="*/ 113 w 387"/>
                  <a:gd name="T7" fmla="*/ 248 h 328"/>
                  <a:gd name="T8" fmla="*/ 91 w 387"/>
                  <a:gd name="T9" fmla="*/ 225 h 328"/>
                  <a:gd name="T10" fmla="*/ 88 w 387"/>
                  <a:gd name="T11" fmla="*/ 198 h 328"/>
                  <a:gd name="T12" fmla="*/ 67 w 387"/>
                  <a:gd name="T13" fmla="*/ 167 h 328"/>
                  <a:gd name="T14" fmla="*/ 50 w 387"/>
                  <a:gd name="T15" fmla="*/ 151 h 328"/>
                  <a:gd name="T16" fmla="*/ 45 w 387"/>
                  <a:gd name="T17" fmla="*/ 135 h 328"/>
                  <a:gd name="T18" fmla="*/ 31 w 387"/>
                  <a:gd name="T19" fmla="*/ 115 h 328"/>
                  <a:gd name="T20" fmla="*/ 9 w 387"/>
                  <a:gd name="T21" fmla="*/ 84 h 328"/>
                  <a:gd name="T22" fmla="*/ 2 w 387"/>
                  <a:gd name="T23" fmla="*/ 73 h 328"/>
                  <a:gd name="T24" fmla="*/ 3 w 387"/>
                  <a:gd name="T25" fmla="*/ 58 h 328"/>
                  <a:gd name="T26" fmla="*/ 30 w 387"/>
                  <a:gd name="T27" fmla="*/ 55 h 328"/>
                  <a:gd name="T28" fmla="*/ 47 w 387"/>
                  <a:gd name="T29" fmla="*/ 44 h 328"/>
                  <a:gd name="T30" fmla="*/ 54 w 387"/>
                  <a:gd name="T31" fmla="*/ 34 h 328"/>
                  <a:gd name="T32" fmla="*/ 69 w 387"/>
                  <a:gd name="T33" fmla="*/ 3 h 328"/>
                  <a:gd name="T34" fmla="*/ 93 w 387"/>
                  <a:gd name="T35" fmla="*/ 5 h 328"/>
                  <a:gd name="T36" fmla="*/ 176 w 387"/>
                  <a:gd name="T37" fmla="*/ 61 h 328"/>
                  <a:gd name="T38" fmla="*/ 225 w 387"/>
                  <a:gd name="T39" fmla="*/ 65 h 328"/>
                  <a:gd name="T40" fmla="*/ 243 w 387"/>
                  <a:gd name="T41" fmla="*/ 74 h 328"/>
                  <a:gd name="T42" fmla="*/ 261 w 387"/>
                  <a:gd name="T43" fmla="*/ 97 h 328"/>
                  <a:gd name="T44" fmla="*/ 278 w 387"/>
                  <a:gd name="T45" fmla="*/ 113 h 328"/>
                  <a:gd name="T46" fmla="*/ 279 w 387"/>
                  <a:gd name="T47" fmla="*/ 128 h 328"/>
                  <a:gd name="T48" fmla="*/ 288 w 387"/>
                  <a:gd name="T49" fmla="*/ 141 h 328"/>
                  <a:gd name="T50" fmla="*/ 294 w 387"/>
                  <a:gd name="T51" fmla="*/ 153 h 328"/>
                  <a:gd name="T52" fmla="*/ 305 w 387"/>
                  <a:gd name="T53" fmla="*/ 156 h 328"/>
                  <a:gd name="T54" fmla="*/ 310 w 387"/>
                  <a:gd name="T55" fmla="*/ 169 h 328"/>
                  <a:gd name="T56" fmla="*/ 374 w 387"/>
                  <a:gd name="T57" fmla="*/ 200 h 328"/>
                  <a:gd name="T58" fmla="*/ 387 w 387"/>
                  <a:gd name="T59" fmla="*/ 210 h 328"/>
                  <a:gd name="T60" fmla="*/ 327 w 387"/>
                  <a:gd name="T61" fmla="*/ 273 h 328"/>
                  <a:gd name="T62" fmla="*/ 259 w 387"/>
                  <a:gd name="T63" fmla="*/ 290 h 328"/>
                  <a:gd name="T64" fmla="*/ 239 w 387"/>
                  <a:gd name="T65" fmla="*/ 315 h 328"/>
                  <a:gd name="T66" fmla="*/ 227 w 387"/>
                  <a:gd name="T67" fmla="*/ 309 h 328"/>
                  <a:gd name="T68" fmla="*/ 206 w 387"/>
                  <a:gd name="T69" fmla="*/ 305 h 328"/>
                  <a:gd name="T70" fmla="*/ 181 w 387"/>
                  <a:gd name="T71" fmla="*/ 308 h 328"/>
                  <a:gd name="T72" fmla="*/ 169 w 387"/>
                  <a:gd name="T73" fmla="*/ 312 h 328"/>
                  <a:gd name="T74" fmla="*/ 163 w 387"/>
                  <a:gd name="T75" fmla="*/ 32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7" h="328">
                    <a:moveTo>
                      <a:pt x="163" y="328"/>
                    </a:moveTo>
                    <a:lnTo>
                      <a:pt x="161" y="319"/>
                    </a:lnTo>
                    <a:lnTo>
                      <a:pt x="155" y="313"/>
                    </a:lnTo>
                    <a:lnTo>
                      <a:pt x="153" y="304"/>
                    </a:lnTo>
                    <a:lnTo>
                      <a:pt x="143" y="297"/>
                    </a:lnTo>
                    <a:lnTo>
                      <a:pt x="132" y="280"/>
                    </a:lnTo>
                    <a:lnTo>
                      <a:pt x="126" y="263"/>
                    </a:lnTo>
                    <a:lnTo>
                      <a:pt x="113" y="248"/>
                    </a:lnTo>
                    <a:lnTo>
                      <a:pt x="104" y="245"/>
                    </a:lnTo>
                    <a:lnTo>
                      <a:pt x="91" y="225"/>
                    </a:lnTo>
                    <a:lnTo>
                      <a:pt x="88" y="211"/>
                    </a:lnTo>
                    <a:lnTo>
                      <a:pt x="88" y="198"/>
                    </a:lnTo>
                    <a:lnTo>
                      <a:pt x="76" y="175"/>
                    </a:lnTo>
                    <a:lnTo>
                      <a:pt x="67" y="167"/>
                    </a:lnTo>
                    <a:lnTo>
                      <a:pt x="57" y="163"/>
                    </a:lnTo>
                    <a:lnTo>
                      <a:pt x="50" y="151"/>
                    </a:lnTo>
                    <a:lnTo>
                      <a:pt x="51" y="146"/>
                    </a:lnTo>
                    <a:lnTo>
                      <a:pt x="45" y="135"/>
                    </a:lnTo>
                    <a:lnTo>
                      <a:pt x="39" y="131"/>
                    </a:lnTo>
                    <a:lnTo>
                      <a:pt x="31" y="115"/>
                    </a:lnTo>
                    <a:lnTo>
                      <a:pt x="19" y="99"/>
                    </a:lnTo>
                    <a:lnTo>
                      <a:pt x="9" y="84"/>
                    </a:lnTo>
                    <a:lnTo>
                      <a:pt x="0" y="85"/>
                    </a:lnTo>
                    <a:lnTo>
                      <a:pt x="2" y="73"/>
                    </a:lnTo>
                    <a:lnTo>
                      <a:pt x="2" y="66"/>
                    </a:lnTo>
                    <a:lnTo>
                      <a:pt x="3" y="58"/>
                    </a:lnTo>
                    <a:lnTo>
                      <a:pt x="23" y="61"/>
                    </a:lnTo>
                    <a:lnTo>
                      <a:pt x="30" y="55"/>
                    </a:lnTo>
                    <a:lnTo>
                      <a:pt x="34" y="47"/>
                    </a:lnTo>
                    <a:lnTo>
                      <a:pt x="47" y="44"/>
                    </a:lnTo>
                    <a:lnTo>
                      <a:pt x="49" y="37"/>
                    </a:lnTo>
                    <a:lnTo>
                      <a:pt x="54" y="34"/>
                    </a:lnTo>
                    <a:lnTo>
                      <a:pt x="35" y="13"/>
                    </a:lnTo>
                    <a:lnTo>
                      <a:pt x="69" y="3"/>
                    </a:lnTo>
                    <a:lnTo>
                      <a:pt x="72" y="0"/>
                    </a:lnTo>
                    <a:lnTo>
                      <a:pt x="93" y="5"/>
                    </a:lnTo>
                    <a:lnTo>
                      <a:pt x="121" y="20"/>
                    </a:lnTo>
                    <a:lnTo>
                      <a:pt x="176" y="61"/>
                    </a:lnTo>
                    <a:lnTo>
                      <a:pt x="209" y="63"/>
                    </a:lnTo>
                    <a:lnTo>
                      <a:pt x="225" y="65"/>
                    </a:lnTo>
                    <a:lnTo>
                      <a:pt x="230" y="75"/>
                    </a:lnTo>
                    <a:lnTo>
                      <a:pt x="243" y="74"/>
                    </a:lnTo>
                    <a:lnTo>
                      <a:pt x="252" y="92"/>
                    </a:lnTo>
                    <a:lnTo>
                      <a:pt x="261" y="97"/>
                    </a:lnTo>
                    <a:lnTo>
                      <a:pt x="265" y="104"/>
                    </a:lnTo>
                    <a:lnTo>
                      <a:pt x="278" y="113"/>
                    </a:lnTo>
                    <a:lnTo>
                      <a:pt x="280" y="121"/>
                    </a:lnTo>
                    <a:lnTo>
                      <a:pt x="279" y="128"/>
                    </a:lnTo>
                    <a:lnTo>
                      <a:pt x="282" y="135"/>
                    </a:lnTo>
                    <a:lnTo>
                      <a:pt x="288" y="141"/>
                    </a:lnTo>
                    <a:lnTo>
                      <a:pt x="291" y="148"/>
                    </a:lnTo>
                    <a:lnTo>
                      <a:pt x="294" y="153"/>
                    </a:lnTo>
                    <a:lnTo>
                      <a:pt x="300" y="157"/>
                    </a:lnTo>
                    <a:lnTo>
                      <a:pt x="305" y="156"/>
                    </a:lnTo>
                    <a:lnTo>
                      <a:pt x="309" y="164"/>
                    </a:lnTo>
                    <a:lnTo>
                      <a:pt x="310" y="169"/>
                    </a:lnTo>
                    <a:lnTo>
                      <a:pt x="319" y="190"/>
                    </a:lnTo>
                    <a:lnTo>
                      <a:pt x="374" y="200"/>
                    </a:lnTo>
                    <a:lnTo>
                      <a:pt x="378" y="196"/>
                    </a:lnTo>
                    <a:lnTo>
                      <a:pt x="387" y="210"/>
                    </a:lnTo>
                    <a:lnTo>
                      <a:pt x="379" y="252"/>
                    </a:lnTo>
                    <a:lnTo>
                      <a:pt x="327" y="273"/>
                    </a:lnTo>
                    <a:lnTo>
                      <a:pt x="275" y="281"/>
                    </a:lnTo>
                    <a:lnTo>
                      <a:pt x="259" y="290"/>
                    </a:lnTo>
                    <a:lnTo>
                      <a:pt x="247" y="312"/>
                    </a:lnTo>
                    <a:lnTo>
                      <a:pt x="239" y="315"/>
                    </a:lnTo>
                    <a:lnTo>
                      <a:pt x="234" y="308"/>
                    </a:lnTo>
                    <a:lnTo>
                      <a:pt x="227" y="309"/>
                    </a:lnTo>
                    <a:lnTo>
                      <a:pt x="210" y="307"/>
                    </a:lnTo>
                    <a:lnTo>
                      <a:pt x="206" y="305"/>
                    </a:lnTo>
                    <a:lnTo>
                      <a:pt x="185" y="306"/>
                    </a:lnTo>
                    <a:lnTo>
                      <a:pt x="181" y="308"/>
                    </a:lnTo>
                    <a:lnTo>
                      <a:pt x="173" y="302"/>
                    </a:lnTo>
                    <a:lnTo>
                      <a:pt x="169" y="312"/>
                    </a:lnTo>
                    <a:lnTo>
                      <a:pt x="171" y="321"/>
                    </a:lnTo>
                    <a:lnTo>
                      <a:pt x="163" y="328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1" name="Freeform 171"/>
              <p:cNvSpPr>
                <a:spLocks/>
              </p:cNvSpPr>
              <p:nvPr/>
            </p:nvSpPr>
            <p:spPr bwMode="auto">
              <a:xfrm>
                <a:off x="4818062" y="3182937"/>
                <a:ext cx="468313" cy="441325"/>
              </a:xfrm>
              <a:custGeom>
                <a:avLst/>
                <a:gdLst>
                  <a:gd name="T0" fmla="*/ 218 w 295"/>
                  <a:gd name="T1" fmla="*/ 260 h 278"/>
                  <a:gd name="T2" fmla="*/ 216 w 295"/>
                  <a:gd name="T3" fmla="*/ 243 h 278"/>
                  <a:gd name="T4" fmla="*/ 204 w 295"/>
                  <a:gd name="T5" fmla="*/ 220 h 278"/>
                  <a:gd name="T6" fmla="*/ 197 w 295"/>
                  <a:gd name="T7" fmla="*/ 203 h 278"/>
                  <a:gd name="T8" fmla="*/ 185 w 295"/>
                  <a:gd name="T9" fmla="*/ 209 h 278"/>
                  <a:gd name="T10" fmla="*/ 192 w 295"/>
                  <a:gd name="T11" fmla="*/ 227 h 278"/>
                  <a:gd name="T12" fmla="*/ 173 w 295"/>
                  <a:gd name="T13" fmla="*/ 254 h 278"/>
                  <a:gd name="T14" fmla="*/ 148 w 295"/>
                  <a:gd name="T15" fmla="*/ 244 h 278"/>
                  <a:gd name="T16" fmla="*/ 139 w 295"/>
                  <a:gd name="T17" fmla="*/ 254 h 278"/>
                  <a:gd name="T18" fmla="*/ 130 w 295"/>
                  <a:gd name="T19" fmla="*/ 262 h 278"/>
                  <a:gd name="T20" fmla="*/ 109 w 295"/>
                  <a:gd name="T21" fmla="*/ 258 h 278"/>
                  <a:gd name="T22" fmla="*/ 89 w 295"/>
                  <a:gd name="T23" fmla="*/ 261 h 278"/>
                  <a:gd name="T24" fmla="*/ 74 w 295"/>
                  <a:gd name="T25" fmla="*/ 247 h 278"/>
                  <a:gd name="T26" fmla="*/ 58 w 295"/>
                  <a:gd name="T27" fmla="*/ 244 h 278"/>
                  <a:gd name="T28" fmla="*/ 49 w 295"/>
                  <a:gd name="T29" fmla="*/ 272 h 278"/>
                  <a:gd name="T30" fmla="*/ 37 w 295"/>
                  <a:gd name="T31" fmla="*/ 278 h 278"/>
                  <a:gd name="T32" fmla="*/ 29 w 295"/>
                  <a:gd name="T33" fmla="*/ 271 h 278"/>
                  <a:gd name="T34" fmla="*/ 30 w 295"/>
                  <a:gd name="T35" fmla="*/ 256 h 278"/>
                  <a:gd name="T36" fmla="*/ 20 w 295"/>
                  <a:gd name="T37" fmla="*/ 235 h 278"/>
                  <a:gd name="T38" fmla="*/ 17 w 295"/>
                  <a:gd name="T39" fmla="*/ 221 h 278"/>
                  <a:gd name="T40" fmla="*/ 10 w 295"/>
                  <a:gd name="T41" fmla="*/ 203 h 278"/>
                  <a:gd name="T42" fmla="*/ 0 w 295"/>
                  <a:gd name="T43" fmla="*/ 196 h 278"/>
                  <a:gd name="T44" fmla="*/ 6 w 295"/>
                  <a:gd name="T45" fmla="*/ 180 h 278"/>
                  <a:gd name="T46" fmla="*/ 9 w 295"/>
                  <a:gd name="T47" fmla="*/ 165 h 278"/>
                  <a:gd name="T48" fmla="*/ 10 w 295"/>
                  <a:gd name="T49" fmla="*/ 147 h 278"/>
                  <a:gd name="T50" fmla="*/ 34 w 295"/>
                  <a:gd name="T51" fmla="*/ 133 h 278"/>
                  <a:gd name="T52" fmla="*/ 30 w 295"/>
                  <a:gd name="T53" fmla="*/ 42 h 278"/>
                  <a:gd name="T54" fmla="*/ 49 w 295"/>
                  <a:gd name="T55" fmla="*/ 0 h 278"/>
                  <a:gd name="T56" fmla="*/ 191 w 295"/>
                  <a:gd name="T57" fmla="*/ 0 h 278"/>
                  <a:gd name="T58" fmla="*/ 269 w 295"/>
                  <a:gd name="T59" fmla="*/ 21 h 278"/>
                  <a:gd name="T60" fmla="*/ 270 w 295"/>
                  <a:gd name="T61" fmla="*/ 46 h 278"/>
                  <a:gd name="T62" fmla="*/ 285 w 295"/>
                  <a:gd name="T63" fmla="*/ 76 h 278"/>
                  <a:gd name="T64" fmla="*/ 287 w 295"/>
                  <a:gd name="T65" fmla="*/ 95 h 278"/>
                  <a:gd name="T66" fmla="*/ 268 w 295"/>
                  <a:gd name="T67" fmla="*/ 105 h 278"/>
                  <a:gd name="T68" fmla="*/ 260 w 295"/>
                  <a:gd name="T69" fmla="*/ 149 h 278"/>
                  <a:gd name="T70" fmla="*/ 260 w 295"/>
                  <a:gd name="T71" fmla="*/ 175 h 278"/>
                  <a:gd name="T72" fmla="*/ 243 w 295"/>
                  <a:gd name="T73" fmla="*/ 206 h 278"/>
                  <a:gd name="T74" fmla="*/ 234 w 295"/>
                  <a:gd name="T75" fmla="*/ 231 h 278"/>
                  <a:gd name="T76" fmla="*/ 221 w 295"/>
                  <a:gd name="T77" fmla="*/ 258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95" h="278">
                    <a:moveTo>
                      <a:pt x="221" y="261"/>
                    </a:moveTo>
                    <a:lnTo>
                      <a:pt x="218" y="260"/>
                    </a:lnTo>
                    <a:lnTo>
                      <a:pt x="218" y="250"/>
                    </a:lnTo>
                    <a:lnTo>
                      <a:pt x="216" y="243"/>
                    </a:lnTo>
                    <a:lnTo>
                      <a:pt x="207" y="235"/>
                    </a:lnTo>
                    <a:lnTo>
                      <a:pt x="204" y="220"/>
                    </a:lnTo>
                    <a:lnTo>
                      <a:pt x="206" y="204"/>
                    </a:lnTo>
                    <a:lnTo>
                      <a:pt x="197" y="203"/>
                    </a:lnTo>
                    <a:lnTo>
                      <a:pt x="196" y="208"/>
                    </a:lnTo>
                    <a:lnTo>
                      <a:pt x="185" y="209"/>
                    </a:lnTo>
                    <a:lnTo>
                      <a:pt x="190" y="215"/>
                    </a:lnTo>
                    <a:lnTo>
                      <a:pt x="192" y="227"/>
                    </a:lnTo>
                    <a:lnTo>
                      <a:pt x="182" y="239"/>
                    </a:lnTo>
                    <a:lnTo>
                      <a:pt x="173" y="254"/>
                    </a:lnTo>
                    <a:lnTo>
                      <a:pt x="164" y="256"/>
                    </a:lnTo>
                    <a:lnTo>
                      <a:pt x="148" y="244"/>
                    </a:lnTo>
                    <a:lnTo>
                      <a:pt x="141" y="248"/>
                    </a:lnTo>
                    <a:lnTo>
                      <a:pt x="139" y="254"/>
                    </a:lnTo>
                    <a:lnTo>
                      <a:pt x="130" y="258"/>
                    </a:lnTo>
                    <a:lnTo>
                      <a:pt x="130" y="262"/>
                    </a:lnTo>
                    <a:lnTo>
                      <a:pt x="111" y="262"/>
                    </a:lnTo>
                    <a:lnTo>
                      <a:pt x="109" y="258"/>
                    </a:lnTo>
                    <a:lnTo>
                      <a:pt x="95" y="257"/>
                    </a:lnTo>
                    <a:lnTo>
                      <a:pt x="89" y="261"/>
                    </a:lnTo>
                    <a:lnTo>
                      <a:pt x="84" y="259"/>
                    </a:lnTo>
                    <a:lnTo>
                      <a:pt x="74" y="247"/>
                    </a:lnTo>
                    <a:lnTo>
                      <a:pt x="71" y="241"/>
                    </a:lnTo>
                    <a:lnTo>
                      <a:pt x="58" y="244"/>
                    </a:lnTo>
                    <a:lnTo>
                      <a:pt x="53" y="254"/>
                    </a:lnTo>
                    <a:lnTo>
                      <a:pt x="49" y="272"/>
                    </a:lnTo>
                    <a:lnTo>
                      <a:pt x="42" y="276"/>
                    </a:lnTo>
                    <a:lnTo>
                      <a:pt x="37" y="278"/>
                    </a:lnTo>
                    <a:lnTo>
                      <a:pt x="35" y="277"/>
                    </a:lnTo>
                    <a:lnTo>
                      <a:pt x="29" y="271"/>
                    </a:lnTo>
                    <a:lnTo>
                      <a:pt x="28" y="265"/>
                    </a:lnTo>
                    <a:lnTo>
                      <a:pt x="30" y="256"/>
                    </a:lnTo>
                    <a:lnTo>
                      <a:pt x="30" y="248"/>
                    </a:lnTo>
                    <a:lnTo>
                      <a:pt x="20" y="235"/>
                    </a:lnTo>
                    <a:lnTo>
                      <a:pt x="17" y="226"/>
                    </a:lnTo>
                    <a:lnTo>
                      <a:pt x="17" y="221"/>
                    </a:lnTo>
                    <a:lnTo>
                      <a:pt x="10" y="215"/>
                    </a:lnTo>
                    <a:lnTo>
                      <a:pt x="10" y="203"/>
                    </a:lnTo>
                    <a:lnTo>
                      <a:pt x="6" y="195"/>
                    </a:lnTo>
                    <a:lnTo>
                      <a:pt x="0" y="196"/>
                    </a:lnTo>
                    <a:lnTo>
                      <a:pt x="1" y="188"/>
                    </a:lnTo>
                    <a:lnTo>
                      <a:pt x="6" y="180"/>
                    </a:lnTo>
                    <a:lnTo>
                      <a:pt x="4" y="171"/>
                    </a:lnTo>
                    <a:lnTo>
                      <a:pt x="9" y="165"/>
                    </a:lnTo>
                    <a:lnTo>
                      <a:pt x="6" y="160"/>
                    </a:lnTo>
                    <a:lnTo>
                      <a:pt x="10" y="147"/>
                    </a:lnTo>
                    <a:lnTo>
                      <a:pt x="18" y="132"/>
                    </a:lnTo>
                    <a:lnTo>
                      <a:pt x="34" y="133"/>
                    </a:lnTo>
                    <a:lnTo>
                      <a:pt x="30" y="51"/>
                    </a:lnTo>
                    <a:lnTo>
                      <a:pt x="30" y="42"/>
                    </a:lnTo>
                    <a:lnTo>
                      <a:pt x="51" y="42"/>
                    </a:lnTo>
                    <a:lnTo>
                      <a:pt x="49" y="0"/>
                    </a:lnTo>
                    <a:lnTo>
                      <a:pt x="121" y="0"/>
                    </a:lnTo>
                    <a:lnTo>
                      <a:pt x="191" y="0"/>
                    </a:lnTo>
                    <a:lnTo>
                      <a:pt x="262" y="0"/>
                    </a:lnTo>
                    <a:lnTo>
                      <a:pt x="269" y="21"/>
                    </a:lnTo>
                    <a:lnTo>
                      <a:pt x="266" y="24"/>
                    </a:lnTo>
                    <a:lnTo>
                      <a:pt x="270" y="46"/>
                    </a:lnTo>
                    <a:lnTo>
                      <a:pt x="278" y="71"/>
                    </a:lnTo>
                    <a:lnTo>
                      <a:pt x="285" y="76"/>
                    </a:lnTo>
                    <a:lnTo>
                      <a:pt x="295" y="84"/>
                    </a:lnTo>
                    <a:lnTo>
                      <a:pt x="287" y="95"/>
                    </a:lnTo>
                    <a:lnTo>
                      <a:pt x="273" y="99"/>
                    </a:lnTo>
                    <a:lnTo>
                      <a:pt x="268" y="105"/>
                    </a:lnTo>
                    <a:lnTo>
                      <a:pt x="267" y="119"/>
                    </a:lnTo>
                    <a:lnTo>
                      <a:pt x="260" y="149"/>
                    </a:lnTo>
                    <a:lnTo>
                      <a:pt x="263" y="158"/>
                    </a:lnTo>
                    <a:lnTo>
                      <a:pt x="260" y="175"/>
                    </a:lnTo>
                    <a:lnTo>
                      <a:pt x="254" y="196"/>
                    </a:lnTo>
                    <a:lnTo>
                      <a:pt x="243" y="206"/>
                    </a:lnTo>
                    <a:lnTo>
                      <a:pt x="236" y="222"/>
                    </a:lnTo>
                    <a:lnTo>
                      <a:pt x="234" y="231"/>
                    </a:lnTo>
                    <a:lnTo>
                      <a:pt x="226" y="236"/>
                    </a:lnTo>
                    <a:lnTo>
                      <a:pt x="221" y="258"/>
                    </a:lnTo>
                    <a:lnTo>
                      <a:pt x="221" y="261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2" name="Freeform 172"/>
              <p:cNvSpPr>
                <a:spLocks/>
              </p:cNvSpPr>
              <p:nvPr/>
            </p:nvSpPr>
            <p:spPr bwMode="auto">
              <a:xfrm>
                <a:off x="4876800" y="3505200"/>
                <a:ext cx="333375" cy="288925"/>
              </a:xfrm>
              <a:custGeom>
                <a:avLst/>
                <a:gdLst>
                  <a:gd name="T0" fmla="*/ 184 w 210"/>
                  <a:gd name="T1" fmla="*/ 58 h 182"/>
                  <a:gd name="T2" fmla="*/ 185 w 210"/>
                  <a:gd name="T3" fmla="*/ 74 h 182"/>
                  <a:gd name="T4" fmla="*/ 182 w 210"/>
                  <a:gd name="T5" fmla="*/ 80 h 182"/>
                  <a:gd name="T6" fmla="*/ 172 w 210"/>
                  <a:gd name="T7" fmla="*/ 81 h 182"/>
                  <a:gd name="T8" fmla="*/ 166 w 210"/>
                  <a:gd name="T9" fmla="*/ 93 h 182"/>
                  <a:gd name="T10" fmla="*/ 178 w 210"/>
                  <a:gd name="T11" fmla="*/ 94 h 182"/>
                  <a:gd name="T12" fmla="*/ 187 w 210"/>
                  <a:gd name="T13" fmla="*/ 104 h 182"/>
                  <a:gd name="T14" fmla="*/ 191 w 210"/>
                  <a:gd name="T15" fmla="*/ 113 h 182"/>
                  <a:gd name="T16" fmla="*/ 199 w 210"/>
                  <a:gd name="T17" fmla="*/ 117 h 182"/>
                  <a:gd name="T18" fmla="*/ 210 w 210"/>
                  <a:gd name="T19" fmla="*/ 140 h 182"/>
                  <a:gd name="T20" fmla="*/ 198 w 210"/>
                  <a:gd name="T21" fmla="*/ 154 h 182"/>
                  <a:gd name="T22" fmla="*/ 187 w 210"/>
                  <a:gd name="T23" fmla="*/ 166 h 182"/>
                  <a:gd name="T24" fmla="*/ 175 w 210"/>
                  <a:gd name="T25" fmla="*/ 176 h 182"/>
                  <a:gd name="T26" fmla="*/ 163 w 210"/>
                  <a:gd name="T27" fmla="*/ 176 h 182"/>
                  <a:gd name="T28" fmla="*/ 148 w 210"/>
                  <a:gd name="T29" fmla="*/ 180 h 182"/>
                  <a:gd name="T30" fmla="*/ 136 w 210"/>
                  <a:gd name="T31" fmla="*/ 176 h 182"/>
                  <a:gd name="T32" fmla="*/ 129 w 210"/>
                  <a:gd name="T33" fmla="*/ 182 h 182"/>
                  <a:gd name="T34" fmla="*/ 112 w 210"/>
                  <a:gd name="T35" fmla="*/ 168 h 182"/>
                  <a:gd name="T36" fmla="*/ 108 w 210"/>
                  <a:gd name="T37" fmla="*/ 159 h 182"/>
                  <a:gd name="T38" fmla="*/ 98 w 210"/>
                  <a:gd name="T39" fmla="*/ 163 h 182"/>
                  <a:gd name="T40" fmla="*/ 89 w 210"/>
                  <a:gd name="T41" fmla="*/ 162 h 182"/>
                  <a:gd name="T42" fmla="*/ 84 w 210"/>
                  <a:gd name="T43" fmla="*/ 165 h 182"/>
                  <a:gd name="T44" fmla="*/ 76 w 210"/>
                  <a:gd name="T45" fmla="*/ 163 h 182"/>
                  <a:gd name="T46" fmla="*/ 65 w 210"/>
                  <a:gd name="T47" fmla="*/ 146 h 182"/>
                  <a:gd name="T48" fmla="*/ 62 w 210"/>
                  <a:gd name="T49" fmla="*/ 139 h 182"/>
                  <a:gd name="T50" fmla="*/ 48 w 210"/>
                  <a:gd name="T51" fmla="*/ 131 h 182"/>
                  <a:gd name="T52" fmla="*/ 43 w 210"/>
                  <a:gd name="T53" fmla="*/ 118 h 182"/>
                  <a:gd name="T54" fmla="*/ 35 w 210"/>
                  <a:gd name="T55" fmla="*/ 109 h 182"/>
                  <a:gd name="T56" fmla="*/ 23 w 210"/>
                  <a:gd name="T57" fmla="*/ 99 h 182"/>
                  <a:gd name="T58" fmla="*/ 23 w 210"/>
                  <a:gd name="T59" fmla="*/ 92 h 182"/>
                  <a:gd name="T60" fmla="*/ 13 w 210"/>
                  <a:gd name="T61" fmla="*/ 84 h 182"/>
                  <a:gd name="T62" fmla="*/ 0 w 210"/>
                  <a:gd name="T63" fmla="*/ 75 h 182"/>
                  <a:gd name="T64" fmla="*/ 5 w 210"/>
                  <a:gd name="T65" fmla="*/ 73 h 182"/>
                  <a:gd name="T66" fmla="*/ 12 w 210"/>
                  <a:gd name="T67" fmla="*/ 69 h 182"/>
                  <a:gd name="T68" fmla="*/ 16 w 210"/>
                  <a:gd name="T69" fmla="*/ 51 h 182"/>
                  <a:gd name="T70" fmla="*/ 21 w 210"/>
                  <a:gd name="T71" fmla="*/ 41 h 182"/>
                  <a:gd name="T72" fmla="*/ 34 w 210"/>
                  <a:gd name="T73" fmla="*/ 38 h 182"/>
                  <a:gd name="T74" fmla="*/ 37 w 210"/>
                  <a:gd name="T75" fmla="*/ 44 h 182"/>
                  <a:gd name="T76" fmla="*/ 47 w 210"/>
                  <a:gd name="T77" fmla="*/ 56 h 182"/>
                  <a:gd name="T78" fmla="*/ 52 w 210"/>
                  <a:gd name="T79" fmla="*/ 58 h 182"/>
                  <a:gd name="T80" fmla="*/ 59 w 210"/>
                  <a:gd name="T81" fmla="*/ 54 h 182"/>
                  <a:gd name="T82" fmla="*/ 72 w 210"/>
                  <a:gd name="T83" fmla="*/ 55 h 182"/>
                  <a:gd name="T84" fmla="*/ 74 w 210"/>
                  <a:gd name="T85" fmla="*/ 59 h 182"/>
                  <a:gd name="T86" fmla="*/ 93 w 210"/>
                  <a:gd name="T87" fmla="*/ 59 h 182"/>
                  <a:gd name="T88" fmla="*/ 93 w 210"/>
                  <a:gd name="T89" fmla="*/ 55 h 182"/>
                  <a:gd name="T90" fmla="*/ 102 w 210"/>
                  <a:gd name="T91" fmla="*/ 51 h 182"/>
                  <a:gd name="T92" fmla="*/ 104 w 210"/>
                  <a:gd name="T93" fmla="*/ 45 h 182"/>
                  <a:gd name="T94" fmla="*/ 111 w 210"/>
                  <a:gd name="T95" fmla="*/ 41 h 182"/>
                  <a:gd name="T96" fmla="*/ 127 w 210"/>
                  <a:gd name="T97" fmla="*/ 53 h 182"/>
                  <a:gd name="T98" fmla="*/ 136 w 210"/>
                  <a:gd name="T99" fmla="*/ 51 h 182"/>
                  <a:gd name="T100" fmla="*/ 145 w 210"/>
                  <a:gd name="T101" fmla="*/ 36 h 182"/>
                  <a:gd name="T102" fmla="*/ 155 w 210"/>
                  <a:gd name="T103" fmla="*/ 24 h 182"/>
                  <a:gd name="T104" fmla="*/ 153 w 210"/>
                  <a:gd name="T105" fmla="*/ 12 h 182"/>
                  <a:gd name="T106" fmla="*/ 148 w 210"/>
                  <a:gd name="T107" fmla="*/ 6 h 182"/>
                  <a:gd name="T108" fmla="*/ 159 w 210"/>
                  <a:gd name="T109" fmla="*/ 5 h 182"/>
                  <a:gd name="T110" fmla="*/ 160 w 210"/>
                  <a:gd name="T111" fmla="*/ 0 h 182"/>
                  <a:gd name="T112" fmla="*/ 169 w 210"/>
                  <a:gd name="T113" fmla="*/ 1 h 182"/>
                  <a:gd name="T114" fmla="*/ 167 w 210"/>
                  <a:gd name="T115" fmla="*/ 17 h 182"/>
                  <a:gd name="T116" fmla="*/ 170 w 210"/>
                  <a:gd name="T117" fmla="*/ 32 h 182"/>
                  <a:gd name="T118" fmla="*/ 179 w 210"/>
                  <a:gd name="T119" fmla="*/ 40 h 182"/>
                  <a:gd name="T120" fmla="*/ 181 w 210"/>
                  <a:gd name="T121" fmla="*/ 47 h 182"/>
                  <a:gd name="T122" fmla="*/ 181 w 210"/>
                  <a:gd name="T123" fmla="*/ 57 h 182"/>
                  <a:gd name="T124" fmla="*/ 184 w 210"/>
                  <a:gd name="T125" fmla="*/ 5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0" h="182">
                    <a:moveTo>
                      <a:pt x="184" y="58"/>
                    </a:moveTo>
                    <a:lnTo>
                      <a:pt x="185" y="74"/>
                    </a:lnTo>
                    <a:lnTo>
                      <a:pt x="182" y="80"/>
                    </a:lnTo>
                    <a:lnTo>
                      <a:pt x="172" y="81"/>
                    </a:lnTo>
                    <a:lnTo>
                      <a:pt x="166" y="93"/>
                    </a:lnTo>
                    <a:lnTo>
                      <a:pt x="178" y="94"/>
                    </a:lnTo>
                    <a:lnTo>
                      <a:pt x="187" y="104"/>
                    </a:lnTo>
                    <a:lnTo>
                      <a:pt x="191" y="113"/>
                    </a:lnTo>
                    <a:lnTo>
                      <a:pt x="199" y="117"/>
                    </a:lnTo>
                    <a:lnTo>
                      <a:pt x="210" y="140"/>
                    </a:lnTo>
                    <a:lnTo>
                      <a:pt x="198" y="154"/>
                    </a:lnTo>
                    <a:lnTo>
                      <a:pt x="187" y="166"/>
                    </a:lnTo>
                    <a:lnTo>
                      <a:pt x="175" y="176"/>
                    </a:lnTo>
                    <a:lnTo>
                      <a:pt x="163" y="176"/>
                    </a:lnTo>
                    <a:lnTo>
                      <a:pt x="148" y="180"/>
                    </a:lnTo>
                    <a:lnTo>
                      <a:pt x="136" y="176"/>
                    </a:lnTo>
                    <a:lnTo>
                      <a:pt x="129" y="182"/>
                    </a:lnTo>
                    <a:lnTo>
                      <a:pt x="112" y="168"/>
                    </a:lnTo>
                    <a:lnTo>
                      <a:pt x="108" y="159"/>
                    </a:lnTo>
                    <a:lnTo>
                      <a:pt x="98" y="163"/>
                    </a:lnTo>
                    <a:lnTo>
                      <a:pt x="89" y="162"/>
                    </a:lnTo>
                    <a:lnTo>
                      <a:pt x="84" y="165"/>
                    </a:lnTo>
                    <a:lnTo>
                      <a:pt x="76" y="163"/>
                    </a:lnTo>
                    <a:lnTo>
                      <a:pt x="65" y="146"/>
                    </a:lnTo>
                    <a:lnTo>
                      <a:pt x="62" y="139"/>
                    </a:lnTo>
                    <a:lnTo>
                      <a:pt x="48" y="131"/>
                    </a:lnTo>
                    <a:lnTo>
                      <a:pt x="43" y="118"/>
                    </a:lnTo>
                    <a:lnTo>
                      <a:pt x="35" y="109"/>
                    </a:lnTo>
                    <a:lnTo>
                      <a:pt x="23" y="99"/>
                    </a:lnTo>
                    <a:lnTo>
                      <a:pt x="23" y="92"/>
                    </a:lnTo>
                    <a:lnTo>
                      <a:pt x="13" y="84"/>
                    </a:lnTo>
                    <a:lnTo>
                      <a:pt x="0" y="75"/>
                    </a:lnTo>
                    <a:lnTo>
                      <a:pt x="5" y="73"/>
                    </a:lnTo>
                    <a:lnTo>
                      <a:pt x="12" y="69"/>
                    </a:lnTo>
                    <a:lnTo>
                      <a:pt x="16" y="51"/>
                    </a:lnTo>
                    <a:lnTo>
                      <a:pt x="21" y="41"/>
                    </a:lnTo>
                    <a:lnTo>
                      <a:pt x="34" y="38"/>
                    </a:lnTo>
                    <a:lnTo>
                      <a:pt x="37" y="44"/>
                    </a:lnTo>
                    <a:lnTo>
                      <a:pt x="47" y="56"/>
                    </a:lnTo>
                    <a:lnTo>
                      <a:pt x="52" y="58"/>
                    </a:lnTo>
                    <a:lnTo>
                      <a:pt x="59" y="54"/>
                    </a:lnTo>
                    <a:lnTo>
                      <a:pt x="72" y="55"/>
                    </a:lnTo>
                    <a:lnTo>
                      <a:pt x="74" y="59"/>
                    </a:lnTo>
                    <a:lnTo>
                      <a:pt x="93" y="59"/>
                    </a:lnTo>
                    <a:lnTo>
                      <a:pt x="93" y="55"/>
                    </a:lnTo>
                    <a:lnTo>
                      <a:pt x="102" y="51"/>
                    </a:lnTo>
                    <a:lnTo>
                      <a:pt x="104" y="45"/>
                    </a:lnTo>
                    <a:lnTo>
                      <a:pt x="111" y="41"/>
                    </a:lnTo>
                    <a:lnTo>
                      <a:pt x="127" y="53"/>
                    </a:lnTo>
                    <a:lnTo>
                      <a:pt x="136" y="51"/>
                    </a:lnTo>
                    <a:lnTo>
                      <a:pt x="145" y="36"/>
                    </a:lnTo>
                    <a:lnTo>
                      <a:pt x="155" y="24"/>
                    </a:lnTo>
                    <a:lnTo>
                      <a:pt x="153" y="12"/>
                    </a:lnTo>
                    <a:lnTo>
                      <a:pt x="148" y="6"/>
                    </a:lnTo>
                    <a:lnTo>
                      <a:pt x="159" y="5"/>
                    </a:lnTo>
                    <a:lnTo>
                      <a:pt x="160" y="0"/>
                    </a:lnTo>
                    <a:lnTo>
                      <a:pt x="169" y="1"/>
                    </a:lnTo>
                    <a:lnTo>
                      <a:pt x="167" y="17"/>
                    </a:lnTo>
                    <a:lnTo>
                      <a:pt x="170" y="32"/>
                    </a:lnTo>
                    <a:lnTo>
                      <a:pt x="179" y="40"/>
                    </a:lnTo>
                    <a:lnTo>
                      <a:pt x="181" y="47"/>
                    </a:lnTo>
                    <a:lnTo>
                      <a:pt x="181" y="57"/>
                    </a:lnTo>
                    <a:lnTo>
                      <a:pt x="184" y="58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3" name="Freeform 173"/>
              <p:cNvSpPr>
                <a:spLocks/>
              </p:cNvSpPr>
              <p:nvPr/>
            </p:nvSpPr>
            <p:spPr bwMode="auto">
              <a:xfrm>
                <a:off x="3671887" y="3362325"/>
                <a:ext cx="177800" cy="139700"/>
              </a:xfrm>
              <a:custGeom>
                <a:avLst/>
                <a:gdLst>
                  <a:gd name="T0" fmla="*/ 17 w 112"/>
                  <a:gd name="T1" fmla="*/ 62 h 88"/>
                  <a:gd name="T2" fmla="*/ 10 w 112"/>
                  <a:gd name="T3" fmla="*/ 46 h 88"/>
                  <a:gd name="T4" fmla="*/ 0 w 112"/>
                  <a:gd name="T5" fmla="*/ 38 h 88"/>
                  <a:gd name="T6" fmla="*/ 9 w 112"/>
                  <a:gd name="T7" fmla="*/ 34 h 88"/>
                  <a:gd name="T8" fmla="*/ 18 w 112"/>
                  <a:gd name="T9" fmla="*/ 20 h 88"/>
                  <a:gd name="T10" fmla="*/ 22 w 112"/>
                  <a:gd name="T11" fmla="*/ 9 h 88"/>
                  <a:gd name="T12" fmla="*/ 29 w 112"/>
                  <a:gd name="T13" fmla="*/ 2 h 88"/>
                  <a:gd name="T14" fmla="*/ 38 w 112"/>
                  <a:gd name="T15" fmla="*/ 4 h 88"/>
                  <a:gd name="T16" fmla="*/ 47 w 112"/>
                  <a:gd name="T17" fmla="*/ 0 h 88"/>
                  <a:gd name="T18" fmla="*/ 57 w 112"/>
                  <a:gd name="T19" fmla="*/ 0 h 88"/>
                  <a:gd name="T20" fmla="*/ 65 w 112"/>
                  <a:gd name="T21" fmla="*/ 6 h 88"/>
                  <a:gd name="T22" fmla="*/ 77 w 112"/>
                  <a:gd name="T23" fmla="*/ 11 h 88"/>
                  <a:gd name="T24" fmla="*/ 88 w 112"/>
                  <a:gd name="T25" fmla="*/ 26 h 88"/>
                  <a:gd name="T26" fmla="*/ 100 w 112"/>
                  <a:gd name="T27" fmla="*/ 41 h 88"/>
                  <a:gd name="T28" fmla="*/ 100 w 112"/>
                  <a:gd name="T29" fmla="*/ 54 h 88"/>
                  <a:gd name="T30" fmla="*/ 104 w 112"/>
                  <a:gd name="T31" fmla="*/ 66 h 88"/>
                  <a:gd name="T32" fmla="*/ 111 w 112"/>
                  <a:gd name="T33" fmla="*/ 71 h 88"/>
                  <a:gd name="T34" fmla="*/ 112 w 112"/>
                  <a:gd name="T35" fmla="*/ 79 h 88"/>
                  <a:gd name="T36" fmla="*/ 111 w 112"/>
                  <a:gd name="T37" fmla="*/ 86 h 88"/>
                  <a:gd name="T38" fmla="*/ 109 w 112"/>
                  <a:gd name="T39" fmla="*/ 87 h 88"/>
                  <a:gd name="T40" fmla="*/ 99 w 112"/>
                  <a:gd name="T41" fmla="*/ 85 h 88"/>
                  <a:gd name="T42" fmla="*/ 97 w 112"/>
                  <a:gd name="T43" fmla="*/ 88 h 88"/>
                  <a:gd name="T44" fmla="*/ 93 w 112"/>
                  <a:gd name="T45" fmla="*/ 88 h 88"/>
                  <a:gd name="T46" fmla="*/ 80 w 112"/>
                  <a:gd name="T47" fmla="*/ 83 h 88"/>
                  <a:gd name="T48" fmla="*/ 71 w 112"/>
                  <a:gd name="T49" fmla="*/ 83 h 88"/>
                  <a:gd name="T50" fmla="*/ 38 w 112"/>
                  <a:gd name="T51" fmla="*/ 82 h 88"/>
                  <a:gd name="T52" fmla="*/ 33 w 112"/>
                  <a:gd name="T53" fmla="*/ 84 h 88"/>
                  <a:gd name="T54" fmla="*/ 27 w 112"/>
                  <a:gd name="T55" fmla="*/ 84 h 88"/>
                  <a:gd name="T56" fmla="*/ 17 w 112"/>
                  <a:gd name="T57" fmla="*/ 87 h 88"/>
                  <a:gd name="T58" fmla="*/ 14 w 112"/>
                  <a:gd name="T59" fmla="*/ 71 h 88"/>
                  <a:gd name="T60" fmla="*/ 31 w 112"/>
                  <a:gd name="T61" fmla="*/ 72 h 88"/>
                  <a:gd name="T62" fmla="*/ 35 w 112"/>
                  <a:gd name="T63" fmla="*/ 69 h 88"/>
                  <a:gd name="T64" fmla="*/ 39 w 112"/>
                  <a:gd name="T65" fmla="*/ 69 h 88"/>
                  <a:gd name="T66" fmla="*/ 45 w 112"/>
                  <a:gd name="T67" fmla="*/ 64 h 88"/>
                  <a:gd name="T68" fmla="*/ 53 w 112"/>
                  <a:gd name="T69" fmla="*/ 68 h 88"/>
                  <a:gd name="T70" fmla="*/ 61 w 112"/>
                  <a:gd name="T71" fmla="*/ 69 h 88"/>
                  <a:gd name="T72" fmla="*/ 69 w 112"/>
                  <a:gd name="T73" fmla="*/ 64 h 88"/>
                  <a:gd name="T74" fmla="*/ 65 w 112"/>
                  <a:gd name="T75" fmla="*/ 58 h 88"/>
                  <a:gd name="T76" fmla="*/ 59 w 112"/>
                  <a:gd name="T77" fmla="*/ 61 h 88"/>
                  <a:gd name="T78" fmla="*/ 54 w 112"/>
                  <a:gd name="T79" fmla="*/ 61 h 88"/>
                  <a:gd name="T80" fmla="*/ 47 w 112"/>
                  <a:gd name="T81" fmla="*/ 56 h 88"/>
                  <a:gd name="T82" fmla="*/ 41 w 112"/>
                  <a:gd name="T83" fmla="*/ 56 h 88"/>
                  <a:gd name="T84" fmla="*/ 37 w 112"/>
                  <a:gd name="T85" fmla="*/ 61 h 88"/>
                  <a:gd name="T86" fmla="*/ 17 w 112"/>
                  <a:gd name="T87" fmla="*/ 6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12" h="88">
                    <a:moveTo>
                      <a:pt x="17" y="62"/>
                    </a:moveTo>
                    <a:lnTo>
                      <a:pt x="10" y="46"/>
                    </a:lnTo>
                    <a:lnTo>
                      <a:pt x="0" y="38"/>
                    </a:lnTo>
                    <a:lnTo>
                      <a:pt x="9" y="34"/>
                    </a:lnTo>
                    <a:lnTo>
                      <a:pt x="18" y="20"/>
                    </a:lnTo>
                    <a:lnTo>
                      <a:pt x="22" y="9"/>
                    </a:lnTo>
                    <a:lnTo>
                      <a:pt x="29" y="2"/>
                    </a:lnTo>
                    <a:lnTo>
                      <a:pt x="38" y="4"/>
                    </a:lnTo>
                    <a:lnTo>
                      <a:pt x="47" y="0"/>
                    </a:lnTo>
                    <a:lnTo>
                      <a:pt x="57" y="0"/>
                    </a:lnTo>
                    <a:lnTo>
                      <a:pt x="65" y="6"/>
                    </a:lnTo>
                    <a:lnTo>
                      <a:pt x="77" y="11"/>
                    </a:lnTo>
                    <a:lnTo>
                      <a:pt x="88" y="26"/>
                    </a:lnTo>
                    <a:lnTo>
                      <a:pt x="100" y="41"/>
                    </a:lnTo>
                    <a:lnTo>
                      <a:pt x="100" y="54"/>
                    </a:lnTo>
                    <a:lnTo>
                      <a:pt x="104" y="66"/>
                    </a:lnTo>
                    <a:lnTo>
                      <a:pt x="111" y="71"/>
                    </a:lnTo>
                    <a:lnTo>
                      <a:pt x="112" y="79"/>
                    </a:lnTo>
                    <a:lnTo>
                      <a:pt x="111" y="86"/>
                    </a:lnTo>
                    <a:lnTo>
                      <a:pt x="109" y="87"/>
                    </a:lnTo>
                    <a:lnTo>
                      <a:pt x="99" y="85"/>
                    </a:lnTo>
                    <a:lnTo>
                      <a:pt x="97" y="88"/>
                    </a:lnTo>
                    <a:lnTo>
                      <a:pt x="93" y="88"/>
                    </a:lnTo>
                    <a:lnTo>
                      <a:pt x="80" y="83"/>
                    </a:lnTo>
                    <a:lnTo>
                      <a:pt x="71" y="83"/>
                    </a:lnTo>
                    <a:lnTo>
                      <a:pt x="38" y="82"/>
                    </a:lnTo>
                    <a:lnTo>
                      <a:pt x="33" y="84"/>
                    </a:lnTo>
                    <a:lnTo>
                      <a:pt x="27" y="84"/>
                    </a:lnTo>
                    <a:lnTo>
                      <a:pt x="17" y="87"/>
                    </a:lnTo>
                    <a:lnTo>
                      <a:pt x="14" y="71"/>
                    </a:lnTo>
                    <a:lnTo>
                      <a:pt x="31" y="72"/>
                    </a:lnTo>
                    <a:lnTo>
                      <a:pt x="35" y="69"/>
                    </a:lnTo>
                    <a:lnTo>
                      <a:pt x="39" y="69"/>
                    </a:lnTo>
                    <a:lnTo>
                      <a:pt x="45" y="64"/>
                    </a:lnTo>
                    <a:lnTo>
                      <a:pt x="53" y="68"/>
                    </a:lnTo>
                    <a:lnTo>
                      <a:pt x="61" y="69"/>
                    </a:lnTo>
                    <a:lnTo>
                      <a:pt x="69" y="64"/>
                    </a:lnTo>
                    <a:lnTo>
                      <a:pt x="65" y="58"/>
                    </a:lnTo>
                    <a:lnTo>
                      <a:pt x="59" y="61"/>
                    </a:lnTo>
                    <a:lnTo>
                      <a:pt x="54" y="61"/>
                    </a:lnTo>
                    <a:lnTo>
                      <a:pt x="47" y="56"/>
                    </a:lnTo>
                    <a:lnTo>
                      <a:pt x="41" y="56"/>
                    </a:lnTo>
                    <a:lnTo>
                      <a:pt x="37" y="61"/>
                    </a:lnTo>
                    <a:lnTo>
                      <a:pt x="17" y="6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4" name="Freeform 174"/>
              <p:cNvSpPr>
                <a:spLocks/>
              </p:cNvSpPr>
              <p:nvPr/>
            </p:nvSpPr>
            <p:spPr bwMode="auto">
              <a:xfrm>
                <a:off x="8866187" y="4246563"/>
                <a:ext cx="28575" cy="19050"/>
              </a:xfrm>
              <a:custGeom>
                <a:avLst/>
                <a:gdLst>
                  <a:gd name="T0" fmla="*/ 14 w 18"/>
                  <a:gd name="T1" fmla="*/ 5 h 12"/>
                  <a:gd name="T2" fmla="*/ 18 w 18"/>
                  <a:gd name="T3" fmla="*/ 12 h 12"/>
                  <a:gd name="T4" fmla="*/ 6 w 18"/>
                  <a:gd name="T5" fmla="*/ 12 h 12"/>
                  <a:gd name="T6" fmla="*/ 0 w 18"/>
                  <a:gd name="T7" fmla="*/ 0 h 12"/>
                  <a:gd name="T8" fmla="*/ 11 w 18"/>
                  <a:gd name="T9" fmla="*/ 4 h 12"/>
                  <a:gd name="T10" fmla="*/ 14 w 18"/>
                  <a:gd name="T11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" h="12">
                    <a:moveTo>
                      <a:pt x="14" y="5"/>
                    </a:moveTo>
                    <a:lnTo>
                      <a:pt x="18" y="12"/>
                    </a:lnTo>
                    <a:lnTo>
                      <a:pt x="6" y="12"/>
                    </a:lnTo>
                    <a:lnTo>
                      <a:pt x="0" y="0"/>
                    </a:lnTo>
                    <a:lnTo>
                      <a:pt x="11" y="4"/>
                    </a:lnTo>
                    <a:lnTo>
                      <a:pt x="14" y="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5" name="Freeform 175"/>
              <p:cNvSpPr>
                <a:spLocks/>
              </p:cNvSpPr>
              <p:nvPr/>
            </p:nvSpPr>
            <p:spPr bwMode="auto">
              <a:xfrm>
                <a:off x="8820150" y="4214813"/>
                <a:ext cx="34925" cy="20638"/>
              </a:xfrm>
              <a:custGeom>
                <a:avLst/>
                <a:gdLst>
                  <a:gd name="T0" fmla="*/ 22 w 22"/>
                  <a:gd name="T1" fmla="*/ 12 h 13"/>
                  <a:gd name="T2" fmla="*/ 15 w 22"/>
                  <a:gd name="T3" fmla="*/ 13 h 13"/>
                  <a:gd name="T4" fmla="*/ 4 w 22"/>
                  <a:gd name="T5" fmla="*/ 11 h 13"/>
                  <a:gd name="T6" fmla="*/ 0 w 22"/>
                  <a:gd name="T7" fmla="*/ 8 h 13"/>
                  <a:gd name="T8" fmla="*/ 2 w 22"/>
                  <a:gd name="T9" fmla="*/ 0 h 13"/>
                  <a:gd name="T10" fmla="*/ 14 w 22"/>
                  <a:gd name="T11" fmla="*/ 3 h 13"/>
                  <a:gd name="T12" fmla="*/ 19 w 22"/>
                  <a:gd name="T13" fmla="*/ 7 h 13"/>
                  <a:gd name="T14" fmla="*/ 22 w 22"/>
                  <a:gd name="T15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13">
                    <a:moveTo>
                      <a:pt x="22" y="12"/>
                    </a:moveTo>
                    <a:lnTo>
                      <a:pt x="15" y="13"/>
                    </a:lnTo>
                    <a:lnTo>
                      <a:pt x="4" y="11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14" y="3"/>
                    </a:lnTo>
                    <a:lnTo>
                      <a:pt x="19" y="7"/>
                    </a:lnTo>
                    <a:lnTo>
                      <a:pt x="22" y="1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6" name="Freeform 176"/>
              <p:cNvSpPr>
                <a:spLocks/>
              </p:cNvSpPr>
              <p:nvPr/>
            </p:nvSpPr>
            <p:spPr bwMode="auto">
              <a:xfrm>
                <a:off x="8851900" y="4183063"/>
                <a:ext cx="26988" cy="49213"/>
              </a:xfrm>
              <a:custGeom>
                <a:avLst/>
                <a:gdLst>
                  <a:gd name="T0" fmla="*/ 17 w 17"/>
                  <a:gd name="T1" fmla="*/ 27 h 31"/>
                  <a:gd name="T2" fmla="*/ 14 w 17"/>
                  <a:gd name="T3" fmla="*/ 31 h 31"/>
                  <a:gd name="T4" fmla="*/ 3 w 17"/>
                  <a:gd name="T5" fmla="*/ 13 h 31"/>
                  <a:gd name="T6" fmla="*/ 0 w 17"/>
                  <a:gd name="T7" fmla="*/ 0 h 31"/>
                  <a:gd name="T8" fmla="*/ 6 w 17"/>
                  <a:gd name="T9" fmla="*/ 0 h 31"/>
                  <a:gd name="T10" fmla="*/ 11 w 17"/>
                  <a:gd name="T11" fmla="*/ 17 h 31"/>
                  <a:gd name="T12" fmla="*/ 17 w 17"/>
                  <a:gd name="T13" fmla="*/ 2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31">
                    <a:moveTo>
                      <a:pt x="17" y="27"/>
                    </a:moveTo>
                    <a:lnTo>
                      <a:pt x="14" y="31"/>
                    </a:lnTo>
                    <a:lnTo>
                      <a:pt x="3" y="13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1" y="17"/>
                    </a:lnTo>
                    <a:lnTo>
                      <a:pt x="17" y="2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" name="Freeform 177"/>
              <p:cNvSpPr>
                <a:spLocks/>
              </p:cNvSpPr>
              <p:nvPr/>
            </p:nvSpPr>
            <p:spPr bwMode="auto">
              <a:xfrm>
                <a:off x="8786812" y="4151313"/>
                <a:ext cx="46038" cy="39688"/>
              </a:xfrm>
              <a:custGeom>
                <a:avLst/>
                <a:gdLst>
                  <a:gd name="T0" fmla="*/ 28 w 29"/>
                  <a:gd name="T1" fmla="*/ 21 h 25"/>
                  <a:gd name="T2" fmla="*/ 29 w 29"/>
                  <a:gd name="T3" fmla="*/ 25 h 25"/>
                  <a:gd name="T4" fmla="*/ 15 w 29"/>
                  <a:gd name="T5" fmla="*/ 16 h 25"/>
                  <a:gd name="T6" fmla="*/ 6 w 29"/>
                  <a:gd name="T7" fmla="*/ 9 h 25"/>
                  <a:gd name="T8" fmla="*/ 0 w 29"/>
                  <a:gd name="T9" fmla="*/ 2 h 25"/>
                  <a:gd name="T10" fmla="*/ 3 w 29"/>
                  <a:gd name="T11" fmla="*/ 0 h 25"/>
                  <a:gd name="T12" fmla="*/ 11 w 29"/>
                  <a:gd name="T13" fmla="*/ 4 h 25"/>
                  <a:gd name="T14" fmla="*/ 25 w 29"/>
                  <a:gd name="T15" fmla="*/ 14 h 25"/>
                  <a:gd name="T16" fmla="*/ 28 w 29"/>
                  <a:gd name="T17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25">
                    <a:moveTo>
                      <a:pt x="28" y="21"/>
                    </a:moveTo>
                    <a:lnTo>
                      <a:pt x="29" y="25"/>
                    </a:lnTo>
                    <a:lnTo>
                      <a:pt x="15" y="16"/>
                    </a:lnTo>
                    <a:lnTo>
                      <a:pt x="6" y="9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11" y="4"/>
                    </a:lnTo>
                    <a:lnTo>
                      <a:pt x="25" y="14"/>
                    </a:lnTo>
                    <a:lnTo>
                      <a:pt x="28" y="2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" name="Freeform 178"/>
              <p:cNvSpPr>
                <a:spLocks/>
              </p:cNvSpPr>
              <p:nvPr/>
            </p:nvSpPr>
            <p:spPr bwMode="auto">
              <a:xfrm>
                <a:off x="8737600" y="4125913"/>
                <a:ext cx="28575" cy="26988"/>
              </a:xfrm>
              <a:custGeom>
                <a:avLst/>
                <a:gdLst>
                  <a:gd name="T0" fmla="*/ 18 w 18"/>
                  <a:gd name="T1" fmla="*/ 16 h 17"/>
                  <a:gd name="T2" fmla="*/ 15 w 18"/>
                  <a:gd name="T3" fmla="*/ 17 h 17"/>
                  <a:gd name="T4" fmla="*/ 7 w 18"/>
                  <a:gd name="T5" fmla="*/ 13 h 17"/>
                  <a:gd name="T6" fmla="*/ 0 w 18"/>
                  <a:gd name="T7" fmla="*/ 4 h 17"/>
                  <a:gd name="T8" fmla="*/ 2 w 18"/>
                  <a:gd name="T9" fmla="*/ 0 h 17"/>
                  <a:gd name="T10" fmla="*/ 12 w 18"/>
                  <a:gd name="T11" fmla="*/ 9 h 17"/>
                  <a:gd name="T12" fmla="*/ 18 w 18"/>
                  <a:gd name="T1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7">
                    <a:moveTo>
                      <a:pt x="18" y="16"/>
                    </a:moveTo>
                    <a:lnTo>
                      <a:pt x="15" y="17"/>
                    </a:lnTo>
                    <a:lnTo>
                      <a:pt x="7" y="13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12" y="9"/>
                    </a:lnTo>
                    <a:lnTo>
                      <a:pt x="18" y="1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9" name="Freeform 179"/>
              <p:cNvSpPr>
                <a:spLocks/>
              </p:cNvSpPr>
              <p:nvPr/>
            </p:nvSpPr>
            <p:spPr bwMode="auto">
              <a:xfrm>
                <a:off x="3797300" y="3578225"/>
                <a:ext cx="87313" cy="107950"/>
              </a:xfrm>
              <a:custGeom>
                <a:avLst/>
                <a:gdLst>
                  <a:gd name="T0" fmla="*/ 33 w 55"/>
                  <a:gd name="T1" fmla="*/ 68 h 68"/>
                  <a:gd name="T2" fmla="*/ 28 w 55"/>
                  <a:gd name="T3" fmla="*/ 66 h 68"/>
                  <a:gd name="T4" fmla="*/ 15 w 55"/>
                  <a:gd name="T5" fmla="*/ 58 h 68"/>
                  <a:gd name="T6" fmla="*/ 5 w 55"/>
                  <a:gd name="T7" fmla="*/ 46 h 68"/>
                  <a:gd name="T8" fmla="*/ 2 w 55"/>
                  <a:gd name="T9" fmla="*/ 39 h 68"/>
                  <a:gd name="T10" fmla="*/ 0 w 55"/>
                  <a:gd name="T11" fmla="*/ 23 h 68"/>
                  <a:gd name="T12" fmla="*/ 10 w 55"/>
                  <a:gd name="T13" fmla="*/ 14 h 68"/>
                  <a:gd name="T14" fmla="*/ 12 w 55"/>
                  <a:gd name="T15" fmla="*/ 8 h 68"/>
                  <a:gd name="T16" fmla="*/ 15 w 55"/>
                  <a:gd name="T17" fmla="*/ 4 h 68"/>
                  <a:gd name="T18" fmla="*/ 20 w 55"/>
                  <a:gd name="T19" fmla="*/ 4 h 68"/>
                  <a:gd name="T20" fmla="*/ 24 w 55"/>
                  <a:gd name="T21" fmla="*/ 0 h 68"/>
                  <a:gd name="T22" fmla="*/ 39 w 55"/>
                  <a:gd name="T23" fmla="*/ 0 h 68"/>
                  <a:gd name="T24" fmla="*/ 44 w 55"/>
                  <a:gd name="T25" fmla="*/ 7 h 68"/>
                  <a:gd name="T26" fmla="*/ 48 w 55"/>
                  <a:gd name="T27" fmla="*/ 16 h 68"/>
                  <a:gd name="T28" fmla="*/ 47 w 55"/>
                  <a:gd name="T29" fmla="*/ 22 h 68"/>
                  <a:gd name="T30" fmla="*/ 50 w 55"/>
                  <a:gd name="T31" fmla="*/ 27 h 68"/>
                  <a:gd name="T32" fmla="*/ 50 w 55"/>
                  <a:gd name="T33" fmla="*/ 35 h 68"/>
                  <a:gd name="T34" fmla="*/ 55 w 55"/>
                  <a:gd name="T35" fmla="*/ 34 h 68"/>
                  <a:gd name="T36" fmla="*/ 46 w 55"/>
                  <a:gd name="T37" fmla="*/ 43 h 68"/>
                  <a:gd name="T38" fmla="*/ 38 w 55"/>
                  <a:gd name="T39" fmla="*/ 55 h 68"/>
                  <a:gd name="T40" fmla="*/ 37 w 55"/>
                  <a:gd name="T41" fmla="*/ 61 h 68"/>
                  <a:gd name="T42" fmla="*/ 33 w 55"/>
                  <a:gd name="T43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5" h="68">
                    <a:moveTo>
                      <a:pt x="33" y="68"/>
                    </a:moveTo>
                    <a:lnTo>
                      <a:pt x="28" y="66"/>
                    </a:lnTo>
                    <a:lnTo>
                      <a:pt x="15" y="58"/>
                    </a:lnTo>
                    <a:lnTo>
                      <a:pt x="5" y="46"/>
                    </a:lnTo>
                    <a:lnTo>
                      <a:pt x="2" y="39"/>
                    </a:lnTo>
                    <a:lnTo>
                      <a:pt x="0" y="23"/>
                    </a:lnTo>
                    <a:lnTo>
                      <a:pt x="10" y="14"/>
                    </a:lnTo>
                    <a:lnTo>
                      <a:pt x="12" y="8"/>
                    </a:lnTo>
                    <a:lnTo>
                      <a:pt x="15" y="4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39" y="0"/>
                    </a:lnTo>
                    <a:lnTo>
                      <a:pt x="44" y="7"/>
                    </a:lnTo>
                    <a:lnTo>
                      <a:pt x="48" y="16"/>
                    </a:lnTo>
                    <a:lnTo>
                      <a:pt x="47" y="22"/>
                    </a:lnTo>
                    <a:lnTo>
                      <a:pt x="50" y="27"/>
                    </a:lnTo>
                    <a:lnTo>
                      <a:pt x="50" y="35"/>
                    </a:lnTo>
                    <a:lnTo>
                      <a:pt x="55" y="34"/>
                    </a:lnTo>
                    <a:lnTo>
                      <a:pt x="46" y="43"/>
                    </a:lnTo>
                    <a:lnTo>
                      <a:pt x="38" y="55"/>
                    </a:lnTo>
                    <a:lnTo>
                      <a:pt x="37" y="61"/>
                    </a:lnTo>
                    <a:lnTo>
                      <a:pt x="33" y="68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0" name="Freeform 180"/>
              <p:cNvSpPr>
                <a:spLocks/>
              </p:cNvSpPr>
              <p:nvPr/>
            </p:nvSpPr>
            <p:spPr bwMode="auto">
              <a:xfrm>
                <a:off x="1574800" y="3433762"/>
                <a:ext cx="69850" cy="41275"/>
              </a:xfrm>
              <a:custGeom>
                <a:avLst/>
                <a:gdLst>
                  <a:gd name="T0" fmla="*/ 42 w 44"/>
                  <a:gd name="T1" fmla="*/ 21 h 26"/>
                  <a:gd name="T2" fmla="*/ 39 w 44"/>
                  <a:gd name="T3" fmla="*/ 26 h 26"/>
                  <a:gd name="T4" fmla="*/ 29 w 44"/>
                  <a:gd name="T5" fmla="*/ 26 h 26"/>
                  <a:gd name="T6" fmla="*/ 22 w 44"/>
                  <a:gd name="T7" fmla="*/ 24 h 26"/>
                  <a:gd name="T8" fmla="*/ 15 w 44"/>
                  <a:gd name="T9" fmla="*/ 20 h 26"/>
                  <a:gd name="T10" fmla="*/ 5 w 44"/>
                  <a:gd name="T11" fmla="*/ 18 h 26"/>
                  <a:gd name="T12" fmla="*/ 0 w 44"/>
                  <a:gd name="T13" fmla="*/ 14 h 26"/>
                  <a:gd name="T14" fmla="*/ 1 w 44"/>
                  <a:gd name="T15" fmla="*/ 11 h 26"/>
                  <a:gd name="T16" fmla="*/ 8 w 44"/>
                  <a:gd name="T17" fmla="*/ 6 h 26"/>
                  <a:gd name="T18" fmla="*/ 12 w 44"/>
                  <a:gd name="T19" fmla="*/ 3 h 26"/>
                  <a:gd name="T20" fmla="*/ 11 w 44"/>
                  <a:gd name="T21" fmla="*/ 1 h 26"/>
                  <a:gd name="T22" fmla="*/ 15 w 44"/>
                  <a:gd name="T23" fmla="*/ 0 h 26"/>
                  <a:gd name="T24" fmla="*/ 20 w 44"/>
                  <a:gd name="T25" fmla="*/ 1 h 26"/>
                  <a:gd name="T26" fmla="*/ 24 w 44"/>
                  <a:gd name="T27" fmla="*/ 6 h 26"/>
                  <a:gd name="T28" fmla="*/ 29 w 44"/>
                  <a:gd name="T29" fmla="*/ 9 h 26"/>
                  <a:gd name="T30" fmla="*/ 29 w 44"/>
                  <a:gd name="T31" fmla="*/ 12 h 26"/>
                  <a:gd name="T32" fmla="*/ 38 w 44"/>
                  <a:gd name="T33" fmla="*/ 9 h 26"/>
                  <a:gd name="T34" fmla="*/ 41 w 44"/>
                  <a:gd name="T35" fmla="*/ 11 h 26"/>
                  <a:gd name="T36" fmla="*/ 44 w 44"/>
                  <a:gd name="T37" fmla="*/ 13 h 26"/>
                  <a:gd name="T38" fmla="*/ 42 w 44"/>
                  <a:gd name="T39" fmla="*/ 2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4" h="26">
                    <a:moveTo>
                      <a:pt x="42" y="21"/>
                    </a:moveTo>
                    <a:lnTo>
                      <a:pt x="39" y="26"/>
                    </a:lnTo>
                    <a:lnTo>
                      <a:pt x="29" y="26"/>
                    </a:lnTo>
                    <a:lnTo>
                      <a:pt x="22" y="24"/>
                    </a:lnTo>
                    <a:lnTo>
                      <a:pt x="15" y="20"/>
                    </a:lnTo>
                    <a:lnTo>
                      <a:pt x="5" y="18"/>
                    </a:lnTo>
                    <a:lnTo>
                      <a:pt x="0" y="14"/>
                    </a:lnTo>
                    <a:lnTo>
                      <a:pt x="1" y="11"/>
                    </a:lnTo>
                    <a:lnTo>
                      <a:pt x="8" y="6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15" y="0"/>
                    </a:lnTo>
                    <a:lnTo>
                      <a:pt x="20" y="1"/>
                    </a:lnTo>
                    <a:lnTo>
                      <a:pt x="24" y="6"/>
                    </a:lnTo>
                    <a:lnTo>
                      <a:pt x="29" y="9"/>
                    </a:lnTo>
                    <a:lnTo>
                      <a:pt x="29" y="12"/>
                    </a:lnTo>
                    <a:lnTo>
                      <a:pt x="38" y="9"/>
                    </a:lnTo>
                    <a:lnTo>
                      <a:pt x="41" y="11"/>
                    </a:lnTo>
                    <a:lnTo>
                      <a:pt x="44" y="13"/>
                    </a:lnTo>
                    <a:lnTo>
                      <a:pt x="42" y="21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1" name="Freeform 181"/>
              <p:cNvSpPr>
                <a:spLocks/>
              </p:cNvSpPr>
              <p:nvPr/>
            </p:nvSpPr>
            <p:spPr bwMode="auto">
              <a:xfrm>
                <a:off x="5418137" y="3530600"/>
                <a:ext cx="185738" cy="114300"/>
              </a:xfrm>
              <a:custGeom>
                <a:avLst/>
                <a:gdLst>
                  <a:gd name="T0" fmla="*/ 117 w 117"/>
                  <a:gd name="T1" fmla="*/ 42 h 72"/>
                  <a:gd name="T2" fmla="*/ 109 w 117"/>
                  <a:gd name="T3" fmla="*/ 55 h 72"/>
                  <a:gd name="T4" fmla="*/ 97 w 117"/>
                  <a:gd name="T5" fmla="*/ 72 h 72"/>
                  <a:gd name="T6" fmla="*/ 82 w 117"/>
                  <a:gd name="T7" fmla="*/ 72 h 72"/>
                  <a:gd name="T8" fmla="*/ 21 w 117"/>
                  <a:gd name="T9" fmla="*/ 47 h 72"/>
                  <a:gd name="T10" fmla="*/ 14 w 117"/>
                  <a:gd name="T11" fmla="*/ 40 h 72"/>
                  <a:gd name="T12" fmla="*/ 7 w 117"/>
                  <a:gd name="T13" fmla="*/ 30 h 72"/>
                  <a:gd name="T14" fmla="*/ 0 w 117"/>
                  <a:gd name="T15" fmla="*/ 19 h 72"/>
                  <a:gd name="T16" fmla="*/ 3 w 117"/>
                  <a:gd name="T17" fmla="*/ 11 h 72"/>
                  <a:gd name="T18" fmla="*/ 10 w 117"/>
                  <a:gd name="T19" fmla="*/ 0 h 72"/>
                  <a:gd name="T20" fmla="*/ 16 w 117"/>
                  <a:gd name="T21" fmla="*/ 4 h 72"/>
                  <a:gd name="T22" fmla="*/ 20 w 117"/>
                  <a:gd name="T23" fmla="*/ 13 h 72"/>
                  <a:gd name="T24" fmla="*/ 28 w 117"/>
                  <a:gd name="T25" fmla="*/ 21 h 72"/>
                  <a:gd name="T26" fmla="*/ 37 w 117"/>
                  <a:gd name="T27" fmla="*/ 21 h 72"/>
                  <a:gd name="T28" fmla="*/ 54 w 117"/>
                  <a:gd name="T29" fmla="*/ 16 h 72"/>
                  <a:gd name="T30" fmla="*/ 74 w 117"/>
                  <a:gd name="T31" fmla="*/ 14 h 72"/>
                  <a:gd name="T32" fmla="*/ 90 w 117"/>
                  <a:gd name="T33" fmla="*/ 7 h 72"/>
                  <a:gd name="T34" fmla="*/ 99 w 117"/>
                  <a:gd name="T35" fmla="*/ 6 h 72"/>
                  <a:gd name="T36" fmla="*/ 105 w 117"/>
                  <a:gd name="T37" fmla="*/ 2 h 72"/>
                  <a:gd name="T38" fmla="*/ 116 w 117"/>
                  <a:gd name="T39" fmla="*/ 1 h 72"/>
                  <a:gd name="T40" fmla="*/ 116 w 117"/>
                  <a:gd name="T41" fmla="*/ 2 h 72"/>
                  <a:gd name="T42" fmla="*/ 116 w 117"/>
                  <a:gd name="T43" fmla="*/ 10 h 72"/>
                  <a:gd name="T44" fmla="*/ 117 w 117"/>
                  <a:gd name="T45" fmla="*/ 31 h 72"/>
                  <a:gd name="T46" fmla="*/ 117 w 117"/>
                  <a:gd name="T47" fmla="*/ 4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17" h="72">
                    <a:moveTo>
                      <a:pt x="117" y="42"/>
                    </a:moveTo>
                    <a:lnTo>
                      <a:pt x="109" y="55"/>
                    </a:lnTo>
                    <a:lnTo>
                      <a:pt x="97" y="72"/>
                    </a:lnTo>
                    <a:lnTo>
                      <a:pt x="82" y="72"/>
                    </a:lnTo>
                    <a:lnTo>
                      <a:pt x="21" y="47"/>
                    </a:lnTo>
                    <a:lnTo>
                      <a:pt x="14" y="40"/>
                    </a:lnTo>
                    <a:lnTo>
                      <a:pt x="7" y="30"/>
                    </a:lnTo>
                    <a:lnTo>
                      <a:pt x="0" y="19"/>
                    </a:lnTo>
                    <a:lnTo>
                      <a:pt x="3" y="11"/>
                    </a:lnTo>
                    <a:lnTo>
                      <a:pt x="10" y="0"/>
                    </a:lnTo>
                    <a:lnTo>
                      <a:pt x="16" y="4"/>
                    </a:lnTo>
                    <a:lnTo>
                      <a:pt x="20" y="13"/>
                    </a:lnTo>
                    <a:lnTo>
                      <a:pt x="28" y="21"/>
                    </a:lnTo>
                    <a:lnTo>
                      <a:pt x="37" y="21"/>
                    </a:lnTo>
                    <a:lnTo>
                      <a:pt x="54" y="16"/>
                    </a:lnTo>
                    <a:lnTo>
                      <a:pt x="74" y="14"/>
                    </a:lnTo>
                    <a:lnTo>
                      <a:pt x="90" y="7"/>
                    </a:lnTo>
                    <a:lnTo>
                      <a:pt x="99" y="6"/>
                    </a:lnTo>
                    <a:lnTo>
                      <a:pt x="105" y="2"/>
                    </a:lnTo>
                    <a:lnTo>
                      <a:pt x="116" y="1"/>
                    </a:lnTo>
                    <a:lnTo>
                      <a:pt x="116" y="2"/>
                    </a:lnTo>
                    <a:lnTo>
                      <a:pt x="116" y="10"/>
                    </a:lnTo>
                    <a:lnTo>
                      <a:pt x="117" y="31"/>
                    </a:lnTo>
                    <a:lnTo>
                      <a:pt x="117" y="4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2" name="Freeform 182"/>
              <p:cNvSpPr>
                <a:spLocks/>
              </p:cNvSpPr>
              <p:nvPr/>
            </p:nvSpPr>
            <p:spPr bwMode="auto">
              <a:xfrm>
                <a:off x="5376862" y="3513137"/>
                <a:ext cx="287338" cy="450850"/>
              </a:xfrm>
              <a:custGeom>
                <a:avLst/>
                <a:gdLst>
                  <a:gd name="T0" fmla="*/ 156 w 181"/>
                  <a:gd name="T1" fmla="*/ 9 h 284"/>
                  <a:gd name="T2" fmla="*/ 166 w 181"/>
                  <a:gd name="T3" fmla="*/ 7 h 284"/>
                  <a:gd name="T4" fmla="*/ 174 w 181"/>
                  <a:gd name="T5" fmla="*/ 0 h 284"/>
                  <a:gd name="T6" fmla="*/ 181 w 181"/>
                  <a:gd name="T7" fmla="*/ 0 h 284"/>
                  <a:gd name="T8" fmla="*/ 181 w 181"/>
                  <a:gd name="T9" fmla="*/ 5 h 284"/>
                  <a:gd name="T10" fmla="*/ 180 w 181"/>
                  <a:gd name="T11" fmla="*/ 18 h 284"/>
                  <a:gd name="T12" fmla="*/ 181 w 181"/>
                  <a:gd name="T13" fmla="*/ 28 h 284"/>
                  <a:gd name="T14" fmla="*/ 177 w 181"/>
                  <a:gd name="T15" fmla="*/ 36 h 284"/>
                  <a:gd name="T16" fmla="*/ 173 w 181"/>
                  <a:gd name="T17" fmla="*/ 58 h 284"/>
                  <a:gd name="T18" fmla="*/ 165 w 181"/>
                  <a:gd name="T19" fmla="*/ 81 h 284"/>
                  <a:gd name="T20" fmla="*/ 154 w 181"/>
                  <a:gd name="T21" fmla="*/ 108 h 284"/>
                  <a:gd name="T22" fmla="*/ 139 w 181"/>
                  <a:gd name="T23" fmla="*/ 139 h 284"/>
                  <a:gd name="T24" fmla="*/ 124 w 181"/>
                  <a:gd name="T25" fmla="*/ 162 h 284"/>
                  <a:gd name="T26" fmla="*/ 103 w 181"/>
                  <a:gd name="T27" fmla="*/ 190 h 284"/>
                  <a:gd name="T28" fmla="*/ 85 w 181"/>
                  <a:gd name="T29" fmla="*/ 207 h 284"/>
                  <a:gd name="T30" fmla="*/ 57 w 181"/>
                  <a:gd name="T31" fmla="*/ 228 h 284"/>
                  <a:gd name="T32" fmla="*/ 40 w 181"/>
                  <a:gd name="T33" fmla="*/ 243 h 284"/>
                  <a:gd name="T34" fmla="*/ 20 w 181"/>
                  <a:gd name="T35" fmla="*/ 269 h 284"/>
                  <a:gd name="T36" fmla="*/ 15 w 181"/>
                  <a:gd name="T37" fmla="*/ 280 h 284"/>
                  <a:gd name="T38" fmla="*/ 11 w 181"/>
                  <a:gd name="T39" fmla="*/ 284 h 284"/>
                  <a:gd name="T40" fmla="*/ 1 w 181"/>
                  <a:gd name="T41" fmla="*/ 267 h 284"/>
                  <a:gd name="T42" fmla="*/ 0 w 181"/>
                  <a:gd name="T43" fmla="*/ 191 h 284"/>
                  <a:gd name="T44" fmla="*/ 16 w 181"/>
                  <a:gd name="T45" fmla="*/ 168 h 284"/>
                  <a:gd name="T46" fmla="*/ 21 w 181"/>
                  <a:gd name="T47" fmla="*/ 161 h 284"/>
                  <a:gd name="T48" fmla="*/ 33 w 181"/>
                  <a:gd name="T49" fmla="*/ 161 h 284"/>
                  <a:gd name="T50" fmla="*/ 49 w 181"/>
                  <a:gd name="T51" fmla="*/ 146 h 284"/>
                  <a:gd name="T52" fmla="*/ 73 w 181"/>
                  <a:gd name="T53" fmla="*/ 146 h 284"/>
                  <a:gd name="T54" fmla="*/ 123 w 181"/>
                  <a:gd name="T55" fmla="*/ 83 h 284"/>
                  <a:gd name="T56" fmla="*/ 135 w 181"/>
                  <a:gd name="T57" fmla="*/ 66 h 284"/>
                  <a:gd name="T58" fmla="*/ 143 w 181"/>
                  <a:gd name="T59" fmla="*/ 53 h 284"/>
                  <a:gd name="T60" fmla="*/ 143 w 181"/>
                  <a:gd name="T61" fmla="*/ 42 h 284"/>
                  <a:gd name="T62" fmla="*/ 142 w 181"/>
                  <a:gd name="T63" fmla="*/ 21 h 284"/>
                  <a:gd name="T64" fmla="*/ 142 w 181"/>
                  <a:gd name="T65" fmla="*/ 13 h 284"/>
                  <a:gd name="T66" fmla="*/ 142 w 181"/>
                  <a:gd name="T67" fmla="*/ 12 h 284"/>
                  <a:gd name="T68" fmla="*/ 148 w 181"/>
                  <a:gd name="T69" fmla="*/ 12 h 284"/>
                  <a:gd name="T70" fmla="*/ 156 w 181"/>
                  <a:gd name="T71" fmla="*/ 9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81" h="284">
                    <a:moveTo>
                      <a:pt x="156" y="9"/>
                    </a:moveTo>
                    <a:lnTo>
                      <a:pt x="166" y="7"/>
                    </a:lnTo>
                    <a:lnTo>
                      <a:pt x="174" y="0"/>
                    </a:lnTo>
                    <a:lnTo>
                      <a:pt x="181" y="0"/>
                    </a:lnTo>
                    <a:lnTo>
                      <a:pt x="181" y="5"/>
                    </a:lnTo>
                    <a:lnTo>
                      <a:pt x="180" y="18"/>
                    </a:lnTo>
                    <a:lnTo>
                      <a:pt x="181" y="28"/>
                    </a:lnTo>
                    <a:lnTo>
                      <a:pt x="177" y="36"/>
                    </a:lnTo>
                    <a:lnTo>
                      <a:pt x="173" y="58"/>
                    </a:lnTo>
                    <a:lnTo>
                      <a:pt x="165" y="81"/>
                    </a:lnTo>
                    <a:lnTo>
                      <a:pt x="154" y="108"/>
                    </a:lnTo>
                    <a:lnTo>
                      <a:pt x="139" y="139"/>
                    </a:lnTo>
                    <a:lnTo>
                      <a:pt x="124" y="162"/>
                    </a:lnTo>
                    <a:lnTo>
                      <a:pt x="103" y="190"/>
                    </a:lnTo>
                    <a:lnTo>
                      <a:pt x="85" y="207"/>
                    </a:lnTo>
                    <a:lnTo>
                      <a:pt x="57" y="228"/>
                    </a:lnTo>
                    <a:lnTo>
                      <a:pt x="40" y="243"/>
                    </a:lnTo>
                    <a:lnTo>
                      <a:pt x="20" y="269"/>
                    </a:lnTo>
                    <a:lnTo>
                      <a:pt x="15" y="280"/>
                    </a:lnTo>
                    <a:lnTo>
                      <a:pt x="11" y="284"/>
                    </a:lnTo>
                    <a:lnTo>
                      <a:pt x="1" y="267"/>
                    </a:lnTo>
                    <a:lnTo>
                      <a:pt x="0" y="191"/>
                    </a:lnTo>
                    <a:lnTo>
                      <a:pt x="16" y="168"/>
                    </a:lnTo>
                    <a:lnTo>
                      <a:pt x="21" y="161"/>
                    </a:lnTo>
                    <a:lnTo>
                      <a:pt x="33" y="161"/>
                    </a:lnTo>
                    <a:lnTo>
                      <a:pt x="49" y="146"/>
                    </a:lnTo>
                    <a:lnTo>
                      <a:pt x="73" y="146"/>
                    </a:lnTo>
                    <a:lnTo>
                      <a:pt x="123" y="83"/>
                    </a:lnTo>
                    <a:lnTo>
                      <a:pt x="135" y="66"/>
                    </a:lnTo>
                    <a:lnTo>
                      <a:pt x="143" y="53"/>
                    </a:lnTo>
                    <a:lnTo>
                      <a:pt x="143" y="42"/>
                    </a:lnTo>
                    <a:lnTo>
                      <a:pt x="142" y="21"/>
                    </a:lnTo>
                    <a:lnTo>
                      <a:pt x="142" y="13"/>
                    </a:lnTo>
                    <a:lnTo>
                      <a:pt x="142" y="12"/>
                    </a:lnTo>
                    <a:lnTo>
                      <a:pt x="148" y="12"/>
                    </a:lnTo>
                    <a:lnTo>
                      <a:pt x="156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3" name="Freeform 183"/>
              <p:cNvSpPr>
                <a:spLocks/>
              </p:cNvSpPr>
              <p:nvPr/>
            </p:nvSpPr>
            <p:spPr bwMode="auto">
              <a:xfrm>
                <a:off x="4672012" y="2390775"/>
                <a:ext cx="117475" cy="127000"/>
              </a:xfrm>
              <a:custGeom>
                <a:avLst/>
                <a:gdLst>
                  <a:gd name="T0" fmla="*/ 35 w 74"/>
                  <a:gd name="T1" fmla="*/ 15 h 80"/>
                  <a:gd name="T2" fmla="*/ 45 w 74"/>
                  <a:gd name="T3" fmla="*/ 20 h 80"/>
                  <a:gd name="T4" fmla="*/ 47 w 74"/>
                  <a:gd name="T5" fmla="*/ 28 h 80"/>
                  <a:gd name="T6" fmla="*/ 58 w 74"/>
                  <a:gd name="T7" fmla="*/ 34 h 80"/>
                  <a:gd name="T8" fmla="*/ 62 w 74"/>
                  <a:gd name="T9" fmla="*/ 30 h 80"/>
                  <a:gd name="T10" fmla="*/ 67 w 74"/>
                  <a:gd name="T11" fmla="*/ 32 h 80"/>
                  <a:gd name="T12" fmla="*/ 63 w 74"/>
                  <a:gd name="T13" fmla="*/ 36 h 80"/>
                  <a:gd name="T14" fmla="*/ 66 w 74"/>
                  <a:gd name="T15" fmla="*/ 39 h 80"/>
                  <a:gd name="T16" fmla="*/ 63 w 74"/>
                  <a:gd name="T17" fmla="*/ 44 h 80"/>
                  <a:gd name="T18" fmla="*/ 65 w 74"/>
                  <a:gd name="T19" fmla="*/ 52 h 80"/>
                  <a:gd name="T20" fmla="*/ 74 w 74"/>
                  <a:gd name="T21" fmla="*/ 60 h 80"/>
                  <a:gd name="T22" fmla="*/ 68 w 74"/>
                  <a:gd name="T23" fmla="*/ 67 h 80"/>
                  <a:gd name="T24" fmla="*/ 66 w 74"/>
                  <a:gd name="T25" fmla="*/ 73 h 80"/>
                  <a:gd name="T26" fmla="*/ 68 w 74"/>
                  <a:gd name="T27" fmla="*/ 76 h 80"/>
                  <a:gd name="T28" fmla="*/ 66 w 74"/>
                  <a:gd name="T29" fmla="*/ 79 h 80"/>
                  <a:gd name="T30" fmla="*/ 58 w 74"/>
                  <a:gd name="T31" fmla="*/ 79 h 80"/>
                  <a:gd name="T32" fmla="*/ 52 w 74"/>
                  <a:gd name="T33" fmla="*/ 80 h 80"/>
                  <a:gd name="T34" fmla="*/ 52 w 74"/>
                  <a:gd name="T35" fmla="*/ 79 h 80"/>
                  <a:gd name="T36" fmla="*/ 54 w 74"/>
                  <a:gd name="T37" fmla="*/ 76 h 80"/>
                  <a:gd name="T38" fmla="*/ 55 w 74"/>
                  <a:gd name="T39" fmla="*/ 71 h 80"/>
                  <a:gd name="T40" fmla="*/ 53 w 74"/>
                  <a:gd name="T41" fmla="*/ 71 h 80"/>
                  <a:gd name="T42" fmla="*/ 49 w 74"/>
                  <a:gd name="T43" fmla="*/ 67 h 80"/>
                  <a:gd name="T44" fmla="*/ 46 w 74"/>
                  <a:gd name="T45" fmla="*/ 66 h 80"/>
                  <a:gd name="T46" fmla="*/ 44 w 74"/>
                  <a:gd name="T47" fmla="*/ 63 h 80"/>
                  <a:gd name="T48" fmla="*/ 40 w 74"/>
                  <a:gd name="T49" fmla="*/ 62 h 80"/>
                  <a:gd name="T50" fmla="*/ 38 w 74"/>
                  <a:gd name="T51" fmla="*/ 59 h 80"/>
                  <a:gd name="T52" fmla="*/ 35 w 74"/>
                  <a:gd name="T53" fmla="*/ 60 h 80"/>
                  <a:gd name="T54" fmla="*/ 33 w 74"/>
                  <a:gd name="T55" fmla="*/ 67 h 80"/>
                  <a:gd name="T56" fmla="*/ 29 w 74"/>
                  <a:gd name="T57" fmla="*/ 68 h 80"/>
                  <a:gd name="T58" fmla="*/ 31 w 74"/>
                  <a:gd name="T59" fmla="*/ 67 h 80"/>
                  <a:gd name="T60" fmla="*/ 24 w 74"/>
                  <a:gd name="T61" fmla="*/ 63 h 80"/>
                  <a:gd name="T62" fmla="*/ 18 w 74"/>
                  <a:gd name="T63" fmla="*/ 60 h 80"/>
                  <a:gd name="T64" fmla="*/ 16 w 74"/>
                  <a:gd name="T65" fmla="*/ 57 h 80"/>
                  <a:gd name="T66" fmla="*/ 11 w 74"/>
                  <a:gd name="T67" fmla="*/ 54 h 80"/>
                  <a:gd name="T68" fmla="*/ 15 w 74"/>
                  <a:gd name="T69" fmla="*/ 53 h 80"/>
                  <a:gd name="T70" fmla="*/ 16 w 74"/>
                  <a:gd name="T71" fmla="*/ 43 h 80"/>
                  <a:gd name="T72" fmla="*/ 7 w 74"/>
                  <a:gd name="T73" fmla="*/ 35 h 80"/>
                  <a:gd name="T74" fmla="*/ 11 w 74"/>
                  <a:gd name="T75" fmla="*/ 26 h 80"/>
                  <a:gd name="T76" fmla="*/ 5 w 74"/>
                  <a:gd name="T77" fmla="*/ 26 h 80"/>
                  <a:gd name="T78" fmla="*/ 10 w 74"/>
                  <a:gd name="T79" fmla="*/ 19 h 80"/>
                  <a:gd name="T80" fmla="*/ 5 w 74"/>
                  <a:gd name="T81" fmla="*/ 13 h 80"/>
                  <a:gd name="T82" fmla="*/ 0 w 74"/>
                  <a:gd name="T83" fmla="*/ 5 h 80"/>
                  <a:gd name="T84" fmla="*/ 12 w 74"/>
                  <a:gd name="T85" fmla="*/ 0 h 80"/>
                  <a:gd name="T86" fmla="*/ 22 w 74"/>
                  <a:gd name="T87" fmla="*/ 1 h 80"/>
                  <a:gd name="T88" fmla="*/ 32 w 74"/>
                  <a:gd name="T89" fmla="*/ 9 h 80"/>
                  <a:gd name="T90" fmla="*/ 35 w 74"/>
                  <a:gd name="T91" fmla="*/ 1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74" h="80">
                    <a:moveTo>
                      <a:pt x="35" y="15"/>
                    </a:moveTo>
                    <a:lnTo>
                      <a:pt x="45" y="20"/>
                    </a:lnTo>
                    <a:lnTo>
                      <a:pt x="47" y="28"/>
                    </a:lnTo>
                    <a:lnTo>
                      <a:pt x="58" y="34"/>
                    </a:lnTo>
                    <a:lnTo>
                      <a:pt x="62" y="30"/>
                    </a:lnTo>
                    <a:lnTo>
                      <a:pt x="67" y="32"/>
                    </a:lnTo>
                    <a:lnTo>
                      <a:pt x="63" y="36"/>
                    </a:lnTo>
                    <a:lnTo>
                      <a:pt x="66" y="39"/>
                    </a:lnTo>
                    <a:lnTo>
                      <a:pt x="63" y="44"/>
                    </a:lnTo>
                    <a:lnTo>
                      <a:pt x="65" y="52"/>
                    </a:lnTo>
                    <a:lnTo>
                      <a:pt x="74" y="60"/>
                    </a:lnTo>
                    <a:lnTo>
                      <a:pt x="68" y="67"/>
                    </a:lnTo>
                    <a:lnTo>
                      <a:pt x="66" y="73"/>
                    </a:lnTo>
                    <a:lnTo>
                      <a:pt x="68" y="76"/>
                    </a:lnTo>
                    <a:lnTo>
                      <a:pt x="66" y="79"/>
                    </a:lnTo>
                    <a:lnTo>
                      <a:pt x="58" y="79"/>
                    </a:lnTo>
                    <a:lnTo>
                      <a:pt x="52" y="80"/>
                    </a:lnTo>
                    <a:lnTo>
                      <a:pt x="52" y="79"/>
                    </a:lnTo>
                    <a:lnTo>
                      <a:pt x="54" y="76"/>
                    </a:lnTo>
                    <a:lnTo>
                      <a:pt x="55" y="71"/>
                    </a:lnTo>
                    <a:lnTo>
                      <a:pt x="53" y="71"/>
                    </a:lnTo>
                    <a:lnTo>
                      <a:pt x="49" y="67"/>
                    </a:lnTo>
                    <a:lnTo>
                      <a:pt x="46" y="66"/>
                    </a:lnTo>
                    <a:lnTo>
                      <a:pt x="44" y="63"/>
                    </a:lnTo>
                    <a:lnTo>
                      <a:pt x="40" y="62"/>
                    </a:lnTo>
                    <a:lnTo>
                      <a:pt x="38" y="59"/>
                    </a:lnTo>
                    <a:lnTo>
                      <a:pt x="35" y="60"/>
                    </a:lnTo>
                    <a:lnTo>
                      <a:pt x="33" y="67"/>
                    </a:lnTo>
                    <a:lnTo>
                      <a:pt x="29" y="68"/>
                    </a:lnTo>
                    <a:lnTo>
                      <a:pt x="31" y="67"/>
                    </a:lnTo>
                    <a:lnTo>
                      <a:pt x="24" y="63"/>
                    </a:lnTo>
                    <a:lnTo>
                      <a:pt x="18" y="60"/>
                    </a:lnTo>
                    <a:lnTo>
                      <a:pt x="16" y="57"/>
                    </a:lnTo>
                    <a:lnTo>
                      <a:pt x="11" y="54"/>
                    </a:lnTo>
                    <a:lnTo>
                      <a:pt x="15" y="53"/>
                    </a:lnTo>
                    <a:lnTo>
                      <a:pt x="16" y="43"/>
                    </a:lnTo>
                    <a:lnTo>
                      <a:pt x="7" y="35"/>
                    </a:lnTo>
                    <a:lnTo>
                      <a:pt x="11" y="26"/>
                    </a:lnTo>
                    <a:lnTo>
                      <a:pt x="5" y="26"/>
                    </a:lnTo>
                    <a:lnTo>
                      <a:pt x="10" y="19"/>
                    </a:lnTo>
                    <a:lnTo>
                      <a:pt x="5" y="13"/>
                    </a:lnTo>
                    <a:lnTo>
                      <a:pt x="0" y="5"/>
                    </a:lnTo>
                    <a:lnTo>
                      <a:pt x="12" y="0"/>
                    </a:lnTo>
                    <a:lnTo>
                      <a:pt x="22" y="1"/>
                    </a:lnTo>
                    <a:lnTo>
                      <a:pt x="32" y="9"/>
                    </a:lnTo>
                    <a:lnTo>
                      <a:pt x="35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4" name="Freeform 184"/>
              <p:cNvSpPr>
                <a:spLocks/>
              </p:cNvSpPr>
              <p:nvPr/>
            </p:nvSpPr>
            <p:spPr bwMode="auto">
              <a:xfrm>
                <a:off x="2490787" y="3709988"/>
                <a:ext cx="119063" cy="139700"/>
              </a:xfrm>
              <a:custGeom>
                <a:avLst/>
                <a:gdLst>
                  <a:gd name="T0" fmla="*/ 17 w 75"/>
                  <a:gd name="T1" fmla="*/ 1 h 88"/>
                  <a:gd name="T2" fmla="*/ 39 w 75"/>
                  <a:gd name="T3" fmla="*/ 5 h 88"/>
                  <a:gd name="T4" fmla="*/ 41 w 75"/>
                  <a:gd name="T5" fmla="*/ 2 h 88"/>
                  <a:gd name="T6" fmla="*/ 56 w 75"/>
                  <a:gd name="T7" fmla="*/ 0 h 88"/>
                  <a:gd name="T8" fmla="*/ 75 w 75"/>
                  <a:gd name="T9" fmla="*/ 6 h 88"/>
                  <a:gd name="T10" fmla="*/ 65 w 75"/>
                  <a:gd name="T11" fmla="*/ 24 h 88"/>
                  <a:gd name="T12" fmla="*/ 66 w 75"/>
                  <a:gd name="T13" fmla="*/ 38 h 88"/>
                  <a:gd name="T14" fmla="*/ 74 w 75"/>
                  <a:gd name="T15" fmla="*/ 50 h 88"/>
                  <a:gd name="T16" fmla="*/ 70 w 75"/>
                  <a:gd name="T17" fmla="*/ 59 h 88"/>
                  <a:gd name="T18" fmla="*/ 68 w 75"/>
                  <a:gd name="T19" fmla="*/ 69 h 88"/>
                  <a:gd name="T20" fmla="*/ 64 w 75"/>
                  <a:gd name="T21" fmla="*/ 77 h 88"/>
                  <a:gd name="T22" fmla="*/ 53 w 75"/>
                  <a:gd name="T23" fmla="*/ 73 h 88"/>
                  <a:gd name="T24" fmla="*/ 45 w 75"/>
                  <a:gd name="T25" fmla="*/ 75 h 88"/>
                  <a:gd name="T26" fmla="*/ 37 w 75"/>
                  <a:gd name="T27" fmla="*/ 73 h 88"/>
                  <a:gd name="T28" fmla="*/ 35 w 75"/>
                  <a:gd name="T29" fmla="*/ 79 h 88"/>
                  <a:gd name="T30" fmla="*/ 38 w 75"/>
                  <a:gd name="T31" fmla="*/ 83 h 88"/>
                  <a:gd name="T32" fmla="*/ 37 w 75"/>
                  <a:gd name="T33" fmla="*/ 88 h 88"/>
                  <a:gd name="T34" fmla="*/ 27 w 75"/>
                  <a:gd name="T35" fmla="*/ 86 h 88"/>
                  <a:gd name="T36" fmla="*/ 16 w 75"/>
                  <a:gd name="T37" fmla="*/ 68 h 88"/>
                  <a:gd name="T38" fmla="*/ 13 w 75"/>
                  <a:gd name="T39" fmla="*/ 56 h 88"/>
                  <a:gd name="T40" fmla="*/ 7 w 75"/>
                  <a:gd name="T41" fmla="*/ 56 h 88"/>
                  <a:gd name="T42" fmla="*/ 0 w 75"/>
                  <a:gd name="T43" fmla="*/ 41 h 88"/>
                  <a:gd name="T44" fmla="*/ 3 w 75"/>
                  <a:gd name="T45" fmla="*/ 30 h 88"/>
                  <a:gd name="T46" fmla="*/ 2 w 75"/>
                  <a:gd name="T47" fmla="*/ 25 h 88"/>
                  <a:gd name="T48" fmla="*/ 13 w 75"/>
                  <a:gd name="T49" fmla="*/ 20 h 88"/>
                  <a:gd name="T50" fmla="*/ 17 w 75"/>
                  <a:gd name="T51" fmla="*/ 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75" h="88">
                    <a:moveTo>
                      <a:pt x="17" y="1"/>
                    </a:moveTo>
                    <a:lnTo>
                      <a:pt x="39" y="5"/>
                    </a:lnTo>
                    <a:lnTo>
                      <a:pt x="41" y="2"/>
                    </a:lnTo>
                    <a:lnTo>
                      <a:pt x="56" y="0"/>
                    </a:lnTo>
                    <a:lnTo>
                      <a:pt x="75" y="6"/>
                    </a:lnTo>
                    <a:lnTo>
                      <a:pt x="65" y="24"/>
                    </a:lnTo>
                    <a:lnTo>
                      <a:pt x="66" y="38"/>
                    </a:lnTo>
                    <a:lnTo>
                      <a:pt x="74" y="50"/>
                    </a:lnTo>
                    <a:lnTo>
                      <a:pt x="70" y="59"/>
                    </a:lnTo>
                    <a:lnTo>
                      <a:pt x="68" y="69"/>
                    </a:lnTo>
                    <a:lnTo>
                      <a:pt x="64" y="77"/>
                    </a:lnTo>
                    <a:lnTo>
                      <a:pt x="53" y="73"/>
                    </a:lnTo>
                    <a:lnTo>
                      <a:pt x="45" y="75"/>
                    </a:lnTo>
                    <a:lnTo>
                      <a:pt x="37" y="73"/>
                    </a:lnTo>
                    <a:lnTo>
                      <a:pt x="35" y="79"/>
                    </a:lnTo>
                    <a:lnTo>
                      <a:pt x="38" y="83"/>
                    </a:lnTo>
                    <a:lnTo>
                      <a:pt x="37" y="88"/>
                    </a:lnTo>
                    <a:lnTo>
                      <a:pt x="27" y="86"/>
                    </a:lnTo>
                    <a:lnTo>
                      <a:pt x="16" y="68"/>
                    </a:lnTo>
                    <a:lnTo>
                      <a:pt x="13" y="56"/>
                    </a:lnTo>
                    <a:lnTo>
                      <a:pt x="7" y="56"/>
                    </a:lnTo>
                    <a:lnTo>
                      <a:pt x="0" y="41"/>
                    </a:lnTo>
                    <a:lnTo>
                      <a:pt x="3" y="30"/>
                    </a:lnTo>
                    <a:lnTo>
                      <a:pt x="2" y="25"/>
                    </a:lnTo>
                    <a:lnTo>
                      <a:pt x="13" y="20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5" name="Freeform 185"/>
              <p:cNvSpPr>
                <a:spLocks/>
              </p:cNvSpPr>
              <p:nvPr/>
            </p:nvSpPr>
            <p:spPr bwMode="auto">
              <a:xfrm>
                <a:off x="4614862" y="2281237"/>
                <a:ext cx="142875" cy="57150"/>
              </a:xfrm>
              <a:custGeom>
                <a:avLst/>
                <a:gdLst>
                  <a:gd name="T0" fmla="*/ 29 w 90"/>
                  <a:gd name="T1" fmla="*/ 1 h 36"/>
                  <a:gd name="T2" fmla="*/ 30 w 90"/>
                  <a:gd name="T3" fmla="*/ 3 h 36"/>
                  <a:gd name="T4" fmla="*/ 37 w 90"/>
                  <a:gd name="T5" fmla="*/ 0 h 36"/>
                  <a:gd name="T6" fmla="*/ 45 w 90"/>
                  <a:gd name="T7" fmla="*/ 7 h 36"/>
                  <a:gd name="T8" fmla="*/ 54 w 90"/>
                  <a:gd name="T9" fmla="*/ 3 h 36"/>
                  <a:gd name="T10" fmla="*/ 62 w 90"/>
                  <a:gd name="T11" fmla="*/ 4 h 36"/>
                  <a:gd name="T12" fmla="*/ 74 w 90"/>
                  <a:gd name="T13" fmla="*/ 2 h 36"/>
                  <a:gd name="T14" fmla="*/ 90 w 90"/>
                  <a:gd name="T15" fmla="*/ 10 h 36"/>
                  <a:gd name="T16" fmla="*/ 86 w 90"/>
                  <a:gd name="T17" fmla="*/ 15 h 36"/>
                  <a:gd name="T18" fmla="*/ 84 w 90"/>
                  <a:gd name="T19" fmla="*/ 23 h 36"/>
                  <a:gd name="T20" fmla="*/ 81 w 90"/>
                  <a:gd name="T21" fmla="*/ 25 h 36"/>
                  <a:gd name="T22" fmla="*/ 63 w 90"/>
                  <a:gd name="T23" fmla="*/ 19 h 36"/>
                  <a:gd name="T24" fmla="*/ 57 w 90"/>
                  <a:gd name="T25" fmla="*/ 20 h 36"/>
                  <a:gd name="T26" fmla="*/ 54 w 90"/>
                  <a:gd name="T27" fmla="*/ 25 h 36"/>
                  <a:gd name="T28" fmla="*/ 47 w 90"/>
                  <a:gd name="T29" fmla="*/ 27 h 36"/>
                  <a:gd name="T30" fmla="*/ 45 w 90"/>
                  <a:gd name="T31" fmla="*/ 26 h 36"/>
                  <a:gd name="T32" fmla="*/ 37 w 90"/>
                  <a:gd name="T33" fmla="*/ 29 h 36"/>
                  <a:gd name="T34" fmla="*/ 31 w 90"/>
                  <a:gd name="T35" fmla="*/ 30 h 36"/>
                  <a:gd name="T36" fmla="*/ 30 w 90"/>
                  <a:gd name="T37" fmla="*/ 34 h 36"/>
                  <a:gd name="T38" fmla="*/ 17 w 90"/>
                  <a:gd name="T39" fmla="*/ 36 h 36"/>
                  <a:gd name="T40" fmla="*/ 11 w 90"/>
                  <a:gd name="T41" fmla="*/ 34 h 36"/>
                  <a:gd name="T42" fmla="*/ 2 w 90"/>
                  <a:gd name="T43" fmla="*/ 29 h 36"/>
                  <a:gd name="T44" fmla="*/ 0 w 90"/>
                  <a:gd name="T45" fmla="*/ 22 h 36"/>
                  <a:gd name="T46" fmla="*/ 1 w 90"/>
                  <a:gd name="T47" fmla="*/ 19 h 36"/>
                  <a:gd name="T48" fmla="*/ 2 w 90"/>
                  <a:gd name="T49" fmla="*/ 15 h 36"/>
                  <a:gd name="T50" fmla="*/ 10 w 90"/>
                  <a:gd name="T51" fmla="*/ 15 h 36"/>
                  <a:gd name="T52" fmla="*/ 15 w 90"/>
                  <a:gd name="T53" fmla="*/ 13 h 36"/>
                  <a:gd name="T54" fmla="*/ 15 w 90"/>
                  <a:gd name="T55" fmla="*/ 11 h 36"/>
                  <a:gd name="T56" fmla="*/ 18 w 90"/>
                  <a:gd name="T57" fmla="*/ 10 h 36"/>
                  <a:gd name="T58" fmla="*/ 19 w 90"/>
                  <a:gd name="T59" fmla="*/ 6 h 36"/>
                  <a:gd name="T60" fmla="*/ 22 w 90"/>
                  <a:gd name="T61" fmla="*/ 5 h 36"/>
                  <a:gd name="T62" fmla="*/ 25 w 90"/>
                  <a:gd name="T63" fmla="*/ 1 h 36"/>
                  <a:gd name="T64" fmla="*/ 29 w 90"/>
                  <a:gd name="T65" fmla="*/ 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0" h="36">
                    <a:moveTo>
                      <a:pt x="29" y="1"/>
                    </a:moveTo>
                    <a:lnTo>
                      <a:pt x="30" y="3"/>
                    </a:lnTo>
                    <a:lnTo>
                      <a:pt x="37" y="0"/>
                    </a:lnTo>
                    <a:lnTo>
                      <a:pt x="45" y="7"/>
                    </a:lnTo>
                    <a:lnTo>
                      <a:pt x="54" y="3"/>
                    </a:lnTo>
                    <a:lnTo>
                      <a:pt x="62" y="4"/>
                    </a:lnTo>
                    <a:lnTo>
                      <a:pt x="74" y="2"/>
                    </a:lnTo>
                    <a:lnTo>
                      <a:pt x="90" y="10"/>
                    </a:lnTo>
                    <a:lnTo>
                      <a:pt x="86" y="15"/>
                    </a:lnTo>
                    <a:lnTo>
                      <a:pt x="84" y="23"/>
                    </a:lnTo>
                    <a:lnTo>
                      <a:pt x="81" y="25"/>
                    </a:lnTo>
                    <a:lnTo>
                      <a:pt x="63" y="19"/>
                    </a:lnTo>
                    <a:lnTo>
                      <a:pt x="57" y="20"/>
                    </a:lnTo>
                    <a:lnTo>
                      <a:pt x="54" y="25"/>
                    </a:lnTo>
                    <a:lnTo>
                      <a:pt x="47" y="27"/>
                    </a:lnTo>
                    <a:lnTo>
                      <a:pt x="45" y="26"/>
                    </a:lnTo>
                    <a:lnTo>
                      <a:pt x="37" y="29"/>
                    </a:lnTo>
                    <a:lnTo>
                      <a:pt x="31" y="30"/>
                    </a:lnTo>
                    <a:lnTo>
                      <a:pt x="30" y="34"/>
                    </a:lnTo>
                    <a:lnTo>
                      <a:pt x="17" y="36"/>
                    </a:lnTo>
                    <a:lnTo>
                      <a:pt x="11" y="34"/>
                    </a:lnTo>
                    <a:lnTo>
                      <a:pt x="2" y="29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10" y="15"/>
                    </a:lnTo>
                    <a:lnTo>
                      <a:pt x="15" y="13"/>
                    </a:lnTo>
                    <a:lnTo>
                      <a:pt x="15" y="11"/>
                    </a:lnTo>
                    <a:lnTo>
                      <a:pt x="18" y="10"/>
                    </a:lnTo>
                    <a:lnTo>
                      <a:pt x="19" y="6"/>
                    </a:lnTo>
                    <a:lnTo>
                      <a:pt x="22" y="5"/>
                    </a:lnTo>
                    <a:lnTo>
                      <a:pt x="25" y="1"/>
                    </a:lnTo>
                    <a:lnTo>
                      <a:pt x="29" y="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6" name="Freeform 186"/>
              <p:cNvSpPr>
                <a:spLocks/>
              </p:cNvSpPr>
              <p:nvPr/>
            </p:nvSpPr>
            <p:spPr bwMode="auto">
              <a:xfrm>
                <a:off x="4538662" y="2368550"/>
                <a:ext cx="73025" cy="46038"/>
              </a:xfrm>
              <a:custGeom>
                <a:avLst/>
                <a:gdLst>
                  <a:gd name="T0" fmla="*/ 1 w 46"/>
                  <a:gd name="T1" fmla="*/ 7 h 29"/>
                  <a:gd name="T2" fmla="*/ 15 w 46"/>
                  <a:gd name="T3" fmla="*/ 9 h 29"/>
                  <a:gd name="T4" fmla="*/ 22 w 46"/>
                  <a:gd name="T5" fmla="*/ 4 h 29"/>
                  <a:gd name="T6" fmla="*/ 37 w 46"/>
                  <a:gd name="T7" fmla="*/ 3 h 29"/>
                  <a:gd name="T8" fmla="*/ 39 w 46"/>
                  <a:gd name="T9" fmla="*/ 0 h 29"/>
                  <a:gd name="T10" fmla="*/ 42 w 46"/>
                  <a:gd name="T11" fmla="*/ 0 h 29"/>
                  <a:gd name="T12" fmla="*/ 46 w 46"/>
                  <a:gd name="T13" fmla="*/ 7 h 29"/>
                  <a:gd name="T14" fmla="*/ 33 w 46"/>
                  <a:gd name="T15" fmla="*/ 12 h 29"/>
                  <a:gd name="T16" fmla="*/ 32 w 46"/>
                  <a:gd name="T17" fmla="*/ 21 h 29"/>
                  <a:gd name="T18" fmla="*/ 27 w 46"/>
                  <a:gd name="T19" fmla="*/ 23 h 29"/>
                  <a:gd name="T20" fmla="*/ 27 w 46"/>
                  <a:gd name="T21" fmla="*/ 29 h 29"/>
                  <a:gd name="T22" fmla="*/ 21 w 46"/>
                  <a:gd name="T23" fmla="*/ 28 h 29"/>
                  <a:gd name="T24" fmla="*/ 15 w 46"/>
                  <a:gd name="T25" fmla="*/ 25 h 29"/>
                  <a:gd name="T26" fmla="*/ 12 w 46"/>
                  <a:gd name="T27" fmla="*/ 28 h 29"/>
                  <a:gd name="T28" fmla="*/ 1 w 46"/>
                  <a:gd name="T29" fmla="*/ 28 h 29"/>
                  <a:gd name="T30" fmla="*/ 4 w 46"/>
                  <a:gd name="T31" fmla="*/ 26 h 29"/>
                  <a:gd name="T32" fmla="*/ 0 w 46"/>
                  <a:gd name="T33" fmla="*/ 17 h 29"/>
                  <a:gd name="T34" fmla="*/ 1 w 46"/>
                  <a:gd name="T35" fmla="*/ 7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29">
                    <a:moveTo>
                      <a:pt x="1" y="7"/>
                    </a:moveTo>
                    <a:lnTo>
                      <a:pt x="15" y="9"/>
                    </a:lnTo>
                    <a:lnTo>
                      <a:pt x="22" y="4"/>
                    </a:lnTo>
                    <a:lnTo>
                      <a:pt x="37" y="3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6" y="7"/>
                    </a:lnTo>
                    <a:lnTo>
                      <a:pt x="33" y="12"/>
                    </a:lnTo>
                    <a:lnTo>
                      <a:pt x="32" y="21"/>
                    </a:lnTo>
                    <a:lnTo>
                      <a:pt x="27" y="23"/>
                    </a:lnTo>
                    <a:lnTo>
                      <a:pt x="27" y="29"/>
                    </a:lnTo>
                    <a:lnTo>
                      <a:pt x="21" y="28"/>
                    </a:lnTo>
                    <a:lnTo>
                      <a:pt x="15" y="25"/>
                    </a:lnTo>
                    <a:lnTo>
                      <a:pt x="12" y="28"/>
                    </a:lnTo>
                    <a:lnTo>
                      <a:pt x="1" y="28"/>
                    </a:lnTo>
                    <a:lnTo>
                      <a:pt x="4" y="26"/>
                    </a:lnTo>
                    <a:lnTo>
                      <a:pt x="0" y="17"/>
                    </a:lnTo>
                    <a:lnTo>
                      <a:pt x="1" y="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7" name="Freeform 187"/>
              <p:cNvSpPr>
                <a:spLocks/>
              </p:cNvSpPr>
              <p:nvPr/>
            </p:nvSpPr>
            <p:spPr bwMode="auto">
              <a:xfrm>
                <a:off x="4441825" y="1685925"/>
                <a:ext cx="263525" cy="411163"/>
              </a:xfrm>
              <a:custGeom>
                <a:avLst/>
                <a:gdLst>
                  <a:gd name="T0" fmla="*/ 144 w 166"/>
                  <a:gd name="T1" fmla="*/ 61 h 259"/>
                  <a:gd name="T2" fmla="*/ 132 w 166"/>
                  <a:gd name="T3" fmla="*/ 73 h 259"/>
                  <a:gd name="T4" fmla="*/ 137 w 166"/>
                  <a:gd name="T5" fmla="*/ 84 h 259"/>
                  <a:gd name="T6" fmla="*/ 117 w 166"/>
                  <a:gd name="T7" fmla="*/ 100 h 259"/>
                  <a:gd name="T8" fmla="*/ 92 w 166"/>
                  <a:gd name="T9" fmla="*/ 116 h 259"/>
                  <a:gd name="T10" fmla="*/ 85 w 166"/>
                  <a:gd name="T11" fmla="*/ 142 h 259"/>
                  <a:gd name="T12" fmla="*/ 97 w 166"/>
                  <a:gd name="T13" fmla="*/ 156 h 259"/>
                  <a:gd name="T14" fmla="*/ 112 w 166"/>
                  <a:gd name="T15" fmla="*/ 166 h 259"/>
                  <a:gd name="T16" fmla="*/ 102 w 166"/>
                  <a:gd name="T17" fmla="*/ 188 h 259"/>
                  <a:gd name="T18" fmla="*/ 87 w 166"/>
                  <a:gd name="T19" fmla="*/ 193 h 259"/>
                  <a:gd name="T20" fmla="*/ 85 w 166"/>
                  <a:gd name="T21" fmla="*/ 226 h 259"/>
                  <a:gd name="T22" fmla="*/ 78 w 166"/>
                  <a:gd name="T23" fmla="*/ 244 h 259"/>
                  <a:gd name="T24" fmla="*/ 59 w 166"/>
                  <a:gd name="T25" fmla="*/ 242 h 259"/>
                  <a:gd name="T26" fmla="*/ 52 w 166"/>
                  <a:gd name="T27" fmla="*/ 258 h 259"/>
                  <a:gd name="T28" fmla="*/ 35 w 166"/>
                  <a:gd name="T29" fmla="*/ 259 h 259"/>
                  <a:gd name="T30" fmla="*/ 28 w 166"/>
                  <a:gd name="T31" fmla="*/ 240 h 259"/>
                  <a:gd name="T32" fmla="*/ 14 w 166"/>
                  <a:gd name="T33" fmla="*/ 218 h 259"/>
                  <a:gd name="T34" fmla="*/ 0 w 166"/>
                  <a:gd name="T35" fmla="*/ 190 h 259"/>
                  <a:gd name="T36" fmla="*/ 6 w 166"/>
                  <a:gd name="T37" fmla="*/ 179 h 259"/>
                  <a:gd name="T38" fmla="*/ 17 w 166"/>
                  <a:gd name="T39" fmla="*/ 166 h 259"/>
                  <a:gd name="T40" fmla="*/ 20 w 166"/>
                  <a:gd name="T41" fmla="*/ 143 h 259"/>
                  <a:gd name="T42" fmla="*/ 10 w 166"/>
                  <a:gd name="T43" fmla="*/ 134 h 259"/>
                  <a:gd name="T44" fmla="*/ 6 w 166"/>
                  <a:gd name="T45" fmla="*/ 109 h 259"/>
                  <a:gd name="T46" fmla="*/ 14 w 166"/>
                  <a:gd name="T47" fmla="*/ 91 h 259"/>
                  <a:gd name="T48" fmla="*/ 28 w 166"/>
                  <a:gd name="T49" fmla="*/ 91 h 259"/>
                  <a:gd name="T50" fmla="*/ 32 w 166"/>
                  <a:gd name="T51" fmla="*/ 84 h 259"/>
                  <a:gd name="T52" fmla="*/ 26 w 166"/>
                  <a:gd name="T53" fmla="*/ 78 h 259"/>
                  <a:gd name="T54" fmla="*/ 45 w 166"/>
                  <a:gd name="T55" fmla="*/ 52 h 259"/>
                  <a:gd name="T56" fmla="*/ 56 w 166"/>
                  <a:gd name="T57" fmla="*/ 32 h 259"/>
                  <a:gd name="T58" fmla="*/ 63 w 166"/>
                  <a:gd name="T59" fmla="*/ 19 h 259"/>
                  <a:gd name="T60" fmla="*/ 76 w 166"/>
                  <a:gd name="T61" fmla="*/ 19 h 259"/>
                  <a:gd name="T62" fmla="*/ 78 w 166"/>
                  <a:gd name="T63" fmla="*/ 9 h 259"/>
                  <a:gd name="T64" fmla="*/ 103 w 166"/>
                  <a:gd name="T65" fmla="*/ 12 h 259"/>
                  <a:gd name="T66" fmla="*/ 103 w 166"/>
                  <a:gd name="T67" fmla="*/ 1 h 259"/>
                  <a:gd name="T68" fmla="*/ 111 w 166"/>
                  <a:gd name="T69" fmla="*/ 0 h 259"/>
                  <a:gd name="T70" fmla="*/ 131 w 166"/>
                  <a:gd name="T71" fmla="*/ 9 h 259"/>
                  <a:gd name="T72" fmla="*/ 154 w 166"/>
                  <a:gd name="T73" fmla="*/ 21 h 259"/>
                  <a:gd name="T74" fmla="*/ 160 w 166"/>
                  <a:gd name="T75" fmla="*/ 48 h 259"/>
                  <a:gd name="T76" fmla="*/ 166 w 166"/>
                  <a:gd name="T77" fmla="*/ 55 h 259"/>
                  <a:gd name="T78" fmla="*/ 144 w 166"/>
                  <a:gd name="T79" fmla="*/ 61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6" h="259">
                    <a:moveTo>
                      <a:pt x="144" y="61"/>
                    </a:moveTo>
                    <a:lnTo>
                      <a:pt x="132" y="73"/>
                    </a:lnTo>
                    <a:lnTo>
                      <a:pt x="137" y="84"/>
                    </a:lnTo>
                    <a:lnTo>
                      <a:pt x="117" y="100"/>
                    </a:lnTo>
                    <a:lnTo>
                      <a:pt x="92" y="116"/>
                    </a:lnTo>
                    <a:lnTo>
                      <a:pt x="85" y="142"/>
                    </a:lnTo>
                    <a:lnTo>
                      <a:pt x="97" y="156"/>
                    </a:lnTo>
                    <a:lnTo>
                      <a:pt x="112" y="166"/>
                    </a:lnTo>
                    <a:lnTo>
                      <a:pt x="102" y="188"/>
                    </a:lnTo>
                    <a:lnTo>
                      <a:pt x="87" y="193"/>
                    </a:lnTo>
                    <a:lnTo>
                      <a:pt x="85" y="226"/>
                    </a:lnTo>
                    <a:lnTo>
                      <a:pt x="78" y="244"/>
                    </a:lnTo>
                    <a:lnTo>
                      <a:pt x="59" y="242"/>
                    </a:lnTo>
                    <a:lnTo>
                      <a:pt x="52" y="258"/>
                    </a:lnTo>
                    <a:lnTo>
                      <a:pt x="35" y="259"/>
                    </a:lnTo>
                    <a:lnTo>
                      <a:pt x="28" y="240"/>
                    </a:lnTo>
                    <a:lnTo>
                      <a:pt x="14" y="218"/>
                    </a:lnTo>
                    <a:lnTo>
                      <a:pt x="0" y="190"/>
                    </a:lnTo>
                    <a:lnTo>
                      <a:pt x="6" y="179"/>
                    </a:lnTo>
                    <a:lnTo>
                      <a:pt x="17" y="166"/>
                    </a:lnTo>
                    <a:lnTo>
                      <a:pt x="20" y="143"/>
                    </a:lnTo>
                    <a:lnTo>
                      <a:pt x="10" y="134"/>
                    </a:lnTo>
                    <a:lnTo>
                      <a:pt x="6" y="109"/>
                    </a:lnTo>
                    <a:lnTo>
                      <a:pt x="14" y="91"/>
                    </a:lnTo>
                    <a:lnTo>
                      <a:pt x="28" y="91"/>
                    </a:lnTo>
                    <a:lnTo>
                      <a:pt x="32" y="84"/>
                    </a:lnTo>
                    <a:lnTo>
                      <a:pt x="26" y="78"/>
                    </a:lnTo>
                    <a:lnTo>
                      <a:pt x="45" y="52"/>
                    </a:lnTo>
                    <a:lnTo>
                      <a:pt x="56" y="32"/>
                    </a:lnTo>
                    <a:lnTo>
                      <a:pt x="63" y="19"/>
                    </a:lnTo>
                    <a:lnTo>
                      <a:pt x="76" y="19"/>
                    </a:lnTo>
                    <a:lnTo>
                      <a:pt x="78" y="9"/>
                    </a:lnTo>
                    <a:lnTo>
                      <a:pt x="103" y="12"/>
                    </a:lnTo>
                    <a:lnTo>
                      <a:pt x="103" y="1"/>
                    </a:lnTo>
                    <a:lnTo>
                      <a:pt x="111" y="0"/>
                    </a:lnTo>
                    <a:lnTo>
                      <a:pt x="131" y="9"/>
                    </a:lnTo>
                    <a:lnTo>
                      <a:pt x="154" y="21"/>
                    </a:lnTo>
                    <a:lnTo>
                      <a:pt x="160" y="48"/>
                    </a:lnTo>
                    <a:lnTo>
                      <a:pt x="166" y="55"/>
                    </a:lnTo>
                    <a:lnTo>
                      <a:pt x="144" y="61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8" name="Freeform 188"/>
              <p:cNvSpPr>
                <a:spLocks/>
              </p:cNvSpPr>
              <p:nvPr/>
            </p:nvSpPr>
            <p:spPr bwMode="auto">
              <a:xfrm>
                <a:off x="5048250" y="4754563"/>
                <a:ext cx="38100" cy="53975"/>
              </a:xfrm>
              <a:custGeom>
                <a:avLst/>
                <a:gdLst>
                  <a:gd name="T0" fmla="*/ 24 w 24"/>
                  <a:gd name="T1" fmla="*/ 23 h 34"/>
                  <a:gd name="T2" fmla="*/ 20 w 24"/>
                  <a:gd name="T3" fmla="*/ 32 h 34"/>
                  <a:gd name="T4" fmla="*/ 10 w 24"/>
                  <a:gd name="T5" fmla="*/ 34 h 34"/>
                  <a:gd name="T6" fmla="*/ 0 w 24"/>
                  <a:gd name="T7" fmla="*/ 23 h 34"/>
                  <a:gd name="T8" fmla="*/ 0 w 24"/>
                  <a:gd name="T9" fmla="*/ 16 h 34"/>
                  <a:gd name="T10" fmla="*/ 6 w 24"/>
                  <a:gd name="T11" fmla="*/ 8 h 34"/>
                  <a:gd name="T12" fmla="*/ 8 w 24"/>
                  <a:gd name="T13" fmla="*/ 2 h 34"/>
                  <a:gd name="T14" fmla="*/ 13 w 24"/>
                  <a:gd name="T15" fmla="*/ 0 h 34"/>
                  <a:gd name="T16" fmla="*/ 22 w 24"/>
                  <a:gd name="T17" fmla="*/ 4 h 34"/>
                  <a:gd name="T18" fmla="*/ 24 w 24"/>
                  <a:gd name="T19" fmla="*/ 14 h 34"/>
                  <a:gd name="T20" fmla="*/ 24 w 24"/>
                  <a:gd name="T21" fmla="*/ 2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34">
                    <a:moveTo>
                      <a:pt x="24" y="23"/>
                    </a:moveTo>
                    <a:lnTo>
                      <a:pt x="20" y="32"/>
                    </a:lnTo>
                    <a:lnTo>
                      <a:pt x="10" y="34"/>
                    </a:lnTo>
                    <a:lnTo>
                      <a:pt x="0" y="23"/>
                    </a:lnTo>
                    <a:lnTo>
                      <a:pt x="0" y="16"/>
                    </a:lnTo>
                    <a:lnTo>
                      <a:pt x="6" y="8"/>
                    </a:lnTo>
                    <a:lnTo>
                      <a:pt x="8" y="2"/>
                    </a:lnTo>
                    <a:lnTo>
                      <a:pt x="13" y="0"/>
                    </a:lnTo>
                    <a:lnTo>
                      <a:pt x="22" y="4"/>
                    </a:lnTo>
                    <a:lnTo>
                      <a:pt x="24" y="14"/>
                    </a:lnTo>
                    <a:lnTo>
                      <a:pt x="24" y="23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99" name="Freeform 189"/>
              <p:cNvSpPr>
                <a:spLocks/>
              </p:cNvSpPr>
              <p:nvPr/>
            </p:nvSpPr>
            <p:spPr bwMode="auto">
              <a:xfrm>
                <a:off x="5165725" y="2682875"/>
                <a:ext cx="168275" cy="160338"/>
              </a:xfrm>
              <a:custGeom>
                <a:avLst/>
                <a:gdLst>
                  <a:gd name="T0" fmla="*/ 56 w 106"/>
                  <a:gd name="T1" fmla="*/ 79 h 101"/>
                  <a:gd name="T2" fmla="*/ 24 w 106"/>
                  <a:gd name="T3" fmla="*/ 101 h 101"/>
                  <a:gd name="T4" fmla="*/ 4 w 106"/>
                  <a:gd name="T5" fmla="*/ 93 h 101"/>
                  <a:gd name="T6" fmla="*/ 3 w 106"/>
                  <a:gd name="T7" fmla="*/ 93 h 101"/>
                  <a:gd name="T8" fmla="*/ 5 w 106"/>
                  <a:gd name="T9" fmla="*/ 90 h 101"/>
                  <a:gd name="T10" fmla="*/ 4 w 106"/>
                  <a:gd name="T11" fmla="*/ 81 h 101"/>
                  <a:gd name="T12" fmla="*/ 7 w 106"/>
                  <a:gd name="T13" fmla="*/ 70 h 101"/>
                  <a:gd name="T14" fmla="*/ 16 w 106"/>
                  <a:gd name="T15" fmla="*/ 62 h 101"/>
                  <a:gd name="T16" fmla="*/ 12 w 106"/>
                  <a:gd name="T17" fmla="*/ 54 h 101"/>
                  <a:gd name="T18" fmla="*/ 4 w 106"/>
                  <a:gd name="T19" fmla="*/ 53 h 101"/>
                  <a:gd name="T20" fmla="*/ 0 w 106"/>
                  <a:gd name="T21" fmla="*/ 37 h 101"/>
                  <a:gd name="T22" fmla="*/ 4 w 106"/>
                  <a:gd name="T23" fmla="*/ 29 h 101"/>
                  <a:gd name="T24" fmla="*/ 8 w 106"/>
                  <a:gd name="T25" fmla="*/ 24 h 101"/>
                  <a:gd name="T26" fmla="*/ 12 w 106"/>
                  <a:gd name="T27" fmla="*/ 20 h 101"/>
                  <a:gd name="T28" fmla="*/ 11 w 106"/>
                  <a:gd name="T29" fmla="*/ 8 h 101"/>
                  <a:gd name="T30" fmla="*/ 17 w 106"/>
                  <a:gd name="T31" fmla="*/ 12 h 101"/>
                  <a:gd name="T32" fmla="*/ 36 w 106"/>
                  <a:gd name="T33" fmla="*/ 6 h 101"/>
                  <a:gd name="T34" fmla="*/ 45 w 106"/>
                  <a:gd name="T35" fmla="*/ 10 h 101"/>
                  <a:gd name="T36" fmla="*/ 59 w 106"/>
                  <a:gd name="T37" fmla="*/ 10 h 101"/>
                  <a:gd name="T38" fmla="*/ 78 w 106"/>
                  <a:gd name="T39" fmla="*/ 3 h 101"/>
                  <a:gd name="T40" fmla="*/ 87 w 106"/>
                  <a:gd name="T41" fmla="*/ 3 h 101"/>
                  <a:gd name="T42" fmla="*/ 106 w 106"/>
                  <a:gd name="T43" fmla="*/ 0 h 101"/>
                  <a:gd name="T44" fmla="*/ 99 w 106"/>
                  <a:gd name="T45" fmla="*/ 13 h 101"/>
                  <a:gd name="T46" fmla="*/ 91 w 106"/>
                  <a:gd name="T47" fmla="*/ 18 h 101"/>
                  <a:gd name="T48" fmla="*/ 94 w 106"/>
                  <a:gd name="T49" fmla="*/ 33 h 101"/>
                  <a:gd name="T50" fmla="*/ 91 w 106"/>
                  <a:gd name="T51" fmla="*/ 58 h 101"/>
                  <a:gd name="T52" fmla="*/ 56 w 106"/>
                  <a:gd name="T53" fmla="*/ 79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6" h="101">
                    <a:moveTo>
                      <a:pt x="56" y="79"/>
                    </a:moveTo>
                    <a:lnTo>
                      <a:pt x="24" y="101"/>
                    </a:lnTo>
                    <a:lnTo>
                      <a:pt x="4" y="93"/>
                    </a:lnTo>
                    <a:lnTo>
                      <a:pt x="3" y="93"/>
                    </a:lnTo>
                    <a:lnTo>
                      <a:pt x="5" y="90"/>
                    </a:lnTo>
                    <a:lnTo>
                      <a:pt x="4" y="81"/>
                    </a:lnTo>
                    <a:lnTo>
                      <a:pt x="7" y="70"/>
                    </a:lnTo>
                    <a:lnTo>
                      <a:pt x="16" y="62"/>
                    </a:lnTo>
                    <a:lnTo>
                      <a:pt x="12" y="54"/>
                    </a:lnTo>
                    <a:lnTo>
                      <a:pt x="4" y="53"/>
                    </a:lnTo>
                    <a:lnTo>
                      <a:pt x="0" y="37"/>
                    </a:lnTo>
                    <a:lnTo>
                      <a:pt x="4" y="29"/>
                    </a:lnTo>
                    <a:lnTo>
                      <a:pt x="8" y="24"/>
                    </a:lnTo>
                    <a:lnTo>
                      <a:pt x="12" y="20"/>
                    </a:lnTo>
                    <a:lnTo>
                      <a:pt x="11" y="8"/>
                    </a:lnTo>
                    <a:lnTo>
                      <a:pt x="17" y="12"/>
                    </a:lnTo>
                    <a:lnTo>
                      <a:pt x="36" y="6"/>
                    </a:lnTo>
                    <a:lnTo>
                      <a:pt x="45" y="10"/>
                    </a:lnTo>
                    <a:lnTo>
                      <a:pt x="59" y="10"/>
                    </a:lnTo>
                    <a:lnTo>
                      <a:pt x="78" y="3"/>
                    </a:lnTo>
                    <a:lnTo>
                      <a:pt x="87" y="3"/>
                    </a:lnTo>
                    <a:lnTo>
                      <a:pt x="106" y="0"/>
                    </a:lnTo>
                    <a:lnTo>
                      <a:pt x="99" y="13"/>
                    </a:lnTo>
                    <a:lnTo>
                      <a:pt x="91" y="18"/>
                    </a:lnTo>
                    <a:lnTo>
                      <a:pt x="94" y="33"/>
                    </a:lnTo>
                    <a:lnTo>
                      <a:pt x="91" y="58"/>
                    </a:lnTo>
                    <a:lnTo>
                      <a:pt x="56" y="7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0" name="Freeform 190"/>
              <p:cNvSpPr>
                <a:spLocks/>
              </p:cNvSpPr>
              <p:nvPr/>
            </p:nvSpPr>
            <p:spPr bwMode="auto">
              <a:xfrm>
                <a:off x="4573587" y="3136900"/>
                <a:ext cx="298450" cy="527050"/>
              </a:xfrm>
              <a:custGeom>
                <a:avLst/>
                <a:gdLst>
                  <a:gd name="T0" fmla="*/ 18 w 188"/>
                  <a:gd name="T1" fmla="*/ 219 h 332"/>
                  <a:gd name="T2" fmla="*/ 19 w 188"/>
                  <a:gd name="T3" fmla="*/ 209 h 332"/>
                  <a:gd name="T4" fmla="*/ 8 w 188"/>
                  <a:gd name="T5" fmla="*/ 209 h 332"/>
                  <a:gd name="T6" fmla="*/ 8 w 188"/>
                  <a:gd name="T7" fmla="*/ 196 h 332"/>
                  <a:gd name="T8" fmla="*/ 0 w 188"/>
                  <a:gd name="T9" fmla="*/ 188 h 332"/>
                  <a:gd name="T10" fmla="*/ 7 w 188"/>
                  <a:gd name="T11" fmla="*/ 161 h 332"/>
                  <a:gd name="T12" fmla="*/ 30 w 188"/>
                  <a:gd name="T13" fmla="*/ 141 h 332"/>
                  <a:gd name="T14" fmla="*/ 30 w 188"/>
                  <a:gd name="T15" fmla="*/ 114 h 332"/>
                  <a:gd name="T16" fmla="*/ 37 w 188"/>
                  <a:gd name="T17" fmla="*/ 72 h 332"/>
                  <a:gd name="T18" fmla="*/ 40 w 188"/>
                  <a:gd name="T19" fmla="*/ 63 h 332"/>
                  <a:gd name="T20" fmla="*/ 33 w 188"/>
                  <a:gd name="T21" fmla="*/ 56 h 332"/>
                  <a:gd name="T22" fmla="*/ 32 w 188"/>
                  <a:gd name="T23" fmla="*/ 49 h 332"/>
                  <a:gd name="T24" fmla="*/ 25 w 188"/>
                  <a:gd name="T25" fmla="*/ 44 h 332"/>
                  <a:gd name="T26" fmla="*/ 20 w 188"/>
                  <a:gd name="T27" fmla="*/ 11 h 332"/>
                  <a:gd name="T28" fmla="*/ 38 w 188"/>
                  <a:gd name="T29" fmla="*/ 0 h 332"/>
                  <a:gd name="T30" fmla="*/ 111 w 188"/>
                  <a:gd name="T31" fmla="*/ 40 h 332"/>
                  <a:gd name="T32" fmla="*/ 184 w 188"/>
                  <a:gd name="T33" fmla="*/ 80 h 332"/>
                  <a:gd name="T34" fmla="*/ 188 w 188"/>
                  <a:gd name="T35" fmla="*/ 162 h 332"/>
                  <a:gd name="T36" fmla="*/ 172 w 188"/>
                  <a:gd name="T37" fmla="*/ 161 h 332"/>
                  <a:gd name="T38" fmla="*/ 164 w 188"/>
                  <a:gd name="T39" fmla="*/ 176 h 332"/>
                  <a:gd name="T40" fmla="*/ 160 w 188"/>
                  <a:gd name="T41" fmla="*/ 189 h 332"/>
                  <a:gd name="T42" fmla="*/ 163 w 188"/>
                  <a:gd name="T43" fmla="*/ 194 h 332"/>
                  <a:gd name="T44" fmla="*/ 158 w 188"/>
                  <a:gd name="T45" fmla="*/ 200 h 332"/>
                  <a:gd name="T46" fmla="*/ 160 w 188"/>
                  <a:gd name="T47" fmla="*/ 209 h 332"/>
                  <a:gd name="T48" fmla="*/ 155 w 188"/>
                  <a:gd name="T49" fmla="*/ 217 h 332"/>
                  <a:gd name="T50" fmla="*/ 154 w 188"/>
                  <a:gd name="T51" fmla="*/ 225 h 332"/>
                  <a:gd name="T52" fmla="*/ 160 w 188"/>
                  <a:gd name="T53" fmla="*/ 224 h 332"/>
                  <a:gd name="T54" fmla="*/ 164 w 188"/>
                  <a:gd name="T55" fmla="*/ 232 h 332"/>
                  <a:gd name="T56" fmla="*/ 164 w 188"/>
                  <a:gd name="T57" fmla="*/ 244 h 332"/>
                  <a:gd name="T58" fmla="*/ 171 w 188"/>
                  <a:gd name="T59" fmla="*/ 250 h 332"/>
                  <a:gd name="T60" fmla="*/ 171 w 188"/>
                  <a:gd name="T61" fmla="*/ 255 h 332"/>
                  <a:gd name="T62" fmla="*/ 160 w 188"/>
                  <a:gd name="T63" fmla="*/ 258 h 332"/>
                  <a:gd name="T64" fmla="*/ 151 w 188"/>
                  <a:gd name="T65" fmla="*/ 267 h 332"/>
                  <a:gd name="T66" fmla="*/ 138 w 188"/>
                  <a:gd name="T67" fmla="*/ 290 h 332"/>
                  <a:gd name="T68" fmla="*/ 121 w 188"/>
                  <a:gd name="T69" fmla="*/ 299 h 332"/>
                  <a:gd name="T70" fmla="*/ 103 w 188"/>
                  <a:gd name="T71" fmla="*/ 298 h 332"/>
                  <a:gd name="T72" fmla="*/ 98 w 188"/>
                  <a:gd name="T73" fmla="*/ 300 h 332"/>
                  <a:gd name="T74" fmla="*/ 100 w 188"/>
                  <a:gd name="T75" fmla="*/ 307 h 332"/>
                  <a:gd name="T76" fmla="*/ 90 w 188"/>
                  <a:gd name="T77" fmla="*/ 314 h 332"/>
                  <a:gd name="T78" fmla="*/ 83 w 188"/>
                  <a:gd name="T79" fmla="*/ 323 h 332"/>
                  <a:gd name="T80" fmla="*/ 59 w 188"/>
                  <a:gd name="T81" fmla="*/ 330 h 332"/>
                  <a:gd name="T82" fmla="*/ 55 w 188"/>
                  <a:gd name="T83" fmla="*/ 326 h 332"/>
                  <a:gd name="T84" fmla="*/ 52 w 188"/>
                  <a:gd name="T85" fmla="*/ 325 h 332"/>
                  <a:gd name="T86" fmla="*/ 48 w 188"/>
                  <a:gd name="T87" fmla="*/ 331 h 332"/>
                  <a:gd name="T88" fmla="*/ 33 w 188"/>
                  <a:gd name="T89" fmla="*/ 332 h 332"/>
                  <a:gd name="T90" fmla="*/ 36 w 188"/>
                  <a:gd name="T91" fmla="*/ 326 h 332"/>
                  <a:gd name="T92" fmla="*/ 30 w 188"/>
                  <a:gd name="T93" fmla="*/ 312 h 332"/>
                  <a:gd name="T94" fmla="*/ 28 w 188"/>
                  <a:gd name="T95" fmla="*/ 304 h 332"/>
                  <a:gd name="T96" fmla="*/ 20 w 188"/>
                  <a:gd name="T97" fmla="*/ 300 h 332"/>
                  <a:gd name="T98" fmla="*/ 9 w 188"/>
                  <a:gd name="T99" fmla="*/ 288 h 332"/>
                  <a:gd name="T100" fmla="*/ 13 w 188"/>
                  <a:gd name="T101" fmla="*/ 278 h 332"/>
                  <a:gd name="T102" fmla="*/ 21 w 188"/>
                  <a:gd name="T103" fmla="*/ 280 h 332"/>
                  <a:gd name="T104" fmla="*/ 26 w 188"/>
                  <a:gd name="T105" fmla="*/ 279 h 332"/>
                  <a:gd name="T106" fmla="*/ 36 w 188"/>
                  <a:gd name="T107" fmla="*/ 279 h 332"/>
                  <a:gd name="T108" fmla="*/ 26 w 188"/>
                  <a:gd name="T109" fmla="*/ 260 h 332"/>
                  <a:gd name="T110" fmla="*/ 27 w 188"/>
                  <a:gd name="T111" fmla="*/ 246 h 332"/>
                  <a:gd name="T112" fmla="*/ 25 w 188"/>
                  <a:gd name="T113" fmla="*/ 233 h 332"/>
                  <a:gd name="T114" fmla="*/ 18 w 188"/>
                  <a:gd name="T115" fmla="*/ 219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8" h="332">
                    <a:moveTo>
                      <a:pt x="18" y="219"/>
                    </a:moveTo>
                    <a:lnTo>
                      <a:pt x="19" y="209"/>
                    </a:lnTo>
                    <a:lnTo>
                      <a:pt x="8" y="209"/>
                    </a:lnTo>
                    <a:lnTo>
                      <a:pt x="8" y="196"/>
                    </a:lnTo>
                    <a:lnTo>
                      <a:pt x="0" y="188"/>
                    </a:lnTo>
                    <a:lnTo>
                      <a:pt x="7" y="161"/>
                    </a:lnTo>
                    <a:lnTo>
                      <a:pt x="30" y="141"/>
                    </a:lnTo>
                    <a:lnTo>
                      <a:pt x="30" y="114"/>
                    </a:lnTo>
                    <a:lnTo>
                      <a:pt x="37" y="72"/>
                    </a:lnTo>
                    <a:lnTo>
                      <a:pt x="40" y="63"/>
                    </a:lnTo>
                    <a:lnTo>
                      <a:pt x="33" y="56"/>
                    </a:lnTo>
                    <a:lnTo>
                      <a:pt x="32" y="49"/>
                    </a:lnTo>
                    <a:lnTo>
                      <a:pt x="25" y="44"/>
                    </a:lnTo>
                    <a:lnTo>
                      <a:pt x="20" y="11"/>
                    </a:lnTo>
                    <a:lnTo>
                      <a:pt x="38" y="0"/>
                    </a:lnTo>
                    <a:lnTo>
                      <a:pt x="111" y="40"/>
                    </a:lnTo>
                    <a:lnTo>
                      <a:pt x="184" y="80"/>
                    </a:lnTo>
                    <a:lnTo>
                      <a:pt x="188" y="162"/>
                    </a:lnTo>
                    <a:lnTo>
                      <a:pt x="172" y="161"/>
                    </a:lnTo>
                    <a:lnTo>
                      <a:pt x="164" y="176"/>
                    </a:lnTo>
                    <a:lnTo>
                      <a:pt x="160" y="189"/>
                    </a:lnTo>
                    <a:lnTo>
                      <a:pt x="163" y="194"/>
                    </a:lnTo>
                    <a:lnTo>
                      <a:pt x="158" y="200"/>
                    </a:lnTo>
                    <a:lnTo>
                      <a:pt x="160" y="209"/>
                    </a:lnTo>
                    <a:lnTo>
                      <a:pt x="155" y="217"/>
                    </a:lnTo>
                    <a:lnTo>
                      <a:pt x="154" y="225"/>
                    </a:lnTo>
                    <a:lnTo>
                      <a:pt x="160" y="224"/>
                    </a:lnTo>
                    <a:lnTo>
                      <a:pt x="164" y="232"/>
                    </a:lnTo>
                    <a:lnTo>
                      <a:pt x="164" y="244"/>
                    </a:lnTo>
                    <a:lnTo>
                      <a:pt x="171" y="250"/>
                    </a:lnTo>
                    <a:lnTo>
                      <a:pt x="171" y="255"/>
                    </a:lnTo>
                    <a:lnTo>
                      <a:pt x="160" y="258"/>
                    </a:lnTo>
                    <a:lnTo>
                      <a:pt x="151" y="267"/>
                    </a:lnTo>
                    <a:lnTo>
                      <a:pt x="138" y="290"/>
                    </a:lnTo>
                    <a:lnTo>
                      <a:pt x="121" y="299"/>
                    </a:lnTo>
                    <a:lnTo>
                      <a:pt x="103" y="298"/>
                    </a:lnTo>
                    <a:lnTo>
                      <a:pt x="98" y="300"/>
                    </a:lnTo>
                    <a:lnTo>
                      <a:pt x="100" y="307"/>
                    </a:lnTo>
                    <a:lnTo>
                      <a:pt x="90" y="314"/>
                    </a:lnTo>
                    <a:lnTo>
                      <a:pt x="83" y="323"/>
                    </a:lnTo>
                    <a:lnTo>
                      <a:pt x="59" y="330"/>
                    </a:lnTo>
                    <a:lnTo>
                      <a:pt x="55" y="326"/>
                    </a:lnTo>
                    <a:lnTo>
                      <a:pt x="52" y="325"/>
                    </a:lnTo>
                    <a:lnTo>
                      <a:pt x="48" y="331"/>
                    </a:lnTo>
                    <a:lnTo>
                      <a:pt x="33" y="332"/>
                    </a:lnTo>
                    <a:lnTo>
                      <a:pt x="36" y="326"/>
                    </a:lnTo>
                    <a:lnTo>
                      <a:pt x="30" y="312"/>
                    </a:lnTo>
                    <a:lnTo>
                      <a:pt x="28" y="304"/>
                    </a:lnTo>
                    <a:lnTo>
                      <a:pt x="20" y="300"/>
                    </a:lnTo>
                    <a:lnTo>
                      <a:pt x="9" y="288"/>
                    </a:lnTo>
                    <a:lnTo>
                      <a:pt x="13" y="278"/>
                    </a:lnTo>
                    <a:lnTo>
                      <a:pt x="21" y="280"/>
                    </a:lnTo>
                    <a:lnTo>
                      <a:pt x="26" y="279"/>
                    </a:lnTo>
                    <a:lnTo>
                      <a:pt x="36" y="279"/>
                    </a:lnTo>
                    <a:lnTo>
                      <a:pt x="26" y="260"/>
                    </a:lnTo>
                    <a:lnTo>
                      <a:pt x="27" y="246"/>
                    </a:lnTo>
                    <a:lnTo>
                      <a:pt x="25" y="233"/>
                    </a:lnTo>
                    <a:lnTo>
                      <a:pt x="18" y="21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1" name="Freeform 191"/>
              <p:cNvSpPr>
                <a:spLocks/>
              </p:cNvSpPr>
              <p:nvPr/>
            </p:nvSpPr>
            <p:spPr bwMode="auto">
              <a:xfrm>
                <a:off x="4179887" y="3544888"/>
                <a:ext cx="55563" cy="168275"/>
              </a:xfrm>
              <a:custGeom>
                <a:avLst/>
                <a:gdLst>
                  <a:gd name="T0" fmla="*/ 35 w 35"/>
                  <a:gd name="T1" fmla="*/ 102 h 106"/>
                  <a:gd name="T2" fmla="*/ 21 w 35"/>
                  <a:gd name="T3" fmla="*/ 106 h 106"/>
                  <a:gd name="T4" fmla="*/ 17 w 35"/>
                  <a:gd name="T5" fmla="*/ 99 h 106"/>
                  <a:gd name="T6" fmla="*/ 12 w 35"/>
                  <a:gd name="T7" fmla="*/ 86 h 106"/>
                  <a:gd name="T8" fmla="*/ 10 w 35"/>
                  <a:gd name="T9" fmla="*/ 75 h 106"/>
                  <a:gd name="T10" fmla="*/ 14 w 35"/>
                  <a:gd name="T11" fmla="*/ 57 h 106"/>
                  <a:gd name="T12" fmla="*/ 10 w 35"/>
                  <a:gd name="T13" fmla="*/ 49 h 106"/>
                  <a:gd name="T14" fmla="*/ 8 w 35"/>
                  <a:gd name="T15" fmla="*/ 33 h 106"/>
                  <a:gd name="T16" fmla="*/ 8 w 35"/>
                  <a:gd name="T17" fmla="*/ 18 h 106"/>
                  <a:gd name="T18" fmla="*/ 0 w 35"/>
                  <a:gd name="T19" fmla="*/ 7 h 106"/>
                  <a:gd name="T20" fmla="*/ 2 w 35"/>
                  <a:gd name="T21" fmla="*/ 0 h 106"/>
                  <a:gd name="T22" fmla="*/ 18 w 35"/>
                  <a:gd name="T23" fmla="*/ 1 h 106"/>
                  <a:gd name="T24" fmla="*/ 15 w 35"/>
                  <a:gd name="T25" fmla="*/ 12 h 106"/>
                  <a:gd name="T26" fmla="*/ 21 w 35"/>
                  <a:gd name="T27" fmla="*/ 18 h 106"/>
                  <a:gd name="T28" fmla="*/ 27 w 35"/>
                  <a:gd name="T29" fmla="*/ 25 h 106"/>
                  <a:gd name="T30" fmla="*/ 28 w 35"/>
                  <a:gd name="T31" fmla="*/ 36 h 106"/>
                  <a:gd name="T32" fmla="*/ 32 w 35"/>
                  <a:gd name="T33" fmla="*/ 40 h 106"/>
                  <a:gd name="T34" fmla="*/ 31 w 35"/>
                  <a:gd name="T35" fmla="*/ 88 h 106"/>
                  <a:gd name="T36" fmla="*/ 35 w 35"/>
                  <a:gd name="T37" fmla="*/ 10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5" h="106">
                    <a:moveTo>
                      <a:pt x="35" y="102"/>
                    </a:moveTo>
                    <a:lnTo>
                      <a:pt x="21" y="106"/>
                    </a:lnTo>
                    <a:lnTo>
                      <a:pt x="17" y="99"/>
                    </a:lnTo>
                    <a:lnTo>
                      <a:pt x="12" y="86"/>
                    </a:lnTo>
                    <a:lnTo>
                      <a:pt x="10" y="75"/>
                    </a:lnTo>
                    <a:lnTo>
                      <a:pt x="14" y="57"/>
                    </a:lnTo>
                    <a:lnTo>
                      <a:pt x="10" y="49"/>
                    </a:lnTo>
                    <a:lnTo>
                      <a:pt x="8" y="33"/>
                    </a:lnTo>
                    <a:lnTo>
                      <a:pt x="8" y="18"/>
                    </a:lnTo>
                    <a:lnTo>
                      <a:pt x="0" y="7"/>
                    </a:lnTo>
                    <a:lnTo>
                      <a:pt x="2" y="0"/>
                    </a:lnTo>
                    <a:lnTo>
                      <a:pt x="18" y="1"/>
                    </a:lnTo>
                    <a:lnTo>
                      <a:pt x="15" y="12"/>
                    </a:lnTo>
                    <a:lnTo>
                      <a:pt x="21" y="18"/>
                    </a:lnTo>
                    <a:lnTo>
                      <a:pt x="27" y="25"/>
                    </a:lnTo>
                    <a:lnTo>
                      <a:pt x="28" y="36"/>
                    </a:lnTo>
                    <a:lnTo>
                      <a:pt x="32" y="40"/>
                    </a:lnTo>
                    <a:lnTo>
                      <a:pt x="31" y="88"/>
                    </a:lnTo>
                    <a:lnTo>
                      <a:pt x="35" y="10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2" name="Freeform 192"/>
              <p:cNvSpPr>
                <a:spLocks/>
              </p:cNvSpPr>
              <p:nvPr/>
            </p:nvSpPr>
            <p:spPr bwMode="auto">
              <a:xfrm>
                <a:off x="6980237" y="3235325"/>
                <a:ext cx="252413" cy="485775"/>
              </a:xfrm>
              <a:custGeom>
                <a:avLst/>
                <a:gdLst>
                  <a:gd name="T0" fmla="*/ 93 w 159"/>
                  <a:gd name="T1" fmla="*/ 162 h 306"/>
                  <a:gd name="T2" fmla="*/ 78 w 159"/>
                  <a:gd name="T3" fmla="*/ 146 h 306"/>
                  <a:gd name="T4" fmla="*/ 63 w 159"/>
                  <a:gd name="T5" fmla="*/ 169 h 306"/>
                  <a:gd name="T6" fmla="*/ 52 w 159"/>
                  <a:gd name="T7" fmla="*/ 217 h 306"/>
                  <a:gd name="T8" fmla="*/ 66 w 159"/>
                  <a:gd name="T9" fmla="*/ 233 h 306"/>
                  <a:gd name="T10" fmla="*/ 79 w 159"/>
                  <a:gd name="T11" fmla="*/ 270 h 306"/>
                  <a:gd name="T12" fmla="*/ 101 w 159"/>
                  <a:gd name="T13" fmla="*/ 284 h 306"/>
                  <a:gd name="T14" fmla="*/ 106 w 159"/>
                  <a:gd name="T15" fmla="*/ 304 h 306"/>
                  <a:gd name="T16" fmla="*/ 91 w 159"/>
                  <a:gd name="T17" fmla="*/ 295 h 306"/>
                  <a:gd name="T18" fmla="*/ 73 w 159"/>
                  <a:gd name="T19" fmla="*/ 290 h 306"/>
                  <a:gd name="T20" fmla="*/ 62 w 159"/>
                  <a:gd name="T21" fmla="*/ 272 h 306"/>
                  <a:gd name="T22" fmla="*/ 42 w 159"/>
                  <a:gd name="T23" fmla="*/ 250 h 306"/>
                  <a:gd name="T24" fmla="*/ 36 w 159"/>
                  <a:gd name="T25" fmla="*/ 251 h 306"/>
                  <a:gd name="T26" fmla="*/ 41 w 159"/>
                  <a:gd name="T27" fmla="*/ 218 h 306"/>
                  <a:gd name="T28" fmla="*/ 56 w 159"/>
                  <a:gd name="T29" fmla="*/ 177 h 306"/>
                  <a:gd name="T30" fmla="*/ 46 w 159"/>
                  <a:gd name="T31" fmla="*/ 149 h 306"/>
                  <a:gd name="T32" fmla="*/ 29 w 159"/>
                  <a:gd name="T33" fmla="*/ 121 h 306"/>
                  <a:gd name="T34" fmla="*/ 30 w 159"/>
                  <a:gd name="T35" fmla="*/ 106 h 306"/>
                  <a:gd name="T36" fmla="*/ 25 w 159"/>
                  <a:gd name="T37" fmla="*/ 75 h 306"/>
                  <a:gd name="T38" fmla="*/ 0 w 159"/>
                  <a:gd name="T39" fmla="*/ 41 h 306"/>
                  <a:gd name="T40" fmla="*/ 12 w 159"/>
                  <a:gd name="T41" fmla="*/ 15 h 306"/>
                  <a:gd name="T42" fmla="*/ 34 w 159"/>
                  <a:gd name="T43" fmla="*/ 5 h 306"/>
                  <a:gd name="T44" fmla="*/ 52 w 159"/>
                  <a:gd name="T45" fmla="*/ 7 h 306"/>
                  <a:gd name="T46" fmla="*/ 67 w 159"/>
                  <a:gd name="T47" fmla="*/ 20 h 306"/>
                  <a:gd name="T48" fmla="*/ 69 w 159"/>
                  <a:gd name="T49" fmla="*/ 61 h 306"/>
                  <a:gd name="T50" fmla="*/ 93 w 159"/>
                  <a:gd name="T51" fmla="*/ 52 h 306"/>
                  <a:gd name="T52" fmla="*/ 106 w 159"/>
                  <a:gd name="T53" fmla="*/ 44 h 306"/>
                  <a:gd name="T54" fmla="*/ 136 w 159"/>
                  <a:gd name="T55" fmla="*/ 62 h 306"/>
                  <a:gd name="T56" fmla="*/ 157 w 159"/>
                  <a:gd name="T57" fmla="*/ 101 h 306"/>
                  <a:gd name="T58" fmla="*/ 154 w 159"/>
                  <a:gd name="T59" fmla="*/ 128 h 306"/>
                  <a:gd name="T60" fmla="*/ 113 w 159"/>
                  <a:gd name="T61" fmla="*/ 129 h 306"/>
                  <a:gd name="T62" fmla="*/ 110 w 159"/>
                  <a:gd name="T63" fmla="*/ 171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9" h="306">
                    <a:moveTo>
                      <a:pt x="110" y="171"/>
                    </a:moveTo>
                    <a:lnTo>
                      <a:pt x="93" y="162"/>
                    </a:lnTo>
                    <a:lnTo>
                      <a:pt x="78" y="162"/>
                    </a:lnTo>
                    <a:lnTo>
                      <a:pt x="78" y="146"/>
                    </a:lnTo>
                    <a:lnTo>
                      <a:pt x="62" y="146"/>
                    </a:lnTo>
                    <a:lnTo>
                      <a:pt x="63" y="169"/>
                    </a:lnTo>
                    <a:lnTo>
                      <a:pt x="56" y="199"/>
                    </a:lnTo>
                    <a:lnTo>
                      <a:pt x="52" y="217"/>
                    </a:lnTo>
                    <a:lnTo>
                      <a:pt x="54" y="233"/>
                    </a:lnTo>
                    <a:lnTo>
                      <a:pt x="66" y="233"/>
                    </a:lnTo>
                    <a:lnTo>
                      <a:pt x="75" y="252"/>
                    </a:lnTo>
                    <a:lnTo>
                      <a:pt x="79" y="270"/>
                    </a:lnTo>
                    <a:lnTo>
                      <a:pt x="90" y="282"/>
                    </a:lnTo>
                    <a:lnTo>
                      <a:pt x="101" y="284"/>
                    </a:lnTo>
                    <a:lnTo>
                      <a:pt x="111" y="295"/>
                    </a:lnTo>
                    <a:lnTo>
                      <a:pt x="106" y="304"/>
                    </a:lnTo>
                    <a:lnTo>
                      <a:pt x="93" y="306"/>
                    </a:lnTo>
                    <a:lnTo>
                      <a:pt x="91" y="295"/>
                    </a:lnTo>
                    <a:lnTo>
                      <a:pt x="76" y="286"/>
                    </a:lnTo>
                    <a:lnTo>
                      <a:pt x="73" y="290"/>
                    </a:lnTo>
                    <a:lnTo>
                      <a:pt x="66" y="282"/>
                    </a:lnTo>
                    <a:lnTo>
                      <a:pt x="62" y="272"/>
                    </a:lnTo>
                    <a:lnTo>
                      <a:pt x="51" y="260"/>
                    </a:lnTo>
                    <a:lnTo>
                      <a:pt x="42" y="250"/>
                    </a:lnTo>
                    <a:lnTo>
                      <a:pt x="40" y="263"/>
                    </a:lnTo>
                    <a:lnTo>
                      <a:pt x="36" y="251"/>
                    </a:lnTo>
                    <a:lnTo>
                      <a:pt x="37" y="238"/>
                    </a:lnTo>
                    <a:lnTo>
                      <a:pt x="41" y="218"/>
                    </a:lnTo>
                    <a:lnTo>
                      <a:pt x="48" y="197"/>
                    </a:lnTo>
                    <a:lnTo>
                      <a:pt x="56" y="177"/>
                    </a:lnTo>
                    <a:lnTo>
                      <a:pt x="47" y="158"/>
                    </a:lnTo>
                    <a:lnTo>
                      <a:pt x="46" y="149"/>
                    </a:lnTo>
                    <a:lnTo>
                      <a:pt x="43" y="137"/>
                    </a:lnTo>
                    <a:lnTo>
                      <a:pt x="29" y="121"/>
                    </a:lnTo>
                    <a:lnTo>
                      <a:pt x="24" y="110"/>
                    </a:lnTo>
                    <a:lnTo>
                      <a:pt x="30" y="106"/>
                    </a:lnTo>
                    <a:lnTo>
                      <a:pt x="34" y="88"/>
                    </a:lnTo>
                    <a:lnTo>
                      <a:pt x="25" y="75"/>
                    </a:lnTo>
                    <a:lnTo>
                      <a:pt x="11" y="60"/>
                    </a:lnTo>
                    <a:lnTo>
                      <a:pt x="0" y="41"/>
                    </a:lnTo>
                    <a:lnTo>
                      <a:pt x="7" y="37"/>
                    </a:lnTo>
                    <a:lnTo>
                      <a:pt x="12" y="15"/>
                    </a:lnTo>
                    <a:lnTo>
                      <a:pt x="25" y="14"/>
                    </a:lnTo>
                    <a:lnTo>
                      <a:pt x="34" y="5"/>
                    </a:lnTo>
                    <a:lnTo>
                      <a:pt x="43" y="0"/>
                    </a:lnTo>
                    <a:lnTo>
                      <a:pt x="52" y="7"/>
                    </a:lnTo>
                    <a:lnTo>
                      <a:pt x="55" y="19"/>
                    </a:lnTo>
                    <a:lnTo>
                      <a:pt x="67" y="20"/>
                    </a:lnTo>
                    <a:lnTo>
                      <a:pt x="66" y="42"/>
                    </a:lnTo>
                    <a:lnTo>
                      <a:pt x="69" y="61"/>
                    </a:lnTo>
                    <a:lnTo>
                      <a:pt x="87" y="48"/>
                    </a:lnTo>
                    <a:lnTo>
                      <a:pt x="93" y="52"/>
                    </a:lnTo>
                    <a:lnTo>
                      <a:pt x="103" y="51"/>
                    </a:lnTo>
                    <a:lnTo>
                      <a:pt x="106" y="44"/>
                    </a:lnTo>
                    <a:lnTo>
                      <a:pt x="120" y="45"/>
                    </a:lnTo>
                    <a:lnTo>
                      <a:pt x="136" y="62"/>
                    </a:lnTo>
                    <a:lnTo>
                      <a:pt x="140" y="83"/>
                    </a:lnTo>
                    <a:lnTo>
                      <a:pt x="157" y="101"/>
                    </a:lnTo>
                    <a:lnTo>
                      <a:pt x="159" y="119"/>
                    </a:lnTo>
                    <a:lnTo>
                      <a:pt x="154" y="128"/>
                    </a:lnTo>
                    <a:lnTo>
                      <a:pt x="136" y="125"/>
                    </a:lnTo>
                    <a:lnTo>
                      <a:pt x="113" y="129"/>
                    </a:lnTo>
                    <a:lnTo>
                      <a:pt x="103" y="146"/>
                    </a:lnTo>
                    <a:lnTo>
                      <a:pt x="110" y="171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3" name="Freeform 193"/>
              <p:cNvSpPr>
                <a:spLocks/>
              </p:cNvSpPr>
              <p:nvPr/>
            </p:nvSpPr>
            <p:spPr bwMode="auto">
              <a:xfrm>
                <a:off x="6002337" y="2559050"/>
                <a:ext cx="219075" cy="139700"/>
              </a:xfrm>
              <a:custGeom>
                <a:avLst/>
                <a:gdLst>
                  <a:gd name="T0" fmla="*/ 54 w 138"/>
                  <a:gd name="T1" fmla="*/ 15 h 88"/>
                  <a:gd name="T2" fmla="*/ 50 w 138"/>
                  <a:gd name="T3" fmla="*/ 22 h 88"/>
                  <a:gd name="T4" fmla="*/ 30 w 138"/>
                  <a:gd name="T5" fmla="*/ 18 h 88"/>
                  <a:gd name="T6" fmla="*/ 32 w 138"/>
                  <a:gd name="T7" fmla="*/ 30 h 88"/>
                  <a:gd name="T8" fmla="*/ 50 w 138"/>
                  <a:gd name="T9" fmla="*/ 29 h 88"/>
                  <a:gd name="T10" fmla="*/ 73 w 138"/>
                  <a:gd name="T11" fmla="*/ 35 h 88"/>
                  <a:gd name="T12" fmla="*/ 104 w 138"/>
                  <a:gd name="T13" fmla="*/ 32 h 88"/>
                  <a:gd name="T14" fmla="*/ 113 w 138"/>
                  <a:gd name="T15" fmla="*/ 51 h 88"/>
                  <a:gd name="T16" fmla="*/ 119 w 138"/>
                  <a:gd name="T17" fmla="*/ 49 h 88"/>
                  <a:gd name="T18" fmla="*/ 130 w 138"/>
                  <a:gd name="T19" fmla="*/ 54 h 88"/>
                  <a:gd name="T20" fmla="*/ 132 w 138"/>
                  <a:gd name="T21" fmla="*/ 62 h 88"/>
                  <a:gd name="T22" fmla="*/ 138 w 138"/>
                  <a:gd name="T23" fmla="*/ 74 h 88"/>
                  <a:gd name="T24" fmla="*/ 120 w 138"/>
                  <a:gd name="T25" fmla="*/ 74 h 88"/>
                  <a:gd name="T26" fmla="*/ 108 w 138"/>
                  <a:gd name="T27" fmla="*/ 72 h 88"/>
                  <a:gd name="T28" fmla="*/ 99 w 138"/>
                  <a:gd name="T29" fmla="*/ 81 h 88"/>
                  <a:gd name="T30" fmla="*/ 92 w 138"/>
                  <a:gd name="T31" fmla="*/ 83 h 88"/>
                  <a:gd name="T32" fmla="*/ 88 w 138"/>
                  <a:gd name="T33" fmla="*/ 88 h 88"/>
                  <a:gd name="T34" fmla="*/ 79 w 138"/>
                  <a:gd name="T35" fmla="*/ 81 h 88"/>
                  <a:gd name="T36" fmla="*/ 76 w 138"/>
                  <a:gd name="T37" fmla="*/ 64 h 88"/>
                  <a:gd name="T38" fmla="*/ 71 w 138"/>
                  <a:gd name="T39" fmla="*/ 63 h 88"/>
                  <a:gd name="T40" fmla="*/ 71 w 138"/>
                  <a:gd name="T41" fmla="*/ 56 h 88"/>
                  <a:gd name="T42" fmla="*/ 60 w 138"/>
                  <a:gd name="T43" fmla="*/ 51 h 88"/>
                  <a:gd name="T44" fmla="*/ 55 w 138"/>
                  <a:gd name="T45" fmla="*/ 59 h 88"/>
                  <a:gd name="T46" fmla="*/ 55 w 138"/>
                  <a:gd name="T47" fmla="*/ 67 h 88"/>
                  <a:gd name="T48" fmla="*/ 53 w 138"/>
                  <a:gd name="T49" fmla="*/ 70 h 88"/>
                  <a:gd name="T50" fmla="*/ 43 w 138"/>
                  <a:gd name="T51" fmla="*/ 70 h 88"/>
                  <a:gd name="T52" fmla="*/ 40 w 138"/>
                  <a:gd name="T53" fmla="*/ 79 h 88"/>
                  <a:gd name="T54" fmla="*/ 33 w 138"/>
                  <a:gd name="T55" fmla="*/ 75 h 88"/>
                  <a:gd name="T56" fmla="*/ 22 w 138"/>
                  <a:gd name="T57" fmla="*/ 82 h 88"/>
                  <a:gd name="T58" fmla="*/ 16 w 138"/>
                  <a:gd name="T59" fmla="*/ 79 h 88"/>
                  <a:gd name="T60" fmla="*/ 21 w 138"/>
                  <a:gd name="T61" fmla="*/ 58 h 88"/>
                  <a:gd name="T62" fmla="*/ 13 w 138"/>
                  <a:gd name="T63" fmla="*/ 43 h 88"/>
                  <a:gd name="T64" fmla="*/ 0 w 138"/>
                  <a:gd name="T65" fmla="*/ 38 h 88"/>
                  <a:gd name="T66" fmla="*/ 2 w 138"/>
                  <a:gd name="T67" fmla="*/ 29 h 88"/>
                  <a:gd name="T68" fmla="*/ 16 w 138"/>
                  <a:gd name="T69" fmla="*/ 30 h 88"/>
                  <a:gd name="T70" fmla="*/ 21 w 138"/>
                  <a:gd name="T71" fmla="*/ 19 h 88"/>
                  <a:gd name="T72" fmla="*/ 23 w 138"/>
                  <a:gd name="T73" fmla="*/ 5 h 88"/>
                  <a:gd name="T74" fmla="*/ 44 w 138"/>
                  <a:gd name="T75" fmla="*/ 0 h 88"/>
                  <a:gd name="T76" fmla="*/ 43 w 138"/>
                  <a:gd name="T77" fmla="*/ 10 h 88"/>
                  <a:gd name="T78" fmla="*/ 47 w 138"/>
                  <a:gd name="T79" fmla="*/ 16 h 88"/>
                  <a:gd name="T80" fmla="*/ 54 w 138"/>
                  <a:gd name="T81" fmla="*/ 15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38" h="88">
                    <a:moveTo>
                      <a:pt x="54" y="15"/>
                    </a:moveTo>
                    <a:lnTo>
                      <a:pt x="50" y="22"/>
                    </a:lnTo>
                    <a:lnTo>
                      <a:pt x="30" y="18"/>
                    </a:lnTo>
                    <a:lnTo>
                      <a:pt x="32" y="30"/>
                    </a:lnTo>
                    <a:lnTo>
                      <a:pt x="50" y="29"/>
                    </a:lnTo>
                    <a:lnTo>
                      <a:pt x="73" y="35"/>
                    </a:lnTo>
                    <a:lnTo>
                      <a:pt x="104" y="32"/>
                    </a:lnTo>
                    <a:lnTo>
                      <a:pt x="113" y="51"/>
                    </a:lnTo>
                    <a:lnTo>
                      <a:pt x="119" y="49"/>
                    </a:lnTo>
                    <a:lnTo>
                      <a:pt x="130" y="54"/>
                    </a:lnTo>
                    <a:lnTo>
                      <a:pt x="132" y="62"/>
                    </a:lnTo>
                    <a:lnTo>
                      <a:pt x="138" y="74"/>
                    </a:lnTo>
                    <a:lnTo>
                      <a:pt x="120" y="74"/>
                    </a:lnTo>
                    <a:lnTo>
                      <a:pt x="108" y="72"/>
                    </a:lnTo>
                    <a:lnTo>
                      <a:pt x="99" y="81"/>
                    </a:lnTo>
                    <a:lnTo>
                      <a:pt x="92" y="83"/>
                    </a:lnTo>
                    <a:lnTo>
                      <a:pt x="88" y="88"/>
                    </a:lnTo>
                    <a:lnTo>
                      <a:pt x="79" y="81"/>
                    </a:lnTo>
                    <a:lnTo>
                      <a:pt x="76" y="64"/>
                    </a:lnTo>
                    <a:lnTo>
                      <a:pt x="71" y="63"/>
                    </a:lnTo>
                    <a:lnTo>
                      <a:pt x="71" y="56"/>
                    </a:lnTo>
                    <a:lnTo>
                      <a:pt x="60" y="51"/>
                    </a:lnTo>
                    <a:lnTo>
                      <a:pt x="55" y="59"/>
                    </a:lnTo>
                    <a:lnTo>
                      <a:pt x="55" y="67"/>
                    </a:lnTo>
                    <a:lnTo>
                      <a:pt x="53" y="70"/>
                    </a:lnTo>
                    <a:lnTo>
                      <a:pt x="43" y="70"/>
                    </a:lnTo>
                    <a:lnTo>
                      <a:pt x="40" y="79"/>
                    </a:lnTo>
                    <a:lnTo>
                      <a:pt x="33" y="75"/>
                    </a:lnTo>
                    <a:lnTo>
                      <a:pt x="22" y="82"/>
                    </a:lnTo>
                    <a:lnTo>
                      <a:pt x="16" y="79"/>
                    </a:lnTo>
                    <a:lnTo>
                      <a:pt x="21" y="58"/>
                    </a:lnTo>
                    <a:lnTo>
                      <a:pt x="13" y="43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16" y="30"/>
                    </a:lnTo>
                    <a:lnTo>
                      <a:pt x="21" y="19"/>
                    </a:lnTo>
                    <a:lnTo>
                      <a:pt x="23" y="5"/>
                    </a:lnTo>
                    <a:lnTo>
                      <a:pt x="44" y="0"/>
                    </a:lnTo>
                    <a:lnTo>
                      <a:pt x="43" y="10"/>
                    </a:lnTo>
                    <a:lnTo>
                      <a:pt x="47" y="16"/>
                    </a:lnTo>
                    <a:lnTo>
                      <a:pt x="54" y="15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4" name="Freeform 194"/>
              <p:cNvSpPr>
                <a:spLocks/>
              </p:cNvSpPr>
              <p:nvPr/>
            </p:nvSpPr>
            <p:spPr bwMode="auto">
              <a:xfrm>
                <a:off x="5580062" y="2501900"/>
                <a:ext cx="411163" cy="244475"/>
              </a:xfrm>
              <a:custGeom>
                <a:avLst/>
                <a:gdLst>
                  <a:gd name="T0" fmla="*/ 176 w 259"/>
                  <a:gd name="T1" fmla="*/ 146 h 154"/>
                  <a:gd name="T2" fmla="*/ 170 w 259"/>
                  <a:gd name="T3" fmla="*/ 129 h 154"/>
                  <a:gd name="T4" fmla="*/ 157 w 259"/>
                  <a:gd name="T5" fmla="*/ 128 h 154"/>
                  <a:gd name="T6" fmla="*/ 134 w 259"/>
                  <a:gd name="T7" fmla="*/ 110 h 154"/>
                  <a:gd name="T8" fmla="*/ 120 w 259"/>
                  <a:gd name="T9" fmla="*/ 107 h 154"/>
                  <a:gd name="T10" fmla="*/ 99 w 259"/>
                  <a:gd name="T11" fmla="*/ 97 h 154"/>
                  <a:gd name="T12" fmla="*/ 86 w 259"/>
                  <a:gd name="T13" fmla="*/ 95 h 154"/>
                  <a:gd name="T14" fmla="*/ 79 w 259"/>
                  <a:gd name="T15" fmla="*/ 99 h 154"/>
                  <a:gd name="T16" fmla="*/ 68 w 259"/>
                  <a:gd name="T17" fmla="*/ 98 h 154"/>
                  <a:gd name="T18" fmla="*/ 58 w 259"/>
                  <a:gd name="T19" fmla="*/ 110 h 154"/>
                  <a:gd name="T20" fmla="*/ 44 w 259"/>
                  <a:gd name="T21" fmla="*/ 114 h 154"/>
                  <a:gd name="T22" fmla="*/ 38 w 259"/>
                  <a:gd name="T23" fmla="*/ 100 h 154"/>
                  <a:gd name="T24" fmla="*/ 36 w 259"/>
                  <a:gd name="T25" fmla="*/ 78 h 154"/>
                  <a:gd name="T26" fmla="*/ 21 w 259"/>
                  <a:gd name="T27" fmla="*/ 71 h 154"/>
                  <a:gd name="T28" fmla="*/ 23 w 259"/>
                  <a:gd name="T29" fmla="*/ 57 h 154"/>
                  <a:gd name="T30" fmla="*/ 11 w 259"/>
                  <a:gd name="T31" fmla="*/ 56 h 154"/>
                  <a:gd name="T32" fmla="*/ 11 w 259"/>
                  <a:gd name="T33" fmla="*/ 38 h 154"/>
                  <a:gd name="T34" fmla="*/ 28 w 259"/>
                  <a:gd name="T35" fmla="*/ 43 h 154"/>
                  <a:gd name="T36" fmla="*/ 41 w 259"/>
                  <a:gd name="T37" fmla="*/ 37 h 154"/>
                  <a:gd name="T38" fmla="*/ 27 w 259"/>
                  <a:gd name="T39" fmla="*/ 25 h 154"/>
                  <a:gd name="T40" fmla="*/ 19 w 259"/>
                  <a:gd name="T41" fmla="*/ 13 h 154"/>
                  <a:gd name="T42" fmla="*/ 7 w 259"/>
                  <a:gd name="T43" fmla="*/ 18 h 154"/>
                  <a:gd name="T44" fmla="*/ 8 w 259"/>
                  <a:gd name="T45" fmla="*/ 33 h 154"/>
                  <a:gd name="T46" fmla="*/ 0 w 259"/>
                  <a:gd name="T47" fmla="*/ 20 h 154"/>
                  <a:gd name="T48" fmla="*/ 6 w 259"/>
                  <a:gd name="T49" fmla="*/ 13 h 154"/>
                  <a:gd name="T50" fmla="*/ 24 w 259"/>
                  <a:gd name="T51" fmla="*/ 9 h 154"/>
                  <a:gd name="T52" fmla="*/ 37 w 259"/>
                  <a:gd name="T53" fmla="*/ 14 h 154"/>
                  <a:gd name="T54" fmla="*/ 52 w 259"/>
                  <a:gd name="T55" fmla="*/ 30 h 154"/>
                  <a:gd name="T56" fmla="*/ 61 w 259"/>
                  <a:gd name="T57" fmla="*/ 29 h 154"/>
                  <a:gd name="T58" fmla="*/ 80 w 259"/>
                  <a:gd name="T59" fmla="*/ 29 h 154"/>
                  <a:gd name="T60" fmla="*/ 74 w 259"/>
                  <a:gd name="T61" fmla="*/ 19 h 154"/>
                  <a:gd name="T62" fmla="*/ 87 w 259"/>
                  <a:gd name="T63" fmla="*/ 12 h 154"/>
                  <a:gd name="T64" fmla="*/ 98 w 259"/>
                  <a:gd name="T65" fmla="*/ 0 h 154"/>
                  <a:gd name="T66" fmla="*/ 123 w 259"/>
                  <a:gd name="T67" fmla="*/ 11 h 154"/>
                  <a:gd name="T68" fmla="*/ 129 w 259"/>
                  <a:gd name="T69" fmla="*/ 27 h 154"/>
                  <a:gd name="T70" fmla="*/ 137 w 259"/>
                  <a:gd name="T71" fmla="*/ 31 h 154"/>
                  <a:gd name="T72" fmla="*/ 155 w 259"/>
                  <a:gd name="T73" fmla="*/ 30 h 154"/>
                  <a:gd name="T74" fmla="*/ 161 w 259"/>
                  <a:gd name="T75" fmla="*/ 34 h 154"/>
                  <a:gd name="T76" fmla="*/ 175 w 259"/>
                  <a:gd name="T77" fmla="*/ 55 h 154"/>
                  <a:gd name="T78" fmla="*/ 198 w 259"/>
                  <a:gd name="T79" fmla="*/ 69 h 154"/>
                  <a:gd name="T80" fmla="*/ 211 w 259"/>
                  <a:gd name="T81" fmla="*/ 79 h 154"/>
                  <a:gd name="T82" fmla="*/ 231 w 259"/>
                  <a:gd name="T83" fmla="*/ 89 h 154"/>
                  <a:gd name="T84" fmla="*/ 256 w 259"/>
                  <a:gd name="T85" fmla="*/ 98 h 154"/>
                  <a:gd name="T86" fmla="*/ 259 w 259"/>
                  <a:gd name="T87" fmla="*/ 111 h 154"/>
                  <a:gd name="T88" fmla="*/ 254 w 259"/>
                  <a:gd name="T89" fmla="*/ 110 h 154"/>
                  <a:gd name="T90" fmla="*/ 244 w 259"/>
                  <a:gd name="T91" fmla="*/ 105 h 154"/>
                  <a:gd name="T92" fmla="*/ 243 w 259"/>
                  <a:gd name="T93" fmla="*/ 112 h 154"/>
                  <a:gd name="T94" fmla="*/ 230 w 259"/>
                  <a:gd name="T95" fmla="*/ 116 h 154"/>
                  <a:gd name="T96" fmla="*/ 230 w 259"/>
                  <a:gd name="T97" fmla="*/ 133 h 154"/>
                  <a:gd name="T98" fmla="*/ 222 w 259"/>
                  <a:gd name="T99" fmla="*/ 139 h 154"/>
                  <a:gd name="T100" fmla="*/ 209 w 259"/>
                  <a:gd name="T101" fmla="*/ 142 h 154"/>
                  <a:gd name="T102" fmla="*/ 207 w 259"/>
                  <a:gd name="T103" fmla="*/ 151 h 154"/>
                  <a:gd name="T104" fmla="*/ 195 w 259"/>
                  <a:gd name="T105" fmla="*/ 154 h 154"/>
                  <a:gd name="T106" fmla="*/ 176 w 259"/>
                  <a:gd name="T107" fmla="*/ 14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59" h="154">
                    <a:moveTo>
                      <a:pt x="176" y="146"/>
                    </a:moveTo>
                    <a:lnTo>
                      <a:pt x="170" y="129"/>
                    </a:lnTo>
                    <a:lnTo>
                      <a:pt x="157" y="128"/>
                    </a:lnTo>
                    <a:lnTo>
                      <a:pt x="134" y="110"/>
                    </a:lnTo>
                    <a:lnTo>
                      <a:pt x="120" y="107"/>
                    </a:lnTo>
                    <a:lnTo>
                      <a:pt x="99" y="97"/>
                    </a:lnTo>
                    <a:lnTo>
                      <a:pt x="86" y="95"/>
                    </a:lnTo>
                    <a:lnTo>
                      <a:pt x="79" y="99"/>
                    </a:lnTo>
                    <a:lnTo>
                      <a:pt x="68" y="98"/>
                    </a:lnTo>
                    <a:lnTo>
                      <a:pt x="58" y="110"/>
                    </a:lnTo>
                    <a:lnTo>
                      <a:pt x="44" y="114"/>
                    </a:lnTo>
                    <a:lnTo>
                      <a:pt x="38" y="100"/>
                    </a:lnTo>
                    <a:lnTo>
                      <a:pt x="36" y="78"/>
                    </a:lnTo>
                    <a:lnTo>
                      <a:pt x="21" y="71"/>
                    </a:lnTo>
                    <a:lnTo>
                      <a:pt x="23" y="57"/>
                    </a:lnTo>
                    <a:lnTo>
                      <a:pt x="11" y="56"/>
                    </a:lnTo>
                    <a:lnTo>
                      <a:pt x="11" y="38"/>
                    </a:lnTo>
                    <a:lnTo>
                      <a:pt x="28" y="43"/>
                    </a:lnTo>
                    <a:lnTo>
                      <a:pt x="41" y="37"/>
                    </a:lnTo>
                    <a:lnTo>
                      <a:pt x="27" y="25"/>
                    </a:lnTo>
                    <a:lnTo>
                      <a:pt x="19" y="13"/>
                    </a:lnTo>
                    <a:lnTo>
                      <a:pt x="7" y="18"/>
                    </a:lnTo>
                    <a:lnTo>
                      <a:pt x="8" y="33"/>
                    </a:lnTo>
                    <a:lnTo>
                      <a:pt x="0" y="20"/>
                    </a:lnTo>
                    <a:lnTo>
                      <a:pt x="6" y="13"/>
                    </a:lnTo>
                    <a:lnTo>
                      <a:pt x="24" y="9"/>
                    </a:lnTo>
                    <a:lnTo>
                      <a:pt x="37" y="14"/>
                    </a:lnTo>
                    <a:lnTo>
                      <a:pt x="52" y="30"/>
                    </a:lnTo>
                    <a:lnTo>
                      <a:pt x="61" y="29"/>
                    </a:lnTo>
                    <a:lnTo>
                      <a:pt x="80" y="29"/>
                    </a:lnTo>
                    <a:lnTo>
                      <a:pt x="74" y="19"/>
                    </a:lnTo>
                    <a:lnTo>
                      <a:pt x="87" y="12"/>
                    </a:lnTo>
                    <a:lnTo>
                      <a:pt x="98" y="0"/>
                    </a:lnTo>
                    <a:lnTo>
                      <a:pt x="123" y="11"/>
                    </a:lnTo>
                    <a:lnTo>
                      <a:pt x="129" y="27"/>
                    </a:lnTo>
                    <a:lnTo>
                      <a:pt x="137" y="31"/>
                    </a:lnTo>
                    <a:lnTo>
                      <a:pt x="155" y="30"/>
                    </a:lnTo>
                    <a:lnTo>
                      <a:pt x="161" y="34"/>
                    </a:lnTo>
                    <a:lnTo>
                      <a:pt x="175" y="55"/>
                    </a:lnTo>
                    <a:lnTo>
                      <a:pt x="198" y="69"/>
                    </a:lnTo>
                    <a:lnTo>
                      <a:pt x="211" y="79"/>
                    </a:lnTo>
                    <a:lnTo>
                      <a:pt x="231" y="89"/>
                    </a:lnTo>
                    <a:lnTo>
                      <a:pt x="256" y="98"/>
                    </a:lnTo>
                    <a:lnTo>
                      <a:pt x="259" y="111"/>
                    </a:lnTo>
                    <a:lnTo>
                      <a:pt x="254" y="110"/>
                    </a:lnTo>
                    <a:lnTo>
                      <a:pt x="244" y="105"/>
                    </a:lnTo>
                    <a:lnTo>
                      <a:pt x="243" y="112"/>
                    </a:lnTo>
                    <a:lnTo>
                      <a:pt x="230" y="116"/>
                    </a:lnTo>
                    <a:lnTo>
                      <a:pt x="230" y="133"/>
                    </a:lnTo>
                    <a:lnTo>
                      <a:pt x="222" y="139"/>
                    </a:lnTo>
                    <a:lnTo>
                      <a:pt x="209" y="142"/>
                    </a:lnTo>
                    <a:lnTo>
                      <a:pt x="207" y="151"/>
                    </a:lnTo>
                    <a:lnTo>
                      <a:pt x="195" y="154"/>
                    </a:lnTo>
                    <a:lnTo>
                      <a:pt x="176" y="14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5" name="Freeform 195"/>
              <p:cNvSpPr>
                <a:spLocks/>
              </p:cNvSpPr>
              <p:nvPr/>
            </p:nvSpPr>
            <p:spPr bwMode="auto">
              <a:xfrm>
                <a:off x="7815262" y="4181475"/>
                <a:ext cx="69850" cy="36513"/>
              </a:xfrm>
              <a:custGeom>
                <a:avLst/>
                <a:gdLst>
                  <a:gd name="T0" fmla="*/ 0 w 44"/>
                  <a:gd name="T1" fmla="*/ 13 h 23"/>
                  <a:gd name="T2" fmla="*/ 2 w 44"/>
                  <a:gd name="T3" fmla="*/ 8 h 23"/>
                  <a:gd name="T4" fmla="*/ 19 w 44"/>
                  <a:gd name="T5" fmla="*/ 4 h 23"/>
                  <a:gd name="T6" fmla="*/ 32 w 44"/>
                  <a:gd name="T7" fmla="*/ 3 h 23"/>
                  <a:gd name="T8" fmla="*/ 37 w 44"/>
                  <a:gd name="T9" fmla="*/ 0 h 23"/>
                  <a:gd name="T10" fmla="*/ 44 w 44"/>
                  <a:gd name="T11" fmla="*/ 3 h 23"/>
                  <a:gd name="T12" fmla="*/ 37 w 44"/>
                  <a:gd name="T13" fmla="*/ 9 h 23"/>
                  <a:gd name="T14" fmla="*/ 17 w 44"/>
                  <a:gd name="T15" fmla="*/ 18 h 23"/>
                  <a:gd name="T16" fmla="*/ 1 w 44"/>
                  <a:gd name="T17" fmla="*/ 23 h 23"/>
                  <a:gd name="T18" fmla="*/ 1 w 44"/>
                  <a:gd name="T19" fmla="*/ 17 h 23"/>
                  <a:gd name="T20" fmla="*/ 0 w 44"/>
                  <a:gd name="T21" fmla="*/ 1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4" h="23">
                    <a:moveTo>
                      <a:pt x="0" y="13"/>
                    </a:moveTo>
                    <a:lnTo>
                      <a:pt x="2" y="8"/>
                    </a:lnTo>
                    <a:lnTo>
                      <a:pt x="19" y="4"/>
                    </a:lnTo>
                    <a:lnTo>
                      <a:pt x="32" y="3"/>
                    </a:lnTo>
                    <a:lnTo>
                      <a:pt x="37" y="0"/>
                    </a:lnTo>
                    <a:lnTo>
                      <a:pt x="44" y="3"/>
                    </a:lnTo>
                    <a:lnTo>
                      <a:pt x="37" y="9"/>
                    </a:lnTo>
                    <a:lnTo>
                      <a:pt x="17" y="18"/>
                    </a:lnTo>
                    <a:lnTo>
                      <a:pt x="1" y="23"/>
                    </a:lnTo>
                    <a:lnTo>
                      <a:pt x="1" y="17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C0504D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6" name="Freeform 196"/>
              <p:cNvSpPr>
                <a:spLocks/>
              </p:cNvSpPr>
              <p:nvPr/>
            </p:nvSpPr>
            <p:spPr bwMode="auto">
              <a:xfrm>
                <a:off x="2382837" y="3549650"/>
                <a:ext cx="31750" cy="30163"/>
              </a:xfrm>
              <a:custGeom>
                <a:avLst/>
                <a:gdLst>
                  <a:gd name="T0" fmla="*/ 6 w 20"/>
                  <a:gd name="T1" fmla="*/ 3 h 19"/>
                  <a:gd name="T2" fmla="*/ 16 w 20"/>
                  <a:gd name="T3" fmla="*/ 0 h 19"/>
                  <a:gd name="T4" fmla="*/ 20 w 20"/>
                  <a:gd name="T5" fmla="*/ 1 h 19"/>
                  <a:gd name="T6" fmla="*/ 19 w 20"/>
                  <a:gd name="T7" fmla="*/ 16 h 19"/>
                  <a:gd name="T8" fmla="*/ 3 w 20"/>
                  <a:gd name="T9" fmla="*/ 19 h 19"/>
                  <a:gd name="T10" fmla="*/ 0 w 20"/>
                  <a:gd name="T11" fmla="*/ 17 h 19"/>
                  <a:gd name="T12" fmla="*/ 6 w 20"/>
                  <a:gd name="T13" fmla="*/ 11 h 19"/>
                  <a:gd name="T14" fmla="*/ 6 w 20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9">
                    <a:moveTo>
                      <a:pt x="6" y="3"/>
                    </a:moveTo>
                    <a:lnTo>
                      <a:pt x="16" y="0"/>
                    </a:lnTo>
                    <a:lnTo>
                      <a:pt x="20" y="1"/>
                    </a:lnTo>
                    <a:lnTo>
                      <a:pt x="19" y="16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6" y="11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7" name="Freeform 197"/>
              <p:cNvSpPr>
                <a:spLocks/>
              </p:cNvSpPr>
              <p:nvPr/>
            </p:nvSpPr>
            <p:spPr bwMode="auto">
              <a:xfrm>
                <a:off x="4389437" y="2678112"/>
                <a:ext cx="111125" cy="231775"/>
              </a:xfrm>
              <a:custGeom>
                <a:avLst/>
                <a:gdLst>
                  <a:gd name="T0" fmla="*/ 36 w 70"/>
                  <a:gd name="T1" fmla="*/ 146 h 146"/>
                  <a:gd name="T2" fmla="*/ 28 w 70"/>
                  <a:gd name="T3" fmla="*/ 109 h 146"/>
                  <a:gd name="T4" fmla="*/ 17 w 70"/>
                  <a:gd name="T5" fmla="*/ 100 h 146"/>
                  <a:gd name="T6" fmla="*/ 17 w 70"/>
                  <a:gd name="T7" fmla="*/ 95 h 146"/>
                  <a:gd name="T8" fmla="*/ 2 w 70"/>
                  <a:gd name="T9" fmla="*/ 83 h 146"/>
                  <a:gd name="T10" fmla="*/ 0 w 70"/>
                  <a:gd name="T11" fmla="*/ 67 h 146"/>
                  <a:gd name="T12" fmla="*/ 10 w 70"/>
                  <a:gd name="T13" fmla="*/ 56 h 146"/>
                  <a:gd name="T14" fmla="*/ 14 w 70"/>
                  <a:gd name="T15" fmla="*/ 39 h 146"/>
                  <a:gd name="T16" fmla="*/ 11 w 70"/>
                  <a:gd name="T17" fmla="*/ 19 h 146"/>
                  <a:gd name="T18" fmla="*/ 14 w 70"/>
                  <a:gd name="T19" fmla="*/ 8 h 146"/>
                  <a:gd name="T20" fmla="*/ 32 w 70"/>
                  <a:gd name="T21" fmla="*/ 0 h 146"/>
                  <a:gd name="T22" fmla="*/ 44 w 70"/>
                  <a:gd name="T23" fmla="*/ 3 h 146"/>
                  <a:gd name="T24" fmla="*/ 44 w 70"/>
                  <a:gd name="T25" fmla="*/ 13 h 146"/>
                  <a:gd name="T26" fmla="*/ 59 w 70"/>
                  <a:gd name="T27" fmla="*/ 6 h 146"/>
                  <a:gd name="T28" fmla="*/ 60 w 70"/>
                  <a:gd name="T29" fmla="*/ 9 h 146"/>
                  <a:gd name="T30" fmla="*/ 52 w 70"/>
                  <a:gd name="T31" fmla="*/ 19 h 146"/>
                  <a:gd name="T32" fmla="*/ 52 w 70"/>
                  <a:gd name="T33" fmla="*/ 29 h 146"/>
                  <a:gd name="T34" fmla="*/ 58 w 70"/>
                  <a:gd name="T35" fmla="*/ 34 h 146"/>
                  <a:gd name="T36" fmla="*/ 56 w 70"/>
                  <a:gd name="T37" fmla="*/ 52 h 146"/>
                  <a:gd name="T38" fmla="*/ 45 w 70"/>
                  <a:gd name="T39" fmla="*/ 63 h 146"/>
                  <a:gd name="T40" fmla="*/ 49 w 70"/>
                  <a:gd name="T41" fmla="*/ 74 h 146"/>
                  <a:gd name="T42" fmla="*/ 58 w 70"/>
                  <a:gd name="T43" fmla="*/ 74 h 146"/>
                  <a:gd name="T44" fmla="*/ 63 w 70"/>
                  <a:gd name="T45" fmla="*/ 84 h 146"/>
                  <a:gd name="T46" fmla="*/ 70 w 70"/>
                  <a:gd name="T47" fmla="*/ 87 h 146"/>
                  <a:gd name="T48" fmla="*/ 69 w 70"/>
                  <a:gd name="T49" fmla="*/ 103 h 146"/>
                  <a:gd name="T50" fmla="*/ 61 w 70"/>
                  <a:gd name="T51" fmla="*/ 109 h 146"/>
                  <a:gd name="T52" fmla="*/ 56 w 70"/>
                  <a:gd name="T53" fmla="*/ 116 h 146"/>
                  <a:gd name="T54" fmla="*/ 44 w 70"/>
                  <a:gd name="T55" fmla="*/ 124 h 146"/>
                  <a:gd name="T56" fmla="*/ 46 w 70"/>
                  <a:gd name="T57" fmla="*/ 132 h 146"/>
                  <a:gd name="T58" fmla="*/ 45 w 70"/>
                  <a:gd name="T59" fmla="*/ 141 h 146"/>
                  <a:gd name="T60" fmla="*/ 36 w 70"/>
                  <a:gd name="T61" fmla="*/ 146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0" h="146">
                    <a:moveTo>
                      <a:pt x="36" y="146"/>
                    </a:moveTo>
                    <a:lnTo>
                      <a:pt x="28" y="109"/>
                    </a:lnTo>
                    <a:lnTo>
                      <a:pt x="17" y="100"/>
                    </a:lnTo>
                    <a:lnTo>
                      <a:pt x="17" y="95"/>
                    </a:lnTo>
                    <a:lnTo>
                      <a:pt x="2" y="83"/>
                    </a:lnTo>
                    <a:lnTo>
                      <a:pt x="0" y="67"/>
                    </a:lnTo>
                    <a:lnTo>
                      <a:pt x="10" y="56"/>
                    </a:lnTo>
                    <a:lnTo>
                      <a:pt x="14" y="39"/>
                    </a:lnTo>
                    <a:lnTo>
                      <a:pt x="11" y="19"/>
                    </a:lnTo>
                    <a:lnTo>
                      <a:pt x="14" y="8"/>
                    </a:lnTo>
                    <a:lnTo>
                      <a:pt x="32" y="0"/>
                    </a:lnTo>
                    <a:lnTo>
                      <a:pt x="44" y="3"/>
                    </a:lnTo>
                    <a:lnTo>
                      <a:pt x="44" y="13"/>
                    </a:lnTo>
                    <a:lnTo>
                      <a:pt x="59" y="6"/>
                    </a:lnTo>
                    <a:lnTo>
                      <a:pt x="60" y="9"/>
                    </a:lnTo>
                    <a:lnTo>
                      <a:pt x="52" y="19"/>
                    </a:lnTo>
                    <a:lnTo>
                      <a:pt x="52" y="29"/>
                    </a:lnTo>
                    <a:lnTo>
                      <a:pt x="58" y="34"/>
                    </a:lnTo>
                    <a:lnTo>
                      <a:pt x="56" y="52"/>
                    </a:lnTo>
                    <a:lnTo>
                      <a:pt x="45" y="63"/>
                    </a:lnTo>
                    <a:lnTo>
                      <a:pt x="49" y="74"/>
                    </a:lnTo>
                    <a:lnTo>
                      <a:pt x="58" y="74"/>
                    </a:lnTo>
                    <a:lnTo>
                      <a:pt x="63" y="84"/>
                    </a:lnTo>
                    <a:lnTo>
                      <a:pt x="70" y="87"/>
                    </a:lnTo>
                    <a:lnTo>
                      <a:pt x="69" y="103"/>
                    </a:lnTo>
                    <a:lnTo>
                      <a:pt x="61" y="109"/>
                    </a:lnTo>
                    <a:lnTo>
                      <a:pt x="56" y="116"/>
                    </a:lnTo>
                    <a:lnTo>
                      <a:pt x="44" y="124"/>
                    </a:lnTo>
                    <a:lnTo>
                      <a:pt x="46" y="132"/>
                    </a:lnTo>
                    <a:lnTo>
                      <a:pt x="45" y="141"/>
                    </a:lnTo>
                    <a:lnTo>
                      <a:pt x="36" y="146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8" name="Freeform 198"/>
              <p:cNvSpPr>
                <a:spLocks/>
              </p:cNvSpPr>
              <p:nvPr/>
            </p:nvSpPr>
            <p:spPr bwMode="auto">
              <a:xfrm>
                <a:off x="4886325" y="2524125"/>
                <a:ext cx="514350" cy="204788"/>
              </a:xfrm>
              <a:custGeom>
                <a:avLst/>
                <a:gdLst>
                  <a:gd name="T0" fmla="*/ 177 w 324"/>
                  <a:gd name="T1" fmla="*/ 15 h 129"/>
                  <a:gd name="T2" fmla="*/ 202 w 324"/>
                  <a:gd name="T3" fmla="*/ 23 h 129"/>
                  <a:gd name="T4" fmla="*/ 222 w 324"/>
                  <a:gd name="T5" fmla="*/ 20 h 129"/>
                  <a:gd name="T6" fmla="*/ 236 w 324"/>
                  <a:gd name="T7" fmla="*/ 22 h 129"/>
                  <a:gd name="T8" fmla="*/ 254 w 324"/>
                  <a:gd name="T9" fmla="*/ 11 h 129"/>
                  <a:gd name="T10" fmla="*/ 272 w 324"/>
                  <a:gd name="T11" fmla="*/ 10 h 129"/>
                  <a:gd name="T12" fmla="*/ 290 w 324"/>
                  <a:gd name="T13" fmla="*/ 20 h 129"/>
                  <a:gd name="T14" fmla="*/ 294 w 324"/>
                  <a:gd name="T15" fmla="*/ 27 h 129"/>
                  <a:gd name="T16" fmla="*/ 294 w 324"/>
                  <a:gd name="T17" fmla="*/ 37 h 129"/>
                  <a:gd name="T18" fmla="*/ 308 w 324"/>
                  <a:gd name="T19" fmla="*/ 42 h 129"/>
                  <a:gd name="T20" fmla="*/ 316 w 324"/>
                  <a:gd name="T21" fmla="*/ 48 h 129"/>
                  <a:gd name="T22" fmla="*/ 305 w 324"/>
                  <a:gd name="T23" fmla="*/ 54 h 129"/>
                  <a:gd name="T24" fmla="*/ 314 w 324"/>
                  <a:gd name="T25" fmla="*/ 78 h 129"/>
                  <a:gd name="T26" fmla="*/ 312 w 324"/>
                  <a:gd name="T27" fmla="*/ 84 h 129"/>
                  <a:gd name="T28" fmla="*/ 324 w 324"/>
                  <a:gd name="T29" fmla="*/ 101 h 129"/>
                  <a:gd name="T30" fmla="*/ 316 w 324"/>
                  <a:gd name="T31" fmla="*/ 104 h 129"/>
                  <a:gd name="T32" fmla="*/ 310 w 324"/>
                  <a:gd name="T33" fmla="*/ 99 h 129"/>
                  <a:gd name="T34" fmla="*/ 289 w 324"/>
                  <a:gd name="T35" fmla="*/ 96 h 129"/>
                  <a:gd name="T36" fmla="*/ 282 w 324"/>
                  <a:gd name="T37" fmla="*/ 100 h 129"/>
                  <a:gd name="T38" fmla="*/ 263 w 324"/>
                  <a:gd name="T39" fmla="*/ 103 h 129"/>
                  <a:gd name="T40" fmla="*/ 254 w 324"/>
                  <a:gd name="T41" fmla="*/ 103 h 129"/>
                  <a:gd name="T42" fmla="*/ 235 w 324"/>
                  <a:gd name="T43" fmla="*/ 110 h 129"/>
                  <a:gd name="T44" fmla="*/ 221 w 324"/>
                  <a:gd name="T45" fmla="*/ 110 h 129"/>
                  <a:gd name="T46" fmla="*/ 212 w 324"/>
                  <a:gd name="T47" fmla="*/ 106 h 129"/>
                  <a:gd name="T48" fmla="*/ 193 w 324"/>
                  <a:gd name="T49" fmla="*/ 112 h 129"/>
                  <a:gd name="T50" fmla="*/ 187 w 324"/>
                  <a:gd name="T51" fmla="*/ 108 h 129"/>
                  <a:gd name="T52" fmla="*/ 188 w 324"/>
                  <a:gd name="T53" fmla="*/ 120 h 129"/>
                  <a:gd name="T54" fmla="*/ 184 w 324"/>
                  <a:gd name="T55" fmla="*/ 124 h 129"/>
                  <a:gd name="T56" fmla="*/ 180 w 324"/>
                  <a:gd name="T57" fmla="*/ 129 h 129"/>
                  <a:gd name="T58" fmla="*/ 172 w 324"/>
                  <a:gd name="T59" fmla="*/ 119 h 129"/>
                  <a:gd name="T60" fmla="*/ 178 w 324"/>
                  <a:gd name="T61" fmla="*/ 112 h 129"/>
                  <a:gd name="T62" fmla="*/ 167 w 324"/>
                  <a:gd name="T63" fmla="*/ 113 h 129"/>
                  <a:gd name="T64" fmla="*/ 153 w 324"/>
                  <a:gd name="T65" fmla="*/ 109 h 129"/>
                  <a:gd name="T66" fmla="*/ 142 w 324"/>
                  <a:gd name="T67" fmla="*/ 120 h 129"/>
                  <a:gd name="T68" fmla="*/ 116 w 324"/>
                  <a:gd name="T69" fmla="*/ 123 h 129"/>
                  <a:gd name="T70" fmla="*/ 101 w 324"/>
                  <a:gd name="T71" fmla="*/ 112 h 129"/>
                  <a:gd name="T72" fmla="*/ 82 w 324"/>
                  <a:gd name="T73" fmla="*/ 111 h 129"/>
                  <a:gd name="T74" fmla="*/ 80 w 324"/>
                  <a:gd name="T75" fmla="*/ 120 h 129"/>
                  <a:gd name="T76" fmla="*/ 68 w 324"/>
                  <a:gd name="T77" fmla="*/ 122 h 129"/>
                  <a:gd name="T78" fmla="*/ 50 w 324"/>
                  <a:gd name="T79" fmla="*/ 111 h 129"/>
                  <a:gd name="T80" fmla="*/ 31 w 324"/>
                  <a:gd name="T81" fmla="*/ 111 h 129"/>
                  <a:gd name="T82" fmla="*/ 19 w 324"/>
                  <a:gd name="T83" fmla="*/ 91 h 129"/>
                  <a:gd name="T84" fmla="*/ 6 w 324"/>
                  <a:gd name="T85" fmla="*/ 79 h 129"/>
                  <a:gd name="T86" fmla="*/ 12 w 324"/>
                  <a:gd name="T87" fmla="*/ 63 h 129"/>
                  <a:gd name="T88" fmla="*/ 0 w 324"/>
                  <a:gd name="T89" fmla="*/ 53 h 129"/>
                  <a:gd name="T90" fmla="*/ 17 w 324"/>
                  <a:gd name="T91" fmla="*/ 34 h 129"/>
                  <a:gd name="T92" fmla="*/ 43 w 324"/>
                  <a:gd name="T93" fmla="*/ 33 h 129"/>
                  <a:gd name="T94" fmla="*/ 48 w 324"/>
                  <a:gd name="T95" fmla="*/ 17 h 129"/>
                  <a:gd name="T96" fmla="*/ 81 w 324"/>
                  <a:gd name="T97" fmla="*/ 20 h 129"/>
                  <a:gd name="T98" fmla="*/ 99 w 324"/>
                  <a:gd name="T99" fmla="*/ 7 h 129"/>
                  <a:gd name="T100" fmla="*/ 118 w 324"/>
                  <a:gd name="T101" fmla="*/ 1 h 129"/>
                  <a:gd name="T102" fmla="*/ 145 w 324"/>
                  <a:gd name="T103" fmla="*/ 0 h 129"/>
                  <a:gd name="T104" fmla="*/ 177 w 324"/>
                  <a:gd name="T105" fmla="*/ 15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24" h="129">
                    <a:moveTo>
                      <a:pt x="177" y="15"/>
                    </a:moveTo>
                    <a:lnTo>
                      <a:pt x="202" y="23"/>
                    </a:lnTo>
                    <a:lnTo>
                      <a:pt x="222" y="20"/>
                    </a:lnTo>
                    <a:lnTo>
                      <a:pt x="236" y="22"/>
                    </a:lnTo>
                    <a:lnTo>
                      <a:pt x="254" y="11"/>
                    </a:lnTo>
                    <a:lnTo>
                      <a:pt x="272" y="10"/>
                    </a:lnTo>
                    <a:lnTo>
                      <a:pt x="290" y="20"/>
                    </a:lnTo>
                    <a:lnTo>
                      <a:pt x="294" y="27"/>
                    </a:lnTo>
                    <a:lnTo>
                      <a:pt x="294" y="37"/>
                    </a:lnTo>
                    <a:lnTo>
                      <a:pt x="308" y="42"/>
                    </a:lnTo>
                    <a:lnTo>
                      <a:pt x="316" y="48"/>
                    </a:lnTo>
                    <a:lnTo>
                      <a:pt x="305" y="54"/>
                    </a:lnTo>
                    <a:lnTo>
                      <a:pt x="314" y="78"/>
                    </a:lnTo>
                    <a:lnTo>
                      <a:pt x="312" y="84"/>
                    </a:lnTo>
                    <a:lnTo>
                      <a:pt x="324" y="101"/>
                    </a:lnTo>
                    <a:lnTo>
                      <a:pt x="316" y="104"/>
                    </a:lnTo>
                    <a:lnTo>
                      <a:pt x="310" y="99"/>
                    </a:lnTo>
                    <a:lnTo>
                      <a:pt x="289" y="96"/>
                    </a:lnTo>
                    <a:lnTo>
                      <a:pt x="282" y="100"/>
                    </a:lnTo>
                    <a:lnTo>
                      <a:pt x="263" y="103"/>
                    </a:lnTo>
                    <a:lnTo>
                      <a:pt x="254" y="103"/>
                    </a:lnTo>
                    <a:lnTo>
                      <a:pt x="235" y="110"/>
                    </a:lnTo>
                    <a:lnTo>
                      <a:pt x="221" y="110"/>
                    </a:lnTo>
                    <a:lnTo>
                      <a:pt x="212" y="106"/>
                    </a:lnTo>
                    <a:lnTo>
                      <a:pt x="193" y="112"/>
                    </a:lnTo>
                    <a:lnTo>
                      <a:pt x="187" y="108"/>
                    </a:lnTo>
                    <a:lnTo>
                      <a:pt x="188" y="120"/>
                    </a:lnTo>
                    <a:lnTo>
                      <a:pt x="184" y="124"/>
                    </a:lnTo>
                    <a:lnTo>
                      <a:pt x="180" y="129"/>
                    </a:lnTo>
                    <a:lnTo>
                      <a:pt x="172" y="119"/>
                    </a:lnTo>
                    <a:lnTo>
                      <a:pt x="178" y="112"/>
                    </a:lnTo>
                    <a:lnTo>
                      <a:pt x="167" y="113"/>
                    </a:lnTo>
                    <a:lnTo>
                      <a:pt x="153" y="109"/>
                    </a:lnTo>
                    <a:lnTo>
                      <a:pt x="142" y="120"/>
                    </a:lnTo>
                    <a:lnTo>
                      <a:pt x="116" y="123"/>
                    </a:lnTo>
                    <a:lnTo>
                      <a:pt x="101" y="112"/>
                    </a:lnTo>
                    <a:lnTo>
                      <a:pt x="82" y="111"/>
                    </a:lnTo>
                    <a:lnTo>
                      <a:pt x="80" y="120"/>
                    </a:lnTo>
                    <a:lnTo>
                      <a:pt x="68" y="122"/>
                    </a:lnTo>
                    <a:lnTo>
                      <a:pt x="50" y="111"/>
                    </a:lnTo>
                    <a:lnTo>
                      <a:pt x="31" y="111"/>
                    </a:lnTo>
                    <a:lnTo>
                      <a:pt x="19" y="91"/>
                    </a:lnTo>
                    <a:lnTo>
                      <a:pt x="6" y="79"/>
                    </a:lnTo>
                    <a:lnTo>
                      <a:pt x="12" y="63"/>
                    </a:lnTo>
                    <a:lnTo>
                      <a:pt x="0" y="53"/>
                    </a:lnTo>
                    <a:lnTo>
                      <a:pt x="17" y="34"/>
                    </a:lnTo>
                    <a:lnTo>
                      <a:pt x="43" y="33"/>
                    </a:lnTo>
                    <a:lnTo>
                      <a:pt x="48" y="17"/>
                    </a:lnTo>
                    <a:lnTo>
                      <a:pt x="81" y="20"/>
                    </a:lnTo>
                    <a:lnTo>
                      <a:pt x="99" y="7"/>
                    </a:lnTo>
                    <a:lnTo>
                      <a:pt x="118" y="1"/>
                    </a:lnTo>
                    <a:lnTo>
                      <a:pt x="145" y="0"/>
                    </a:lnTo>
                    <a:lnTo>
                      <a:pt x="177" y="15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09" name="Freeform 199"/>
              <p:cNvSpPr>
                <a:spLocks/>
              </p:cNvSpPr>
              <p:nvPr/>
            </p:nvSpPr>
            <p:spPr bwMode="auto">
              <a:xfrm>
                <a:off x="4876800" y="2520950"/>
                <a:ext cx="79375" cy="65088"/>
              </a:xfrm>
              <a:custGeom>
                <a:avLst/>
                <a:gdLst>
                  <a:gd name="T0" fmla="*/ 21 w 50"/>
                  <a:gd name="T1" fmla="*/ 30 h 41"/>
                  <a:gd name="T2" fmla="*/ 8 w 50"/>
                  <a:gd name="T3" fmla="*/ 41 h 41"/>
                  <a:gd name="T4" fmla="*/ 2 w 50"/>
                  <a:gd name="T5" fmla="*/ 32 h 41"/>
                  <a:gd name="T6" fmla="*/ 2 w 50"/>
                  <a:gd name="T7" fmla="*/ 27 h 41"/>
                  <a:gd name="T8" fmla="*/ 5 w 50"/>
                  <a:gd name="T9" fmla="*/ 25 h 41"/>
                  <a:gd name="T10" fmla="*/ 9 w 50"/>
                  <a:gd name="T11" fmla="*/ 12 h 41"/>
                  <a:gd name="T12" fmla="*/ 0 w 50"/>
                  <a:gd name="T13" fmla="*/ 7 h 41"/>
                  <a:gd name="T14" fmla="*/ 17 w 50"/>
                  <a:gd name="T15" fmla="*/ 0 h 41"/>
                  <a:gd name="T16" fmla="*/ 32 w 50"/>
                  <a:gd name="T17" fmla="*/ 3 h 41"/>
                  <a:gd name="T18" fmla="*/ 35 w 50"/>
                  <a:gd name="T19" fmla="*/ 11 h 41"/>
                  <a:gd name="T20" fmla="*/ 50 w 50"/>
                  <a:gd name="T21" fmla="*/ 18 h 41"/>
                  <a:gd name="T22" fmla="*/ 47 w 50"/>
                  <a:gd name="T23" fmla="*/ 23 h 41"/>
                  <a:gd name="T24" fmla="*/ 28 w 50"/>
                  <a:gd name="T25" fmla="*/ 24 h 41"/>
                  <a:gd name="T26" fmla="*/ 21 w 50"/>
                  <a:gd name="T2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0" h="41">
                    <a:moveTo>
                      <a:pt x="21" y="30"/>
                    </a:moveTo>
                    <a:lnTo>
                      <a:pt x="8" y="41"/>
                    </a:lnTo>
                    <a:lnTo>
                      <a:pt x="2" y="32"/>
                    </a:lnTo>
                    <a:lnTo>
                      <a:pt x="2" y="27"/>
                    </a:lnTo>
                    <a:lnTo>
                      <a:pt x="5" y="25"/>
                    </a:lnTo>
                    <a:lnTo>
                      <a:pt x="9" y="12"/>
                    </a:lnTo>
                    <a:lnTo>
                      <a:pt x="0" y="7"/>
                    </a:lnTo>
                    <a:lnTo>
                      <a:pt x="17" y="0"/>
                    </a:lnTo>
                    <a:lnTo>
                      <a:pt x="32" y="3"/>
                    </a:lnTo>
                    <a:lnTo>
                      <a:pt x="35" y="11"/>
                    </a:lnTo>
                    <a:lnTo>
                      <a:pt x="50" y="18"/>
                    </a:lnTo>
                    <a:lnTo>
                      <a:pt x="47" y="23"/>
                    </a:lnTo>
                    <a:lnTo>
                      <a:pt x="28" y="24"/>
                    </a:lnTo>
                    <a:lnTo>
                      <a:pt x="21" y="3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0" name="Freeform 200"/>
              <p:cNvSpPr>
                <a:spLocks/>
              </p:cNvSpPr>
              <p:nvPr/>
            </p:nvSpPr>
            <p:spPr bwMode="auto">
              <a:xfrm>
                <a:off x="7599362" y="3074987"/>
                <a:ext cx="39688" cy="109538"/>
              </a:xfrm>
              <a:custGeom>
                <a:avLst/>
                <a:gdLst>
                  <a:gd name="T0" fmla="*/ 25 w 25"/>
                  <a:gd name="T1" fmla="*/ 19 h 69"/>
                  <a:gd name="T2" fmla="*/ 22 w 25"/>
                  <a:gd name="T3" fmla="*/ 52 h 69"/>
                  <a:gd name="T4" fmla="*/ 19 w 25"/>
                  <a:gd name="T5" fmla="*/ 69 h 69"/>
                  <a:gd name="T6" fmla="*/ 5 w 25"/>
                  <a:gd name="T7" fmla="*/ 51 h 69"/>
                  <a:gd name="T8" fmla="*/ 0 w 25"/>
                  <a:gd name="T9" fmla="*/ 36 h 69"/>
                  <a:gd name="T10" fmla="*/ 5 w 25"/>
                  <a:gd name="T11" fmla="*/ 16 h 69"/>
                  <a:gd name="T12" fmla="*/ 15 w 25"/>
                  <a:gd name="T13" fmla="*/ 0 h 69"/>
                  <a:gd name="T14" fmla="*/ 25 w 25"/>
                  <a:gd name="T15" fmla="*/ 6 h 69"/>
                  <a:gd name="T16" fmla="*/ 25 w 25"/>
                  <a:gd name="T17" fmla="*/ 1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69">
                    <a:moveTo>
                      <a:pt x="25" y="19"/>
                    </a:moveTo>
                    <a:lnTo>
                      <a:pt x="22" y="52"/>
                    </a:lnTo>
                    <a:lnTo>
                      <a:pt x="19" y="69"/>
                    </a:lnTo>
                    <a:lnTo>
                      <a:pt x="5" y="51"/>
                    </a:lnTo>
                    <a:lnTo>
                      <a:pt x="0" y="36"/>
                    </a:lnTo>
                    <a:lnTo>
                      <a:pt x="5" y="16"/>
                    </a:lnTo>
                    <a:lnTo>
                      <a:pt x="15" y="0"/>
                    </a:lnTo>
                    <a:lnTo>
                      <a:pt x="25" y="6"/>
                    </a:lnTo>
                    <a:lnTo>
                      <a:pt x="25" y="1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1" name="Freeform 201"/>
              <p:cNvSpPr>
                <a:spLocks/>
              </p:cNvSpPr>
              <p:nvPr/>
            </p:nvSpPr>
            <p:spPr bwMode="auto">
              <a:xfrm>
                <a:off x="5037137" y="3940175"/>
                <a:ext cx="315913" cy="355600"/>
              </a:xfrm>
              <a:custGeom>
                <a:avLst/>
                <a:gdLst>
                  <a:gd name="T0" fmla="*/ 84 w 199"/>
                  <a:gd name="T1" fmla="*/ 0 h 224"/>
                  <a:gd name="T2" fmla="*/ 87 w 199"/>
                  <a:gd name="T3" fmla="*/ 2 h 224"/>
                  <a:gd name="T4" fmla="*/ 154 w 199"/>
                  <a:gd name="T5" fmla="*/ 45 h 224"/>
                  <a:gd name="T6" fmla="*/ 155 w 199"/>
                  <a:gd name="T7" fmla="*/ 57 h 224"/>
                  <a:gd name="T8" fmla="*/ 181 w 199"/>
                  <a:gd name="T9" fmla="*/ 78 h 224"/>
                  <a:gd name="T10" fmla="*/ 172 w 199"/>
                  <a:gd name="T11" fmla="*/ 103 h 224"/>
                  <a:gd name="T12" fmla="*/ 173 w 199"/>
                  <a:gd name="T13" fmla="*/ 115 h 224"/>
                  <a:gd name="T14" fmla="*/ 184 w 199"/>
                  <a:gd name="T15" fmla="*/ 123 h 224"/>
                  <a:gd name="T16" fmla="*/ 185 w 199"/>
                  <a:gd name="T17" fmla="*/ 128 h 224"/>
                  <a:gd name="T18" fmla="*/ 180 w 199"/>
                  <a:gd name="T19" fmla="*/ 141 h 224"/>
                  <a:gd name="T20" fmla="*/ 181 w 199"/>
                  <a:gd name="T21" fmla="*/ 147 h 224"/>
                  <a:gd name="T22" fmla="*/ 179 w 199"/>
                  <a:gd name="T23" fmla="*/ 157 h 224"/>
                  <a:gd name="T24" fmla="*/ 185 w 199"/>
                  <a:gd name="T25" fmla="*/ 170 h 224"/>
                  <a:gd name="T26" fmla="*/ 192 w 199"/>
                  <a:gd name="T27" fmla="*/ 190 h 224"/>
                  <a:gd name="T28" fmla="*/ 199 w 199"/>
                  <a:gd name="T29" fmla="*/ 195 h 224"/>
                  <a:gd name="T30" fmla="*/ 184 w 199"/>
                  <a:gd name="T31" fmla="*/ 207 h 224"/>
                  <a:gd name="T32" fmla="*/ 164 w 199"/>
                  <a:gd name="T33" fmla="*/ 215 h 224"/>
                  <a:gd name="T34" fmla="*/ 153 w 199"/>
                  <a:gd name="T35" fmla="*/ 215 h 224"/>
                  <a:gd name="T36" fmla="*/ 146 w 199"/>
                  <a:gd name="T37" fmla="*/ 221 h 224"/>
                  <a:gd name="T38" fmla="*/ 133 w 199"/>
                  <a:gd name="T39" fmla="*/ 221 h 224"/>
                  <a:gd name="T40" fmla="*/ 128 w 199"/>
                  <a:gd name="T41" fmla="*/ 224 h 224"/>
                  <a:gd name="T42" fmla="*/ 107 w 199"/>
                  <a:gd name="T43" fmla="*/ 218 h 224"/>
                  <a:gd name="T44" fmla="*/ 93 w 199"/>
                  <a:gd name="T45" fmla="*/ 220 h 224"/>
                  <a:gd name="T46" fmla="*/ 89 w 199"/>
                  <a:gd name="T47" fmla="*/ 192 h 224"/>
                  <a:gd name="T48" fmla="*/ 82 w 199"/>
                  <a:gd name="T49" fmla="*/ 182 h 224"/>
                  <a:gd name="T50" fmla="*/ 79 w 199"/>
                  <a:gd name="T51" fmla="*/ 176 h 224"/>
                  <a:gd name="T52" fmla="*/ 61 w 199"/>
                  <a:gd name="T53" fmla="*/ 172 h 224"/>
                  <a:gd name="T54" fmla="*/ 51 w 199"/>
                  <a:gd name="T55" fmla="*/ 166 h 224"/>
                  <a:gd name="T56" fmla="*/ 39 w 199"/>
                  <a:gd name="T57" fmla="*/ 163 h 224"/>
                  <a:gd name="T58" fmla="*/ 32 w 199"/>
                  <a:gd name="T59" fmla="*/ 159 h 224"/>
                  <a:gd name="T60" fmla="*/ 25 w 199"/>
                  <a:gd name="T61" fmla="*/ 154 h 224"/>
                  <a:gd name="T62" fmla="*/ 15 w 199"/>
                  <a:gd name="T63" fmla="*/ 127 h 224"/>
                  <a:gd name="T64" fmla="*/ 5 w 199"/>
                  <a:gd name="T65" fmla="*/ 116 h 224"/>
                  <a:gd name="T66" fmla="*/ 1 w 199"/>
                  <a:gd name="T67" fmla="*/ 104 h 224"/>
                  <a:gd name="T68" fmla="*/ 3 w 199"/>
                  <a:gd name="T69" fmla="*/ 93 h 224"/>
                  <a:gd name="T70" fmla="*/ 0 w 199"/>
                  <a:gd name="T71" fmla="*/ 74 h 224"/>
                  <a:gd name="T72" fmla="*/ 7 w 199"/>
                  <a:gd name="T73" fmla="*/ 73 h 224"/>
                  <a:gd name="T74" fmla="*/ 14 w 199"/>
                  <a:gd name="T75" fmla="*/ 65 h 224"/>
                  <a:gd name="T76" fmla="*/ 22 w 199"/>
                  <a:gd name="T77" fmla="*/ 54 h 224"/>
                  <a:gd name="T78" fmla="*/ 26 w 199"/>
                  <a:gd name="T79" fmla="*/ 50 h 224"/>
                  <a:gd name="T80" fmla="*/ 26 w 199"/>
                  <a:gd name="T81" fmla="*/ 43 h 224"/>
                  <a:gd name="T82" fmla="*/ 22 w 199"/>
                  <a:gd name="T83" fmla="*/ 39 h 224"/>
                  <a:gd name="T84" fmla="*/ 21 w 199"/>
                  <a:gd name="T85" fmla="*/ 31 h 224"/>
                  <a:gd name="T86" fmla="*/ 26 w 199"/>
                  <a:gd name="T87" fmla="*/ 28 h 224"/>
                  <a:gd name="T88" fmla="*/ 28 w 199"/>
                  <a:gd name="T89" fmla="*/ 16 h 224"/>
                  <a:gd name="T90" fmla="*/ 20 w 199"/>
                  <a:gd name="T91" fmla="*/ 4 h 224"/>
                  <a:gd name="T92" fmla="*/ 27 w 199"/>
                  <a:gd name="T93" fmla="*/ 2 h 224"/>
                  <a:gd name="T94" fmla="*/ 47 w 199"/>
                  <a:gd name="T95" fmla="*/ 2 h 224"/>
                  <a:gd name="T96" fmla="*/ 84 w 199"/>
                  <a:gd name="T97" fmla="*/ 0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99" h="224">
                    <a:moveTo>
                      <a:pt x="84" y="0"/>
                    </a:moveTo>
                    <a:lnTo>
                      <a:pt x="87" y="2"/>
                    </a:lnTo>
                    <a:lnTo>
                      <a:pt x="154" y="45"/>
                    </a:lnTo>
                    <a:lnTo>
                      <a:pt x="155" y="57"/>
                    </a:lnTo>
                    <a:lnTo>
                      <a:pt x="181" y="78"/>
                    </a:lnTo>
                    <a:lnTo>
                      <a:pt x="172" y="103"/>
                    </a:lnTo>
                    <a:lnTo>
                      <a:pt x="173" y="115"/>
                    </a:lnTo>
                    <a:lnTo>
                      <a:pt x="184" y="123"/>
                    </a:lnTo>
                    <a:lnTo>
                      <a:pt x="185" y="128"/>
                    </a:lnTo>
                    <a:lnTo>
                      <a:pt x="180" y="141"/>
                    </a:lnTo>
                    <a:lnTo>
                      <a:pt x="181" y="147"/>
                    </a:lnTo>
                    <a:lnTo>
                      <a:pt x="179" y="157"/>
                    </a:lnTo>
                    <a:lnTo>
                      <a:pt x="185" y="170"/>
                    </a:lnTo>
                    <a:lnTo>
                      <a:pt x="192" y="190"/>
                    </a:lnTo>
                    <a:lnTo>
                      <a:pt x="199" y="195"/>
                    </a:lnTo>
                    <a:lnTo>
                      <a:pt x="184" y="207"/>
                    </a:lnTo>
                    <a:lnTo>
                      <a:pt x="164" y="215"/>
                    </a:lnTo>
                    <a:lnTo>
                      <a:pt x="153" y="215"/>
                    </a:lnTo>
                    <a:lnTo>
                      <a:pt x="146" y="221"/>
                    </a:lnTo>
                    <a:lnTo>
                      <a:pt x="133" y="221"/>
                    </a:lnTo>
                    <a:lnTo>
                      <a:pt x="128" y="224"/>
                    </a:lnTo>
                    <a:lnTo>
                      <a:pt x="107" y="218"/>
                    </a:lnTo>
                    <a:lnTo>
                      <a:pt x="93" y="220"/>
                    </a:lnTo>
                    <a:lnTo>
                      <a:pt x="89" y="192"/>
                    </a:lnTo>
                    <a:lnTo>
                      <a:pt x="82" y="182"/>
                    </a:lnTo>
                    <a:lnTo>
                      <a:pt x="79" y="176"/>
                    </a:lnTo>
                    <a:lnTo>
                      <a:pt x="61" y="172"/>
                    </a:lnTo>
                    <a:lnTo>
                      <a:pt x="51" y="166"/>
                    </a:lnTo>
                    <a:lnTo>
                      <a:pt x="39" y="163"/>
                    </a:lnTo>
                    <a:lnTo>
                      <a:pt x="32" y="159"/>
                    </a:lnTo>
                    <a:lnTo>
                      <a:pt x="25" y="154"/>
                    </a:lnTo>
                    <a:lnTo>
                      <a:pt x="15" y="127"/>
                    </a:lnTo>
                    <a:lnTo>
                      <a:pt x="5" y="116"/>
                    </a:lnTo>
                    <a:lnTo>
                      <a:pt x="1" y="104"/>
                    </a:lnTo>
                    <a:lnTo>
                      <a:pt x="3" y="93"/>
                    </a:lnTo>
                    <a:lnTo>
                      <a:pt x="0" y="74"/>
                    </a:lnTo>
                    <a:lnTo>
                      <a:pt x="7" y="73"/>
                    </a:lnTo>
                    <a:lnTo>
                      <a:pt x="14" y="65"/>
                    </a:lnTo>
                    <a:lnTo>
                      <a:pt x="22" y="54"/>
                    </a:lnTo>
                    <a:lnTo>
                      <a:pt x="26" y="50"/>
                    </a:lnTo>
                    <a:lnTo>
                      <a:pt x="26" y="43"/>
                    </a:lnTo>
                    <a:lnTo>
                      <a:pt x="22" y="39"/>
                    </a:lnTo>
                    <a:lnTo>
                      <a:pt x="21" y="31"/>
                    </a:lnTo>
                    <a:lnTo>
                      <a:pt x="26" y="28"/>
                    </a:lnTo>
                    <a:lnTo>
                      <a:pt x="28" y="16"/>
                    </a:lnTo>
                    <a:lnTo>
                      <a:pt x="20" y="4"/>
                    </a:lnTo>
                    <a:lnTo>
                      <a:pt x="27" y="2"/>
                    </a:lnTo>
                    <a:lnTo>
                      <a:pt x="47" y="2"/>
                    </a:lnTo>
                    <a:lnTo>
                      <a:pt x="84" y="0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2" name="Freeform 202"/>
              <p:cNvSpPr>
                <a:spLocks/>
              </p:cNvSpPr>
              <p:nvPr/>
            </p:nvSpPr>
            <p:spPr bwMode="auto">
              <a:xfrm>
                <a:off x="5045075" y="3768725"/>
                <a:ext cx="158750" cy="187325"/>
              </a:xfrm>
              <a:custGeom>
                <a:avLst/>
                <a:gdLst>
                  <a:gd name="T0" fmla="*/ 42 w 100"/>
                  <a:gd name="T1" fmla="*/ 110 h 118"/>
                  <a:gd name="T2" fmla="*/ 22 w 100"/>
                  <a:gd name="T3" fmla="*/ 110 h 118"/>
                  <a:gd name="T4" fmla="*/ 15 w 100"/>
                  <a:gd name="T5" fmla="*/ 112 h 118"/>
                  <a:gd name="T6" fmla="*/ 4 w 100"/>
                  <a:gd name="T7" fmla="*/ 118 h 118"/>
                  <a:gd name="T8" fmla="*/ 0 w 100"/>
                  <a:gd name="T9" fmla="*/ 116 h 118"/>
                  <a:gd name="T10" fmla="*/ 0 w 100"/>
                  <a:gd name="T11" fmla="*/ 101 h 118"/>
                  <a:gd name="T12" fmla="*/ 4 w 100"/>
                  <a:gd name="T13" fmla="*/ 93 h 118"/>
                  <a:gd name="T14" fmla="*/ 5 w 100"/>
                  <a:gd name="T15" fmla="*/ 76 h 118"/>
                  <a:gd name="T16" fmla="*/ 9 w 100"/>
                  <a:gd name="T17" fmla="*/ 66 h 118"/>
                  <a:gd name="T18" fmla="*/ 16 w 100"/>
                  <a:gd name="T19" fmla="*/ 56 h 118"/>
                  <a:gd name="T20" fmla="*/ 23 w 100"/>
                  <a:gd name="T21" fmla="*/ 50 h 118"/>
                  <a:gd name="T22" fmla="*/ 29 w 100"/>
                  <a:gd name="T23" fmla="*/ 43 h 118"/>
                  <a:gd name="T24" fmla="*/ 22 w 100"/>
                  <a:gd name="T25" fmla="*/ 40 h 118"/>
                  <a:gd name="T26" fmla="*/ 23 w 100"/>
                  <a:gd name="T27" fmla="*/ 16 h 118"/>
                  <a:gd name="T28" fmla="*/ 30 w 100"/>
                  <a:gd name="T29" fmla="*/ 10 h 118"/>
                  <a:gd name="T30" fmla="*/ 42 w 100"/>
                  <a:gd name="T31" fmla="*/ 14 h 118"/>
                  <a:gd name="T32" fmla="*/ 57 w 100"/>
                  <a:gd name="T33" fmla="*/ 10 h 118"/>
                  <a:gd name="T34" fmla="*/ 69 w 100"/>
                  <a:gd name="T35" fmla="*/ 10 h 118"/>
                  <a:gd name="T36" fmla="*/ 81 w 100"/>
                  <a:gd name="T37" fmla="*/ 0 h 118"/>
                  <a:gd name="T38" fmla="*/ 90 w 100"/>
                  <a:gd name="T39" fmla="*/ 15 h 118"/>
                  <a:gd name="T40" fmla="*/ 92 w 100"/>
                  <a:gd name="T41" fmla="*/ 25 h 118"/>
                  <a:gd name="T42" fmla="*/ 100 w 100"/>
                  <a:gd name="T43" fmla="*/ 49 h 118"/>
                  <a:gd name="T44" fmla="*/ 93 w 100"/>
                  <a:gd name="T45" fmla="*/ 64 h 118"/>
                  <a:gd name="T46" fmla="*/ 84 w 100"/>
                  <a:gd name="T47" fmla="*/ 78 h 118"/>
                  <a:gd name="T48" fmla="*/ 79 w 100"/>
                  <a:gd name="T49" fmla="*/ 86 h 118"/>
                  <a:gd name="T50" fmla="*/ 79 w 100"/>
                  <a:gd name="T51" fmla="*/ 108 h 118"/>
                  <a:gd name="T52" fmla="*/ 42 w 100"/>
                  <a:gd name="T53" fmla="*/ 11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0" h="118">
                    <a:moveTo>
                      <a:pt x="42" y="110"/>
                    </a:moveTo>
                    <a:lnTo>
                      <a:pt x="22" y="110"/>
                    </a:lnTo>
                    <a:lnTo>
                      <a:pt x="15" y="112"/>
                    </a:lnTo>
                    <a:lnTo>
                      <a:pt x="4" y="118"/>
                    </a:lnTo>
                    <a:lnTo>
                      <a:pt x="0" y="116"/>
                    </a:lnTo>
                    <a:lnTo>
                      <a:pt x="0" y="101"/>
                    </a:lnTo>
                    <a:lnTo>
                      <a:pt x="4" y="93"/>
                    </a:lnTo>
                    <a:lnTo>
                      <a:pt x="5" y="76"/>
                    </a:lnTo>
                    <a:lnTo>
                      <a:pt x="9" y="66"/>
                    </a:lnTo>
                    <a:lnTo>
                      <a:pt x="16" y="56"/>
                    </a:lnTo>
                    <a:lnTo>
                      <a:pt x="23" y="50"/>
                    </a:lnTo>
                    <a:lnTo>
                      <a:pt x="29" y="43"/>
                    </a:lnTo>
                    <a:lnTo>
                      <a:pt x="22" y="40"/>
                    </a:lnTo>
                    <a:lnTo>
                      <a:pt x="23" y="16"/>
                    </a:lnTo>
                    <a:lnTo>
                      <a:pt x="30" y="10"/>
                    </a:lnTo>
                    <a:lnTo>
                      <a:pt x="42" y="14"/>
                    </a:lnTo>
                    <a:lnTo>
                      <a:pt x="57" y="10"/>
                    </a:lnTo>
                    <a:lnTo>
                      <a:pt x="69" y="10"/>
                    </a:lnTo>
                    <a:lnTo>
                      <a:pt x="81" y="0"/>
                    </a:lnTo>
                    <a:lnTo>
                      <a:pt x="90" y="15"/>
                    </a:lnTo>
                    <a:lnTo>
                      <a:pt x="92" y="25"/>
                    </a:lnTo>
                    <a:lnTo>
                      <a:pt x="100" y="49"/>
                    </a:lnTo>
                    <a:lnTo>
                      <a:pt x="93" y="64"/>
                    </a:lnTo>
                    <a:lnTo>
                      <a:pt x="84" y="78"/>
                    </a:lnTo>
                    <a:lnTo>
                      <a:pt x="79" y="86"/>
                    </a:lnTo>
                    <a:lnTo>
                      <a:pt x="79" y="108"/>
                    </a:lnTo>
                    <a:lnTo>
                      <a:pt x="42" y="11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3" name="Freeform 203"/>
              <p:cNvSpPr>
                <a:spLocks/>
              </p:cNvSpPr>
              <p:nvPr/>
            </p:nvSpPr>
            <p:spPr bwMode="auto">
              <a:xfrm>
                <a:off x="4748212" y="2192337"/>
                <a:ext cx="457200" cy="257175"/>
              </a:xfrm>
              <a:custGeom>
                <a:avLst/>
                <a:gdLst>
                  <a:gd name="T0" fmla="*/ 149 w 288"/>
                  <a:gd name="T1" fmla="*/ 6 h 162"/>
                  <a:gd name="T2" fmla="*/ 157 w 288"/>
                  <a:gd name="T3" fmla="*/ 2 h 162"/>
                  <a:gd name="T4" fmla="*/ 186 w 288"/>
                  <a:gd name="T5" fmla="*/ 11 h 162"/>
                  <a:gd name="T6" fmla="*/ 185 w 288"/>
                  <a:gd name="T7" fmla="*/ 22 h 162"/>
                  <a:gd name="T8" fmla="*/ 205 w 288"/>
                  <a:gd name="T9" fmla="*/ 31 h 162"/>
                  <a:gd name="T10" fmla="*/ 227 w 288"/>
                  <a:gd name="T11" fmla="*/ 42 h 162"/>
                  <a:gd name="T12" fmla="*/ 251 w 288"/>
                  <a:gd name="T13" fmla="*/ 49 h 162"/>
                  <a:gd name="T14" fmla="*/ 285 w 288"/>
                  <a:gd name="T15" fmla="*/ 55 h 162"/>
                  <a:gd name="T16" fmla="*/ 282 w 288"/>
                  <a:gd name="T17" fmla="*/ 72 h 162"/>
                  <a:gd name="T18" fmla="*/ 287 w 288"/>
                  <a:gd name="T19" fmla="*/ 89 h 162"/>
                  <a:gd name="T20" fmla="*/ 264 w 288"/>
                  <a:gd name="T21" fmla="*/ 97 h 162"/>
                  <a:gd name="T22" fmla="*/ 253 w 288"/>
                  <a:gd name="T23" fmla="*/ 107 h 162"/>
                  <a:gd name="T24" fmla="*/ 228 w 288"/>
                  <a:gd name="T25" fmla="*/ 115 h 162"/>
                  <a:gd name="T26" fmla="*/ 218 w 288"/>
                  <a:gd name="T27" fmla="*/ 135 h 162"/>
                  <a:gd name="T28" fmla="*/ 244 w 288"/>
                  <a:gd name="T29" fmla="*/ 139 h 162"/>
                  <a:gd name="T30" fmla="*/ 224 w 288"/>
                  <a:gd name="T31" fmla="*/ 150 h 162"/>
                  <a:gd name="T32" fmla="*/ 194 w 288"/>
                  <a:gd name="T33" fmla="*/ 158 h 162"/>
                  <a:gd name="T34" fmla="*/ 177 w 288"/>
                  <a:gd name="T35" fmla="*/ 142 h 162"/>
                  <a:gd name="T36" fmla="*/ 194 w 288"/>
                  <a:gd name="T37" fmla="*/ 131 h 162"/>
                  <a:gd name="T38" fmla="*/ 162 w 288"/>
                  <a:gd name="T39" fmla="*/ 121 h 162"/>
                  <a:gd name="T40" fmla="*/ 145 w 288"/>
                  <a:gd name="T41" fmla="*/ 116 h 162"/>
                  <a:gd name="T42" fmla="*/ 130 w 288"/>
                  <a:gd name="T43" fmla="*/ 143 h 162"/>
                  <a:gd name="T44" fmla="*/ 115 w 288"/>
                  <a:gd name="T45" fmla="*/ 142 h 162"/>
                  <a:gd name="T46" fmla="*/ 111 w 288"/>
                  <a:gd name="T47" fmla="*/ 137 h 162"/>
                  <a:gd name="T48" fmla="*/ 117 w 288"/>
                  <a:gd name="T49" fmla="*/ 123 h 162"/>
                  <a:gd name="T50" fmla="*/ 118 w 288"/>
                  <a:gd name="T51" fmla="*/ 118 h 162"/>
                  <a:gd name="T52" fmla="*/ 130 w 288"/>
                  <a:gd name="T53" fmla="*/ 121 h 162"/>
                  <a:gd name="T54" fmla="*/ 131 w 288"/>
                  <a:gd name="T55" fmla="*/ 118 h 162"/>
                  <a:gd name="T56" fmla="*/ 125 w 288"/>
                  <a:gd name="T57" fmla="*/ 109 h 162"/>
                  <a:gd name="T58" fmla="*/ 115 w 288"/>
                  <a:gd name="T59" fmla="*/ 98 h 162"/>
                  <a:gd name="T60" fmla="*/ 107 w 288"/>
                  <a:gd name="T61" fmla="*/ 85 h 162"/>
                  <a:gd name="T62" fmla="*/ 87 w 288"/>
                  <a:gd name="T63" fmla="*/ 78 h 162"/>
                  <a:gd name="T64" fmla="*/ 74 w 288"/>
                  <a:gd name="T65" fmla="*/ 83 h 162"/>
                  <a:gd name="T66" fmla="*/ 63 w 288"/>
                  <a:gd name="T67" fmla="*/ 88 h 162"/>
                  <a:gd name="T68" fmla="*/ 46 w 288"/>
                  <a:gd name="T69" fmla="*/ 93 h 162"/>
                  <a:gd name="T70" fmla="*/ 28 w 288"/>
                  <a:gd name="T71" fmla="*/ 88 h 162"/>
                  <a:gd name="T72" fmla="*/ 11 w 288"/>
                  <a:gd name="T73" fmla="*/ 90 h 162"/>
                  <a:gd name="T74" fmla="*/ 0 w 288"/>
                  <a:gd name="T75" fmla="*/ 79 h 162"/>
                  <a:gd name="T76" fmla="*/ 6 w 288"/>
                  <a:gd name="T77" fmla="*/ 66 h 162"/>
                  <a:gd name="T78" fmla="*/ 4 w 288"/>
                  <a:gd name="T79" fmla="*/ 58 h 162"/>
                  <a:gd name="T80" fmla="*/ 24 w 288"/>
                  <a:gd name="T81" fmla="*/ 39 h 162"/>
                  <a:gd name="T82" fmla="*/ 15 w 288"/>
                  <a:gd name="T83" fmla="*/ 15 h 162"/>
                  <a:gd name="T84" fmla="*/ 30 w 288"/>
                  <a:gd name="T85" fmla="*/ 9 h 162"/>
                  <a:gd name="T86" fmla="*/ 58 w 288"/>
                  <a:gd name="T87" fmla="*/ 10 h 162"/>
                  <a:gd name="T88" fmla="*/ 89 w 288"/>
                  <a:gd name="T89" fmla="*/ 15 h 162"/>
                  <a:gd name="T90" fmla="*/ 101 w 288"/>
                  <a:gd name="T91" fmla="*/ 15 h 162"/>
                  <a:gd name="T92" fmla="*/ 120 w 288"/>
                  <a:gd name="T93" fmla="*/ 19 h 162"/>
                  <a:gd name="T94" fmla="*/ 126 w 288"/>
                  <a:gd name="T95" fmla="*/ 10 h 162"/>
                  <a:gd name="T96" fmla="*/ 143 w 288"/>
                  <a:gd name="T97" fmla="*/ 5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88" h="162">
                    <a:moveTo>
                      <a:pt x="143" y="5"/>
                    </a:moveTo>
                    <a:lnTo>
                      <a:pt x="149" y="6"/>
                    </a:lnTo>
                    <a:lnTo>
                      <a:pt x="152" y="1"/>
                    </a:lnTo>
                    <a:lnTo>
                      <a:pt x="157" y="2"/>
                    </a:lnTo>
                    <a:lnTo>
                      <a:pt x="173" y="0"/>
                    </a:lnTo>
                    <a:lnTo>
                      <a:pt x="186" y="11"/>
                    </a:lnTo>
                    <a:lnTo>
                      <a:pt x="182" y="15"/>
                    </a:lnTo>
                    <a:lnTo>
                      <a:pt x="185" y="22"/>
                    </a:lnTo>
                    <a:lnTo>
                      <a:pt x="198" y="23"/>
                    </a:lnTo>
                    <a:lnTo>
                      <a:pt x="205" y="31"/>
                    </a:lnTo>
                    <a:lnTo>
                      <a:pt x="206" y="35"/>
                    </a:lnTo>
                    <a:lnTo>
                      <a:pt x="227" y="42"/>
                    </a:lnTo>
                    <a:lnTo>
                      <a:pt x="239" y="39"/>
                    </a:lnTo>
                    <a:lnTo>
                      <a:pt x="251" y="49"/>
                    </a:lnTo>
                    <a:lnTo>
                      <a:pt x="260" y="49"/>
                    </a:lnTo>
                    <a:lnTo>
                      <a:pt x="285" y="55"/>
                    </a:lnTo>
                    <a:lnTo>
                      <a:pt x="286" y="61"/>
                    </a:lnTo>
                    <a:lnTo>
                      <a:pt x="282" y="72"/>
                    </a:lnTo>
                    <a:lnTo>
                      <a:pt x="288" y="83"/>
                    </a:lnTo>
                    <a:lnTo>
                      <a:pt x="287" y="89"/>
                    </a:lnTo>
                    <a:lnTo>
                      <a:pt x="271" y="91"/>
                    </a:lnTo>
                    <a:lnTo>
                      <a:pt x="264" y="97"/>
                    </a:lnTo>
                    <a:lnTo>
                      <a:pt x="265" y="106"/>
                    </a:lnTo>
                    <a:lnTo>
                      <a:pt x="253" y="107"/>
                    </a:lnTo>
                    <a:lnTo>
                      <a:pt x="243" y="114"/>
                    </a:lnTo>
                    <a:lnTo>
                      <a:pt x="228" y="115"/>
                    </a:lnTo>
                    <a:lnTo>
                      <a:pt x="215" y="123"/>
                    </a:lnTo>
                    <a:lnTo>
                      <a:pt x="218" y="135"/>
                    </a:lnTo>
                    <a:lnTo>
                      <a:pt x="227" y="140"/>
                    </a:lnTo>
                    <a:lnTo>
                      <a:pt x="244" y="139"/>
                    </a:lnTo>
                    <a:lnTo>
                      <a:pt x="242" y="146"/>
                    </a:lnTo>
                    <a:lnTo>
                      <a:pt x="224" y="150"/>
                    </a:lnTo>
                    <a:lnTo>
                      <a:pt x="204" y="162"/>
                    </a:lnTo>
                    <a:lnTo>
                      <a:pt x="194" y="158"/>
                    </a:lnTo>
                    <a:lnTo>
                      <a:pt x="196" y="148"/>
                    </a:lnTo>
                    <a:lnTo>
                      <a:pt x="177" y="142"/>
                    </a:lnTo>
                    <a:lnTo>
                      <a:pt x="179" y="138"/>
                    </a:lnTo>
                    <a:lnTo>
                      <a:pt x="194" y="131"/>
                    </a:lnTo>
                    <a:lnTo>
                      <a:pt x="189" y="127"/>
                    </a:lnTo>
                    <a:lnTo>
                      <a:pt x="162" y="121"/>
                    </a:lnTo>
                    <a:lnTo>
                      <a:pt x="160" y="114"/>
                    </a:lnTo>
                    <a:lnTo>
                      <a:pt x="145" y="116"/>
                    </a:lnTo>
                    <a:lnTo>
                      <a:pt x="141" y="128"/>
                    </a:lnTo>
                    <a:lnTo>
                      <a:pt x="130" y="143"/>
                    </a:lnTo>
                    <a:lnTo>
                      <a:pt x="123" y="139"/>
                    </a:lnTo>
                    <a:lnTo>
                      <a:pt x="115" y="142"/>
                    </a:lnTo>
                    <a:lnTo>
                      <a:pt x="107" y="139"/>
                    </a:lnTo>
                    <a:lnTo>
                      <a:pt x="111" y="137"/>
                    </a:lnTo>
                    <a:lnTo>
                      <a:pt x="113" y="130"/>
                    </a:lnTo>
                    <a:lnTo>
                      <a:pt x="117" y="123"/>
                    </a:lnTo>
                    <a:lnTo>
                      <a:pt x="115" y="119"/>
                    </a:lnTo>
                    <a:lnTo>
                      <a:pt x="118" y="118"/>
                    </a:lnTo>
                    <a:lnTo>
                      <a:pt x="120" y="120"/>
                    </a:lnTo>
                    <a:lnTo>
                      <a:pt x="130" y="121"/>
                    </a:lnTo>
                    <a:lnTo>
                      <a:pt x="134" y="120"/>
                    </a:lnTo>
                    <a:lnTo>
                      <a:pt x="131" y="118"/>
                    </a:lnTo>
                    <a:lnTo>
                      <a:pt x="131" y="115"/>
                    </a:lnTo>
                    <a:lnTo>
                      <a:pt x="125" y="109"/>
                    </a:lnTo>
                    <a:lnTo>
                      <a:pt x="121" y="101"/>
                    </a:lnTo>
                    <a:lnTo>
                      <a:pt x="115" y="98"/>
                    </a:lnTo>
                    <a:lnTo>
                      <a:pt x="115" y="90"/>
                    </a:lnTo>
                    <a:lnTo>
                      <a:pt x="107" y="85"/>
                    </a:lnTo>
                    <a:lnTo>
                      <a:pt x="100" y="84"/>
                    </a:lnTo>
                    <a:lnTo>
                      <a:pt x="87" y="78"/>
                    </a:lnTo>
                    <a:lnTo>
                      <a:pt x="77" y="80"/>
                    </a:lnTo>
                    <a:lnTo>
                      <a:pt x="74" y="83"/>
                    </a:lnTo>
                    <a:lnTo>
                      <a:pt x="67" y="83"/>
                    </a:lnTo>
                    <a:lnTo>
                      <a:pt x="63" y="88"/>
                    </a:lnTo>
                    <a:lnTo>
                      <a:pt x="52" y="90"/>
                    </a:lnTo>
                    <a:lnTo>
                      <a:pt x="46" y="93"/>
                    </a:lnTo>
                    <a:lnTo>
                      <a:pt x="38" y="88"/>
                    </a:lnTo>
                    <a:lnTo>
                      <a:pt x="28" y="88"/>
                    </a:lnTo>
                    <a:lnTo>
                      <a:pt x="18" y="86"/>
                    </a:lnTo>
                    <a:lnTo>
                      <a:pt x="11" y="90"/>
                    </a:lnTo>
                    <a:lnTo>
                      <a:pt x="9" y="84"/>
                    </a:lnTo>
                    <a:lnTo>
                      <a:pt x="0" y="79"/>
                    </a:lnTo>
                    <a:lnTo>
                      <a:pt x="2" y="71"/>
                    </a:lnTo>
                    <a:lnTo>
                      <a:pt x="6" y="66"/>
                    </a:lnTo>
                    <a:lnTo>
                      <a:pt x="9" y="67"/>
                    </a:lnTo>
                    <a:lnTo>
                      <a:pt x="4" y="58"/>
                    </a:lnTo>
                    <a:lnTo>
                      <a:pt x="17" y="41"/>
                    </a:lnTo>
                    <a:lnTo>
                      <a:pt x="24" y="39"/>
                    </a:lnTo>
                    <a:lnTo>
                      <a:pt x="25" y="33"/>
                    </a:lnTo>
                    <a:lnTo>
                      <a:pt x="15" y="15"/>
                    </a:lnTo>
                    <a:lnTo>
                      <a:pt x="22" y="14"/>
                    </a:lnTo>
                    <a:lnTo>
                      <a:pt x="30" y="9"/>
                    </a:lnTo>
                    <a:lnTo>
                      <a:pt x="42" y="8"/>
                    </a:lnTo>
                    <a:lnTo>
                      <a:pt x="58" y="10"/>
                    </a:lnTo>
                    <a:lnTo>
                      <a:pt x="77" y="15"/>
                    </a:lnTo>
                    <a:lnTo>
                      <a:pt x="89" y="15"/>
                    </a:lnTo>
                    <a:lnTo>
                      <a:pt x="95" y="18"/>
                    </a:lnTo>
                    <a:lnTo>
                      <a:pt x="101" y="15"/>
                    </a:lnTo>
                    <a:lnTo>
                      <a:pt x="106" y="19"/>
                    </a:lnTo>
                    <a:lnTo>
                      <a:pt x="120" y="19"/>
                    </a:lnTo>
                    <a:lnTo>
                      <a:pt x="126" y="20"/>
                    </a:lnTo>
                    <a:lnTo>
                      <a:pt x="126" y="10"/>
                    </a:lnTo>
                    <a:lnTo>
                      <a:pt x="130" y="6"/>
                    </a:lnTo>
                    <a:lnTo>
                      <a:pt x="143" y="5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4" name="Freeform 204"/>
              <p:cNvSpPr>
                <a:spLocks/>
              </p:cNvSpPr>
              <p:nvPr/>
            </p:nvSpPr>
            <p:spPr bwMode="auto">
              <a:xfrm>
                <a:off x="2566987" y="4902200"/>
                <a:ext cx="142875" cy="158750"/>
              </a:xfrm>
              <a:custGeom>
                <a:avLst/>
                <a:gdLst>
                  <a:gd name="T0" fmla="*/ 3 w 90"/>
                  <a:gd name="T1" fmla="*/ 2 h 100"/>
                  <a:gd name="T2" fmla="*/ 14 w 90"/>
                  <a:gd name="T3" fmla="*/ 0 h 100"/>
                  <a:gd name="T4" fmla="*/ 35 w 90"/>
                  <a:gd name="T5" fmla="*/ 16 h 100"/>
                  <a:gd name="T6" fmla="*/ 41 w 90"/>
                  <a:gd name="T7" fmla="*/ 15 h 100"/>
                  <a:gd name="T8" fmla="*/ 61 w 90"/>
                  <a:gd name="T9" fmla="*/ 29 h 100"/>
                  <a:gd name="T10" fmla="*/ 77 w 90"/>
                  <a:gd name="T11" fmla="*/ 40 h 100"/>
                  <a:gd name="T12" fmla="*/ 89 w 90"/>
                  <a:gd name="T13" fmla="*/ 54 h 100"/>
                  <a:gd name="T14" fmla="*/ 83 w 90"/>
                  <a:gd name="T15" fmla="*/ 64 h 100"/>
                  <a:gd name="T16" fmla="*/ 90 w 90"/>
                  <a:gd name="T17" fmla="*/ 76 h 100"/>
                  <a:gd name="T18" fmla="*/ 84 w 90"/>
                  <a:gd name="T19" fmla="*/ 89 h 100"/>
                  <a:gd name="T20" fmla="*/ 67 w 90"/>
                  <a:gd name="T21" fmla="*/ 100 h 100"/>
                  <a:gd name="T22" fmla="*/ 53 w 90"/>
                  <a:gd name="T23" fmla="*/ 96 h 100"/>
                  <a:gd name="T24" fmla="*/ 44 w 90"/>
                  <a:gd name="T25" fmla="*/ 98 h 100"/>
                  <a:gd name="T26" fmla="*/ 27 w 90"/>
                  <a:gd name="T27" fmla="*/ 89 h 100"/>
                  <a:gd name="T28" fmla="*/ 15 w 90"/>
                  <a:gd name="T29" fmla="*/ 90 h 100"/>
                  <a:gd name="T30" fmla="*/ 2 w 90"/>
                  <a:gd name="T31" fmla="*/ 79 h 100"/>
                  <a:gd name="T32" fmla="*/ 1 w 90"/>
                  <a:gd name="T33" fmla="*/ 65 h 100"/>
                  <a:gd name="T34" fmla="*/ 4 w 90"/>
                  <a:gd name="T35" fmla="*/ 61 h 100"/>
                  <a:gd name="T36" fmla="*/ 0 w 90"/>
                  <a:gd name="T37" fmla="*/ 40 h 100"/>
                  <a:gd name="T38" fmla="*/ 2 w 90"/>
                  <a:gd name="T39" fmla="*/ 19 h 100"/>
                  <a:gd name="T40" fmla="*/ 3 w 90"/>
                  <a:gd name="T4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0" h="100">
                    <a:moveTo>
                      <a:pt x="3" y="2"/>
                    </a:moveTo>
                    <a:lnTo>
                      <a:pt x="14" y="0"/>
                    </a:lnTo>
                    <a:lnTo>
                      <a:pt x="35" y="16"/>
                    </a:lnTo>
                    <a:lnTo>
                      <a:pt x="41" y="15"/>
                    </a:lnTo>
                    <a:lnTo>
                      <a:pt x="61" y="29"/>
                    </a:lnTo>
                    <a:lnTo>
                      <a:pt x="77" y="40"/>
                    </a:lnTo>
                    <a:lnTo>
                      <a:pt x="89" y="54"/>
                    </a:lnTo>
                    <a:lnTo>
                      <a:pt x="83" y="64"/>
                    </a:lnTo>
                    <a:lnTo>
                      <a:pt x="90" y="76"/>
                    </a:lnTo>
                    <a:lnTo>
                      <a:pt x="84" y="89"/>
                    </a:lnTo>
                    <a:lnTo>
                      <a:pt x="67" y="100"/>
                    </a:lnTo>
                    <a:lnTo>
                      <a:pt x="53" y="96"/>
                    </a:lnTo>
                    <a:lnTo>
                      <a:pt x="44" y="98"/>
                    </a:lnTo>
                    <a:lnTo>
                      <a:pt x="27" y="89"/>
                    </a:lnTo>
                    <a:lnTo>
                      <a:pt x="15" y="90"/>
                    </a:lnTo>
                    <a:lnTo>
                      <a:pt x="2" y="79"/>
                    </a:lnTo>
                    <a:lnTo>
                      <a:pt x="1" y="65"/>
                    </a:lnTo>
                    <a:lnTo>
                      <a:pt x="4" y="61"/>
                    </a:lnTo>
                    <a:lnTo>
                      <a:pt x="0" y="40"/>
                    </a:lnTo>
                    <a:lnTo>
                      <a:pt x="2" y="19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5" name="Freeform 205"/>
              <p:cNvSpPr>
                <a:spLocks/>
              </p:cNvSpPr>
              <p:nvPr/>
            </p:nvSpPr>
            <p:spPr bwMode="auto">
              <a:xfrm>
                <a:off x="474662" y="2014537"/>
                <a:ext cx="76200" cy="39688"/>
              </a:xfrm>
              <a:custGeom>
                <a:avLst/>
                <a:gdLst>
                  <a:gd name="T0" fmla="*/ 25 w 48"/>
                  <a:gd name="T1" fmla="*/ 17 h 25"/>
                  <a:gd name="T2" fmla="*/ 3 w 48"/>
                  <a:gd name="T3" fmla="*/ 25 h 25"/>
                  <a:gd name="T4" fmla="*/ 0 w 48"/>
                  <a:gd name="T5" fmla="*/ 19 h 25"/>
                  <a:gd name="T6" fmla="*/ 7 w 48"/>
                  <a:gd name="T7" fmla="*/ 10 h 25"/>
                  <a:gd name="T8" fmla="*/ 28 w 48"/>
                  <a:gd name="T9" fmla="*/ 3 h 25"/>
                  <a:gd name="T10" fmla="*/ 40 w 48"/>
                  <a:gd name="T11" fmla="*/ 0 h 25"/>
                  <a:gd name="T12" fmla="*/ 48 w 48"/>
                  <a:gd name="T13" fmla="*/ 2 h 25"/>
                  <a:gd name="T14" fmla="*/ 48 w 48"/>
                  <a:gd name="T15" fmla="*/ 8 h 25"/>
                  <a:gd name="T16" fmla="*/ 25 w 48"/>
                  <a:gd name="T17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25">
                    <a:moveTo>
                      <a:pt x="25" y="17"/>
                    </a:moveTo>
                    <a:lnTo>
                      <a:pt x="3" y="25"/>
                    </a:lnTo>
                    <a:lnTo>
                      <a:pt x="0" y="19"/>
                    </a:lnTo>
                    <a:lnTo>
                      <a:pt x="7" y="10"/>
                    </a:lnTo>
                    <a:lnTo>
                      <a:pt x="28" y="3"/>
                    </a:lnTo>
                    <a:lnTo>
                      <a:pt x="40" y="0"/>
                    </a:lnTo>
                    <a:lnTo>
                      <a:pt x="48" y="2"/>
                    </a:lnTo>
                    <a:lnTo>
                      <a:pt x="48" y="8"/>
                    </a:lnTo>
                    <a:lnTo>
                      <a:pt x="25" y="1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6" name="Freeform 207"/>
              <p:cNvSpPr>
                <a:spLocks/>
              </p:cNvSpPr>
              <p:nvPr/>
            </p:nvSpPr>
            <p:spPr bwMode="auto">
              <a:xfrm>
                <a:off x="280987" y="1941512"/>
                <a:ext cx="44450" cy="19050"/>
              </a:xfrm>
              <a:custGeom>
                <a:avLst/>
                <a:gdLst>
                  <a:gd name="T0" fmla="*/ 21 w 28"/>
                  <a:gd name="T1" fmla="*/ 9 h 12"/>
                  <a:gd name="T2" fmla="*/ 8 w 28"/>
                  <a:gd name="T3" fmla="*/ 12 h 12"/>
                  <a:gd name="T4" fmla="*/ 3 w 28"/>
                  <a:gd name="T5" fmla="*/ 8 h 12"/>
                  <a:gd name="T6" fmla="*/ 0 w 28"/>
                  <a:gd name="T7" fmla="*/ 3 h 12"/>
                  <a:gd name="T8" fmla="*/ 19 w 28"/>
                  <a:gd name="T9" fmla="*/ 0 h 12"/>
                  <a:gd name="T10" fmla="*/ 28 w 28"/>
                  <a:gd name="T11" fmla="*/ 1 h 12"/>
                  <a:gd name="T12" fmla="*/ 21 w 28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2">
                    <a:moveTo>
                      <a:pt x="21" y="9"/>
                    </a:moveTo>
                    <a:lnTo>
                      <a:pt x="8" y="12"/>
                    </a:lnTo>
                    <a:lnTo>
                      <a:pt x="3" y="8"/>
                    </a:lnTo>
                    <a:lnTo>
                      <a:pt x="0" y="3"/>
                    </a:lnTo>
                    <a:lnTo>
                      <a:pt x="19" y="0"/>
                    </a:lnTo>
                    <a:lnTo>
                      <a:pt x="28" y="1"/>
                    </a:lnTo>
                    <a:lnTo>
                      <a:pt x="21" y="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7" name="Freeform 208"/>
              <p:cNvSpPr>
                <a:spLocks/>
              </p:cNvSpPr>
              <p:nvPr/>
            </p:nvSpPr>
            <p:spPr bwMode="auto">
              <a:xfrm>
                <a:off x="307975" y="1838325"/>
                <a:ext cx="65088" cy="23813"/>
              </a:xfrm>
              <a:custGeom>
                <a:avLst/>
                <a:gdLst>
                  <a:gd name="T0" fmla="*/ 10 w 41"/>
                  <a:gd name="T1" fmla="*/ 0 h 15"/>
                  <a:gd name="T2" fmla="*/ 14 w 41"/>
                  <a:gd name="T3" fmla="*/ 4 h 15"/>
                  <a:gd name="T4" fmla="*/ 26 w 41"/>
                  <a:gd name="T5" fmla="*/ 2 h 15"/>
                  <a:gd name="T6" fmla="*/ 30 w 41"/>
                  <a:gd name="T7" fmla="*/ 7 h 15"/>
                  <a:gd name="T8" fmla="*/ 41 w 41"/>
                  <a:gd name="T9" fmla="*/ 9 h 15"/>
                  <a:gd name="T10" fmla="*/ 37 w 41"/>
                  <a:gd name="T11" fmla="*/ 11 h 15"/>
                  <a:gd name="T12" fmla="*/ 21 w 41"/>
                  <a:gd name="T13" fmla="*/ 15 h 15"/>
                  <a:gd name="T14" fmla="*/ 16 w 41"/>
                  <a:gd name="T15" fmla="*/ 11 h 15"/>
                  <a:gd name="T16" fmla="*/ 15 w 41"/>
                  <a:gd name="T17" fmla="*/ 8 h 15"/>
                  <a:gd name="T18" fmla="*/ 1 w 41"/>
                  <a:gd name="T19" fmla="*/ 9 h 15"/>
                  <a:gd name="T20" fmla="*/ 0 w 41"/>
                  <a:gd name="T21" fmla="*/ 7 h 15"/>
                  <a:gd name="T22" fmla="*/ 10 w 41"/>
                  <a:gd name="T2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" h="15">
                    <a:moveTo>
                      <a:pt x="10" y="0"/>
                    </a:moveTo>
                    <a:lnTo>
                      <a:pt x="14" y="4"/>
                    </a:lnTo>
                    <a:lnTo>
                      <a:pt x="26" y="2"/>
                    </a:lnTo>
                    <a:lnTo>
                      <a:pt x="30" y="7"/>
                    </a:lnTo>
                    <a:lnTo>
                      <a:pt x="41" y="9"/>
                    </a:lnTo>
                    <a:lnTo>
                      <a:pt x="37" y="11"/>
                    </a:lnTo>
                    <a:lnTo>
                      <a:pt x="21" y="15"/>
                    </a:lnTo>
                    <a:lnTo>
                      <a:pt x="16" y="11"/>
                    </a:lnTo>
                    <a:lnTo>
                      <a:pt x="15" y="8"/>
                    </a:lnTo>
                    <a:lnTo>
                      <a:pt x="1" y="9"/>
                    </a:lnTo>
                    <a:lnTo>
                      <a:pt x="0" y="7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8" name="Freeform 209"/>
              <p:cNvSpPr>
                <a:spLocks/>
              </p:cNvSpPr>
              <p:nvPr/>
            </p:nvSpPr>
            <p:spPr bwMode="auto">
              <a:xfrm>
                <a:off x="141287" y="1624012"/>
                <a:ext cx="1082675" cy="503238"/>
              </a:xfrm>
              <a:custGeom>
                <a:avLst/>
                <a:gdLst>
                  <a:gd name="T0" fmla="*/ 542 w 682"/>
                  <a:gd name="T1" fmla="*/ 8 h 317"/>
                  <a:gd name="T2" fmla="*/ 572 w 682"/>
                  <a:gd name="T3" fmla="*/ 16 h 317"/>
                  <a:gd name="T4" fmla="*/ 630 w 682"/>
                  <a:gd name="T5" fmla="*/ 21 h 317"/>
                  <a:gd name="T6" fmla="*/ 671 w 682"/>
                  <a:gd name="T7" fmla="*/ 26 h 317"/>
                  <a:gd name="T8" fmla="*/ 598 w 682"/>
                  <a:gd name="T9" fmla="*/ 94 h 317"/>
                  <a:gd name="T10" fmla="*/ 501 w 682"/>
                  <a:gd name="T11" fmla="*/ 207 h 317"/>
                  <a:gd name="T12" fmla="*/ 529 w 682"/>
                  <a:gd name="T13" fmla="*/ 217 h 317"/>
                  <a:gd name="T14" fmla="*/ 550 w 682"/>
                  <a:gd name="T15" fmla="*/ 229 h 317"/>
                  <a:gd name="T16" fmla="*/ 547 w 682"/>
                  <a:gd name="T17" fmla="*/ 274 h 317"/>
                  <a:gd name="T18" fmla="*/ 536 w 682"/>
                  <a:gd name="T19" fmla="*/ 309 h 317"/>
                  <a:gd name="T20" fmla="*/ 536 w 682"/>
                  <a:gd name="T21" fmla="*/ 278 h 317"/>
                  <a:gd name="T22" fmla="*/ 526 w 682"/>
                  <a:gd name="T23" fmla="*/ 242 h 317"/>
                  <a:gd name="T24" fmla="*/ 480 w 682"/>
                  <a:gd name="T25" fmla="*/ 216 h 317"/>
                  <a:gd name="T26" fmla="*/ 429 w 682"/>
                  <a:gd name="T27" fmla="*/ 207 h 317"/>
                  <a:gd name="T28" fmla="*/ 380 w 682"/>
                  <a:gd name="T29" fmla="*/ 194 h 317"/>
                  <a:gd name="T30" fmla="*/ 338 w 682"/>
                  <a:gd name="T31" fmla="*/ 213 h 317"/>
                  <a:gd name="T32" fmla="*/ 307 w 682"/>
                  <a:gd name="T33" fmla="*/ 212 h 317"/>
                  <a:gd name="T34" fmla="*/ 358 w 682"/>
                  <a:gd name="T35" fmla="*/ 183 h 317"/>
                  <a:gd name="T36" fmla="*/ 267 w 682"/>
                  <a:gd name="T37" fmla="*/ 220 h 317"/>
                  <a:gd name="T38" fmla="*/ 213 w 682"/>
                  <a:gd name="T39" fmla="*/ 251 h 317"/>
                  <a:gd name="T40" fmla="*/ 145 w 682"/>
                  <a:gd name="T41" fmla="*/ 276 h 317"/>
                  <a:gd name="T42" fmla="*/ 95 w 682"/>
                  <a:gd name="T43" fmla="*/ 292 h 317"/>
                  <a:gd name="T44" fmla="*/ 32 w 682"/>
                  <a:gd name="T45" fmla="*/ 311 h 317"/>
                  <a:gd name="T46" fmla="*/ 28 w 682"/>
                  <a:gd name="T47" fmla="*/ 304 h 317"/>
                  <a:gd name="T48" fmla="*/ 98 w 682"/>
                  <a:gd name="T49" fmla="*/ 285 h 317"/>
                  <a:gd name="T50" fmla="*/ 155 w 682"/>
                  <a:gd name="T51" fmla="*/ 261 h 317"/>
                  <a:gd name="T52" fmla="*/ 213 w 682"/>
                  <a:gd name="T53" fmla="*/ 228 h 317"/>
                  <a:gd name="T54" fmla="*/ 172 w 682"/>
                  <a:gd name="T55" fmla="*/ 238 h 317"/>
                  <a:gd name="T56" fmla="*/ 167 w 682"/>
                  <a:gd name="T57" fmla="*/ 225 h 317"/>
                  <a:gd name="T58" fmla="*/ 146 w 682"/>
                  <a:gd name="T59" fmla="*/ 221 h 317"/>
                  <a:gd name="T60" fmla="*/ 132 w 682"/>
                  <a:gd name="T61" fmla="*/ 211 h 317"/>
                  <a:gd name="T62" fmla="*/ 139 w 682"/>
                  <a:gd name="T63" fmla="*/ 186 h 317"/>
                  <a:gd name="T64" fmla="*/ 183 w 682"/>
                  <a:gd name="T65" fmla="*/ 157 h 317"/>
                  <a:gd name="T66" fmla="*/ 220 w 682"/>
                  <a:gd name="T67" fmla="*/ 149 h 317"/>
                  <a:gd name="T68" fmla="*/ 270 w 682"/>
                  <a:gd name="T69" fmla="*/ 136 h 317"/>
                  <a:gd name="T70" fmla="*/ 295 w 682"/>
                  <a:gd name="T71" fmla="*/ 117 h 317"/>
                  <a:gd name="T72" fmla="*/ 256 w 682"/>
                  <a:gd name="T73" fmla="*/ 125 h 317"/>
                  <a:gd name="T74" fmla="*/ 213 w 682"/>
                  <a:gd name="T75" fmla="*/ 119 h 317"/>
                  <a:gd name="T76" fmla="*/ 246 w 682"/>
                  <a:gd name="T77" fmla="*/ 93 h 317"/>
                  <a:gd name="T78" fmla="*/ 286 w 682"/>
                  <a:gd name="T79" fmla="*/ 93 h 317"/>
                  <a:gd name="T80" fmla="*/ 313 w 682"/>
                  <a:gd name="T81" fmla="*/ 74 h 317"/>
                  <a:gd name="T82" fmla="*/ 305 w 682"/>
                  <a:gd name="T83" fmla="*/ 52 h 317"/>
                  <a:gd name="T84" fmla="*/ 380 w 682"/>
                  <a:gd name="T85" fmla="*/ 34 h 317"/>
                  <a:gd name="T86" fmla="*/ 439 w 682"/>
                  <a:gd name="T87" fmla="*/ 16 h 317"/>
                  <a:gd name="T88" fmla="*/ 519 w 682"/>
                  <a:gd name="T89" fmla="*/ 0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682" h="317">
                    <a:moveTo>
                      <a:pt x="533" y="4"/>
                    </a:moveTo>
                    <a:lnTo>
                      <a:pt x="531" y="12"/>
                    </a:lnTo>
                    <a:lnTo>
                      <a:pt x="542" y="8"/>
                    </a:lnTo>
                    <a:lnTo>
                      <a:pt x="562" y="9"/>
                    </a:lnTo>
                    <a:lnTo>
                      <a:pt x="556" y="13"/>
                    </a:lnTo>
                    <a:lnTo>
                      <a:pt x="572" y="16"/>
                    </a:lnTo>
                    <a:lnTo>
                      <a:pt x="587" y="14"/>
                    </a:lnTo>
                    <a:lnTo>
                      <a:pt x="607" y="20"/>
                    </a:lnTo>
                    <a:lnTo>
                      <a:pt x="630" y="21"/>
                    </a:lnTo>
                    <a:lnTo>
                      <a:pt x="637" y="23"/>
                    </a:lnTo>
                    <a:lnTo>
                      <a:pt x="658" y="21"/>
                    </a:lnTo>
                    <a:lnTo>
                      <a:pt x="671" y="26"/>
                    </a:lnTo>
                    <a:lnTo>
                      <a:pt x="682" y="28"/>
                    </a:lnTo>
                    <a:lnTo>
                      <a:pt x="682" y="28"/>
                    </a:lnTo>
                    <a:lnTo>
                      <a:pt x="598" y="94"/>
                    </a:lnTo>
                    <a:lnTo>
                      <a:pt x="478" y="201"/>
                    </a:lnTo>
                    <a:lnTo>
                      <a:pt x="492" y="202"/>
                    </a:lnTo>
                    <a:lnTo>
                      <a:pt x="501" y="207"/>
                    </a:lnTo>
                    <a:lnTo>
                      <a:pt x="503" y="215"/>
                    </a:lnTo>
                    <a:lnTo>
                      <a:pt x="503" y="228"/>
                    </a:lnTo>
                    <a:lnTo>
                      <a:pt x="529" y="217"/>
                    </a:lnTo>
                    <a:lnTo>
                      <a:pt x="549" y="211"/>
                    </a:lnTo>
                    <a:lnTo>
                      <a:pt x="548" y="221"/>
                    </a:lnTo>
                    <a:lnTo>
                      <a:pt x="550" y="229"/>
                    </a:lnTo>
                    <a:lnTo>
                      <a:pt x="555" y="238"/>
                    </a:lnTo>
                    <a:lnTo>
                      <a:pt x="552" y="252"/>
                    </a:lnTo>
                    <a:lnTo>
                      <a:pt x="547" y="274"/>
                    </a:lnTo>
                    <a:lnTo>
                      <a:pt x="562" y="287"/>
                    </a:lnTo>
                    <a:lnTo>
                      <a:pt x="552" y="299"/>
                    </a:lnTo>
                    <a:lnTo>
                      <a:pt x="536" y="309"/>
                    </a:lnTo>
                    <a:lnTo>
                      <a:pt x="533" y="301"/>
                    </a:lnTo>
                    <a:lnTo>
                      <a:pt x="525" y="295"/>
                    </a:lnTo>
                    <a:lnTo>
                      <a:pt x="536" y="278"/>
                    </a:lnTo>
                    <a:lnTo>
                      <a:pt x="530" y="262"/>
                    </a:lnTo>
                    <a:lnTo>
                      <a:pt x="539" y="244"/>
                    </a:lnTo>
                    <a:lnTo>
                      <a:pt x="526" y="242"/>
                    </a:lnTo>
                    <a:lnTo>
                      <a:pt x="503" y="242"/>
                    </a:lnTo>
                    <a:lnTo>
                      <a:pt x="491" y="236"/>
                    </a:lnTo>
                    <a:lnTo>
                      <a:pt x="480" y="216"/>
                    </a:lnTo>
                    <a:lnTo>
                      <a:pt x="470" y="212"/>
                    </a:lnTo>
                    <a:lnTo>
                      <a:pt x="451" y="205"/>
                    </a:lnTo>
                    <a:lnTo>
                      <a:pt x="429" y="207"/>
                    </a:lnTo>
                    <a:lnTo>
                      <a:pt x="409" y="198"/>
                    </a:lnTo>
                    <a:lnTo>
                      <a:pt x="401" y="190"/>
                    </a:lnTo>
                    <a:lnTo>
                      <a:pt x="380" y="194"/>
                    </a:lnTo>
                    <a:lnTo>
                      <a:pt x="369" y="207"/>
                    </a:lnTo>
                    <a:lnTo>
                      <a:pt x="359" y="209"/>
                    </a:lnTo>
                    <a:lnTo>
                      <a:pt x="338" y="213"/>
                    </a:lnTo>
                    <a:lnTo>
                      <a:pt x="318" y="219"/>
                    </a:lnTo>
                    <a:lnTo>
                      <a:pt x="297" y="223"/>
                    </a:lnTo>
                    <a:lnTo>
                      <a:pt x="307" y="212"/>
                    </a:lnTo>
                    <a:lnTo>
                      <a:pt x="335" y="193"/>
                    </a:lnTo>
                    <a:lnTo>
                      <a:pt x="357" y="187"/>
                    </a:lnTo>
                    <a:lnTo>
                      <a:pt x="358" y="183"/>
                    </a:lnTo>
                    <a:lnTo>
                      <a:pt x="328" y="193"/>
                    </a:lnTo>
                    <a:lnTo>
                      <a:pt x="303" y="206"/>
                    </a:lnTo>
                    <a:lnTo>
                      <a:pt x="267" y="220"/>
                    </a:lnTo>
                    <a:lnTo>
                      <a:pt x="267" y="229"/>
                    </a:lnTo>
                    <a:lnTo>
                      <a:pt x="238" y="243"/>
                    </a:lnTo>
                    <a:lnTo>
                      <a:pt x="213" y="251"/>
                    </a:lnTo>
                    <a:lnTo>
                      <a:pt x="192" y="257"/>
                    </a:lnTo>
                    <a:lnTo>
                      <a:pt x="179" y="266"/>
                    </a:lnTo>
                    <a:lnTo>
                      <a:pt x="145" y="276"/>
                    </a:lnTo>
                    <a:lnTo>
                      <a:pt x="130" y="285"/>
                    </a:lnTo>
                    <a:lnTo>
                      <a:pt x="104" y="294"/>
                    </a:lnTo>
                    <a:lnTo>
                      <a:pt x="95" y="292"/>
                    </a:lnTo>
                    <a:lnTo>
                      <a:pt x="75" y="298"/>
                    </a:lnTo>
                    <a:lnTo>
                      <a:pt x="52" y="304"/>
                    </a:lnTo>
                    <a:lnTo>
                      <a:pt x="32" y="311"/>
                    </a:lnTo>
                    <a:lnTo>
                      <a:pt x="0" y="317"/>
                    </a:lnTo>
                    <a:lnTo>
                      <a:pt x="1" y="313"/>
                    </a:lnTo>
                    <a:lnTo>
                      <a:pt x="28" y="304"/>
                    </a:lnTo>
                    <a:lnTo>
                      <a:pt x="49" y="298"/>
                    </a:lnTo>
                    <a:lnTo>
                      <a:pt x="77" y="287"/>
                    </a:lnTo>
                    <a:lnTo>
                      <a:pt x="98" y="285"/>
                    </a:lnTo>
                    <a:lnTo>
                      <a:pt x="114" y="277"/>
                    </a:lnTo>
                    <a:lnTo>
                      <a:pt x="148" y="265"/>
                    </a:lnTo>
                    <a:lnTo>
                      <a:pt x="155" y="261"/>
                    </a:lnTo>
                    <a:lnTo>
                      <a:pt x="174" y="254"/>
                    </a:lnTo>
                    <a:lnTo>
                      <a:pt x="192" y="239"/>
                    </a:lnTo>
                    <a:lnTo>
                      <a:pt x="213" y="228"/>
                    </a:lnTo>
                    <a:lnTo>
                      <a:pt x="189" y="234"/>
                    </a:lnTo>
                    <a:lnTo>
                      <a:pt x="188" y="231"/>
                    </a:lnTo>
                    <a:lnTo>
                      <a:pt x="172" y="238"/>
                    </a:lnTo>
                    <a:lnTo>
                      <a:pt x="173" y="228"/>
                    </a:lnTo>
                    <a:lnTo>
                      <a:pt x="161" y="235"/>
                    </a:lnTo>
                    <a:lnTo>
                      <a:pt x="167" y="225"/>
                    </a:lnTo>
                    <a:lnTo>
                      <a:pt x="143" y="233"/>
                    </a:lnTo>
                    <a:lnTo>
                      <a:pt x="134" y="233"/>
                    </a:lnTo>
                    <a:lnTo>
                      <a:pt x="146" y="221"/>
                    </a:lnTo>
                    <a:lnTo>
                      <a:pt x="157" y="214"/>
                    </a:lnTo>
                    <a:lnTo>
                      <a:pt x="156" y="207"/>
                    </a:lnTo>
                    <a:lnTo>
                      <a:pt x="132" y="211"/>
                    </a:lnTo>
                    <a:lnTo>
                      <a:pt x="131" y="202"/>
                    </a:lnTo>
                    <a:lnTo>
                      <a:pt x="126" y="197"/>
                    </a:lnTo>
                    <a:lnTo>
                      <a:pt x="139" y="186"/>
                    </a:lnTo>
                    <a:lnTo>
                      <a:pt x="138" y="178"/>
                    </a:lnTo>
                    <a:lnTo>
                      <a:pt x="158" y="167"/>
                    </a:lnTo>
                    <a:lnTo>
                      <a:pt x="183" y="157"/>
                    </a:lnTo>
                    <a:lnTo>
                      <a:pt x="201" y="147"/>
                    </a:lnTo>
                    <a:lnTo>
                      <a:pt x="214" y="146"/>
                    </a:lnTo>
                    <a:lnTo>
                      <a:pt x="220" y="149"/>
                    </a:lnTo>
                    <a:lnTo>
                      <a:pt x="243" y="140"/>
                    </a:lnTo>
                    <a:lnTo>
                      <a:pt x="252" y="142"/>
                    </a:lnTo>
                    <a:lnTo>
                      <a:pt x="270" y="136"/>
                    </a:lnTo>
                    <a:lnTo>
                      <a:pt x="279" y="127"/>
                    </a:lnTo>
                    <a:lnTo>
                      <a:pt x="275" y="124"/>
                    </a:lnTo>
                    <a:lnTo>
                      <a:pt x="295" y="117"/>
                    </a:lnTo>
                    <a:lnTo>
                      <a:pt x="286" y="117"/>
                    </a:lnTo>
                    <a:lnTo>
                      <a:pt x="266" y="121"/>
                    </a:lnTo>
                    <a:lnTo>
                      <a:pt x="256" y="125"/>
                    </a:lnTo>
                    <a:lnTo>
                      <a:pt x="251" y="121"/>
                    </a:lnTo>
                    <a:lnTo>
                      <a:pt x="228" y="123"/>
                    </a:lnTo>
                    <a:lnTo>
                      <a:pt x="213" y="119"/>
                    </a:lnTo>
                    <a:lnTo>
                      <a:pt x="218" y="111"/>
                    </a:lnTo>
                    <a:lnTo>
                      <a:pt x="215" y="101"/>
                    </a:lnTo>
                    <a:lnTo>
                      <a:pt x="246" y="93"/>
                    </a:lnTo>
                    <a:lnTo>
                      <a:pt x="289" y="84"/>
                    </a:lnTo>
                    <a:lnTo>
                      <a:pt x="300" y="84"/>
                    </a:lnTo>
                    <a:lnTo>
                      <a:pt x="286" y="93"/>
                    </a:lnTo>
                    <a:lnTo>
                      <a:pt x="316" y="92"/>
                    </a:lnTo>
                    <a:lnTo>
                      <a:pt x="320" y="81"/>
                    </a:lnTo>
                    <a:lnTo>
                      <a:pt x="313" y="74"/>
                    </a:lnTo>
                    <a:lnTo>
                      <a:pt x="317" y="65"/>
                    </a:lnTo>
                    <a:lnTo>
                      <a:pt x="315" y="58"/>
                    </a:lnTo>
                    <a:lnTo>
                      <a:pt x="305" y="52"/>
                    </a:lnTo>
                    <a:lnTo>
                      <a:pt x="327" y="43"/>
                    </a:lnTo>
                    <a:lnTo>
                      <a:pt x="351" y="42"/>
                    </a:lnTo>
                    <a:lnTo>
                      <a:pt x="380" y="34"/>
                    </a:lnTo>
                    <a:lnTo>
                      <a:pt x="397" y="26"/>
                    </a:lnTo>
                    <a:lnTo>
                      <a:pt x="423" y="18"/>
                    </a:lnTo>
                    <a:lnTo>
                      <a:pt x="439" y="16"/>
                    </a:lnTo>
                    <a:lnTo>
                      <a:pt x="475" y="8"/>
                    </a:lnTo>
                    <a:lnTo>
                      <a:pt x="485" y="9"/>
                    </a:lnTo>
                    <a:lnTo>
                      <a:pt x="519" y="0"/>
                    </a:lnTo>
                    <a:lnTo>
                      <a:pt x="533" y="4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19" name="Freeform 210"/>
              <p:cNvSpPr>
                <a:spLocks/>
              </p:cNvSpPr>
              <p:nvPr/>
            </p:nvSpPr>
            <p:spPr bwMode="auto">
              <a:xfrm>
                <a:off x="841375" y="2286000"/>
                <a:ext cx="1589088" cy="795338"/>
              </a:xfrm>
              <a:custGeom>
                <a:avLst/>
                <a:gdLst>
                  <a:gd name="T0" fmla="*/ 595 w 1001"/>
                  <a:gd name="T1" fmla="*/ 16 h 501"/>
                  <a:gd name="T2" fmla="*/ 655 w 1001"/>
                  <a:gd name="T3" fmla="*/ 28 h 501"/>
                  <a:gd name="T4" fmla="*/ 701 w 1001"/>
                  <a:gd name="T5" fmla="*/ 38 h 501"/>
                  <a:gd name="T6" fmla="*/ 724 w 1001"/>
                  <a:gd name="T7" fmla="*/ 58 h 501"/>
                  <a:gd name="T8" fmla="*/ 729 w 1001"/>
                  <a:gd name="T9" fmla="*/ 64 h 501"/>
                  <a:gd name="T10" fmla="*/ 733 w 1001"/>
                  <a:gd name="T11" fmla="*/ 73 h 501"/>
                  <a:gd name="T12" fmla="*/ 730 w 1001"/>
                  <a:gd name="T13" fmla="*/ 131 h 501"/>
                  <a:gd name="T14" fmla="*/ 712 w 1001"/>
                  <a:gd name="T15" fmla="*/ 155 h 501"/>
                  <a:gd name="T16" fmla="*/ 762 w 1001"/>
                  <a:gd name="T17" fmla="*/ 144 h 501"/>
                  <a:gd name="T18" fmla="*/ 788 w 1001"/>
                  <a:gd name="T19" fmla="*/ 121 h 501"/>
                  <a:gd name="T20" fmla="*/ 836 w 1001"/>
                  <a:gd name="T21" fmla="*/ 110 h 501"/>
                  <a:gd name="T22" fmla="*/ 896 w 1001"/>
                  <a:gd name="T23" fmla="*/ 90 h 501"/>
                  <a:gd name="T24" fmla="*/ 943 w 1001"/>
                  <a:gd name="T25" fmla="*/ 80 h 501"/>
                  <a:gd name="T26" fmla="*/ 984 w 1001"/>
                  <a:gd name="T27" fmla="*/ 45 h 501"/>
                  <a:gd name="T28" fmla="*/ 999 w 1001"/>
                  <a:gd name="T29" fmla="*/ 87 h 501"/>
                  <a:gd name="T30" fmla="*/ 940 w 1001"/>
                  <a:gd name="T31" fmla="*/ 117 h 501"/>
                  <a:gd name="T32" fmla="*/ 922 w 1001"/>
                  <a:gd name="T33" fmla="*/ 155 h 501"/>
                  <a:gd name="T34" fmla="*/ 930 w 1001"/>
                  <a:gd name="T35" fmla="*/ 159 h 501"/>
                  <a:gd name="T36" fmla="*/ 888 w 1001"/>
                  <a:gd name="T37" fmla="*/ 166 h 501"/>
                  <a:gd name="T38" fmla="*/ 892 w 1001"/>
                  <a:gd name="T39" fmla="*/ 173 h 501"/>
                  <a:gd name="T40" fmla="*/ 850 w 1001"/>
                  <a:gd name="T41" fmla="*/ 183 h 501"/>
                  <a:gd name="T42" fmla="*/ 830 w 1001"/>
                  <a:gd name="T43" fmla="*/ 209 h 501"/>
                  <a:gd name="T44" fmla="*/ 826 w 1001"/>
                  <a:gd name="T45" fmla="*/ 217 h 501"/>
                  <a:gd name="T46" fmla="*/ 801 w 1001"/>
                  <a:gd name="T47" fmla="*/ 249 h 501"/>
                  <a:gd name="T48" fmla="*/ 801 w 1001"/>
                  <a:gd name="T49" fmla="*/ 219 h 501"/>
                  <a:gd name="T50" fmla="*/ 796 w 1001"/>
                  <a:gd name="T51" fmla="*/ 255 h 501"/>
                  <a:gd name="T52" fmla="*/ 782 w 1001"/>
                  <a:gd name="T53" fmla="*/ 300 h 501"/>
                  <a:gd name="T54" fmla="*/ 729 w 1001"/>
                  <a:gd name="T55" fmla="*/ 327 h 501"/>
                  <a:gd name="T56" fmla="*/ 679 w 1001"/>
                  <a:gd name="T57" fmla="*/ 369 h 501"/>
                  <a:gd name="T58" fmla="*/ 680 w 1001"/>
                  <a:gd name="T59" fmla="*/ 431 h 501"/>
                  <a:gd name="T60" fmla="*/ 676 w 1001"/>
                  <a:gd name="T61" fmla="*/ 486 h 501"/>
                  <a:gd name="T62" fmla="*/ 654 w 1001"/>
                  <a:gd name="T63" fmla="*/ 490 h 501"/>
                  <a:gd name="T64" fmla="*/ 636 w 1001"/>
                  <a:gd name="T65" fmla="*/ 443 h 501"/>
                  <a:gd name="T66" fmla="*/ 624 w 1001"/>
                  <a:gd name="T67" fmla="*/ 397 h 501"/>
                  <a:gd name="T68" fmla="*/ 585 w 1001"/>
                  <a:gd name="T69" fmla="*/ 391 h 501"/>
                  <a:gd name="T70" fmla="*/ 528 w 1001"/>
                  <a:gd name="T71" fmla="*/ 396 h 501"/>
                  <a:gd name="T72" fmla="*/ 526 w 1001"/>
                  <a:gd name="T73" fmla="*/ 417 h 501"/>
                  <a:gd name="T74" fmla="*/ 489 w 1001"/>
                  <a:gd name="T75" fmla="*/ 406 h 501"/>
                  <a:gd name="T76" fmla="*/ 434 w 1001"/>
                  <a:gd name="T77" fmla="*/ 410 h 501"/>
                  <a:gd name="T78" fmla="*/ 376 w 1001"/>
                  <a:gd name="T79" fmla="*/ 454 h 501"/>
                  <a:gd name="T80" fmla="*/ 366 w 1001"/>
                  <a:gd name="T81" fmla="*/ 486 h 501"/>
                  <a:gd name="T82" fmla="*/ 339 w 1001"/>
                  <a:gd name="T83" fmla="*/ 450 h 501"/>
                  <a:gd name="T84" fmla="*/ 313 w 1001"/>
                  <a:gd name="T85" fmla="*/ 404 h 501"/>
                  <a:gd name="T86" fmla="*/ 262 w 1001"/>
                  <a:gd name="T87" fmla="*/ 408 h 501"/>
                  <a:gd name="T88" fmla="*/ 244 w 1001"/>
                  <a:gd name="T89" fmla="*/ 370 h 501"/>
                  <a:gd name="T90" fmla="*/ 193 w 1001"/>
                  <a:gd name="T91" fmla="*/ 371 h 501"/>
                  <a:gd name="T92" fmla="*/ 102 w 1001"/>
                  <a:gd name="T93" fmla="*/ 343 h 501"/>
                  <a:gd name="T94" fmla="*/ 53 w 1001"/>
                  <a:gd name="T95" fmla="*/ 324 h 501"/>
                  <a:gd name="T96" fmla="*/ 33 w 1001"/>
                  <a:gd name="T97" fmla="*/ 309 h 501"/>
                  <a:gd name="T98" fmla="*/ 8 w 1001"/>
                  <a:gd name="T99" fmla="*/ 272 h 501"/>
                  <a:gd name="T100" fmla="*/ 0 w 1001"/>
                  <a:gd name="T101" fmla="*/ 214 h 501"/>
                  <a:gd name="T102" fmla="*/ 23 w 1001"/>
                  <a:gd name="T103" fmla="*/ 151 h 501"/>
                  <a:gd name="T104" fmla="*/ 69 w 1001"/>
                  <a:gd name="T105" fmla="*/ 79 h 501"/>
                  <a:gd name="T106" fmla="*/ 94 w 1001"/>
                  <a:gd name="T107" fmla="*/ 21 h 501"/>
                  <a:gd name="T108" fmla="*/ 124 w 1001"/>
                  <a:gd name="T109" fmla="*/ 25 h 501"/>
                  <a:gd name="T110" fmla="*/ 239 w 1001"/>
                  <a:gd name="T111" fmla="*/ 8 h 501"/>
                  <a:gd name="T112" fmla="*/ 432 w 1001"/>
                  <a:gd name="T113" fmla="*/ 8 h 501"/>
                  <a:gd name="T114" fmla="*/ 579 w 1001"/>
                  <a:gd name="T115" fmla="*/ 0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01" h="501">
                    <a:moveTo>
                      <a:pt x="584" y="0"/>
                    </a:moveTo>
                    <a:lnTo>
                      <a:pt x="582" y="11"/>
                    </a:lnTo>
                    <a:lnTo>
                      <a:pt x="585" y="15"/>
                    </a:lnTo>
                    <a:lnTo>
                      <a:pt x="595" y="16"/>
                    </a:lnTo>
                    <a:lnTo>
                      <a:pt x="610" y="19"/>
                    </a:lnTo>
                    <a:lnTo>
                      <a:pt x="623" y="26"/>
                    </a:lnTo>
                    <a:lnTo>
                      <a:pt x="637" y="23"/>
                    </a:lnTo>
                    <a:lnTo>
                      <a:pt x="655" y="28"/>
                    </a:lnTo>
                    <a:lnTo>
                      <a:pt x="660" y="28"/>
                    </a:lnTo>
                    <a:lnTo>
                      <a:pt x="677" y="22"/>
                    </a:lnTo>
                    <a:lnTo>
                      <a:pt x="689" y="30"/>
                    </a:lnTo>
                    <a:lnTo>
                      <a:pt x="701" y="38"/>
                    </a:lnTo>
                    <a:lnTo>
                      <a:pt x="711" y="44"/>
                    </a:lnTo>
                    <a:lnTo>
                      <a:pt x="721" y="51"/>
                    </a:lnTo>
                    <a:lnTo>
                      <a:pt x="721" y="56"/>
                    </a:lnTo>
                    <a:lnTo>
                      <a:pt x="724" y="58"/>
                    </a:lnTo>
                    <a:lnTo>
                      <a:pt x="722" y="60"/>
                    </a:lnTo>
                    <a:lnTo>
                      <a:pt x="726" y="61"/>
                    </a:lnTo>
                    <a:lnTo>
                      <a:pt x="730" y="59"/>
                    </a:lnTo>
                    <a:lnTo>
                      <a:pt x="729" y="64"/>
                    </a:lnTo>
                    <a:lnTo>
                      <a:pt x="731" y="67"/>
                    </a:lnTo>
                    <a:lnTo>
                      <a:pt x="735" y="67"/>
                    </a:lnTo>
                    <a:lnTo>
                      <a:pt x="737" y="69"/>
                    </a:lnTo>
                    <a:lnTo>
                      <a:pt x="733" y="73"/>
                    </a:lnTo>
                    <a:lnTo>
                      <a:pt x="747" y="83"/>
                    </a:lnTo>
                    <a:lnTo>
                      <a:pt x="743" y="101"/>
                    </a:lnTo>
                    <a:lnTo>
                      <a:pt x="739" y="119"/>
                    </a:lnTo>
                    <a:lnTo>
                      <a:pt x="730" y="131"/>
                    </a:lnTo>
                    <a:lnTo>
                      <a:pt x="718" y="142"/>
                    </a:lnTo>
                    <a:lnTo>
                      <a:pt x="712" y="150"/>
                    </a:lnTo>
                    <a:lnTo>
                      <a:pt x="711" y="152"/>
                    </a:lnTo>
                    <a:lnTo>
                      <a:pt x="712" y="155"/>
                    </a:lnTo>
                    <a:lnTo>
                      <a:pt x="716" y="158"/>
                    </a:lnTo>
                    <a:lnTo>
                      <a:pt x="720" y="158"/>
                    </a:lnTo>
                    <a:lnTo>
                      <a:pt x="744" y="147"/>
                    </a:lnTo>
                    <a:lnTo>
                      <a:pt x="762" y="144"/>
                    </a:lnTo>
                    <a:lnTo>
                      <a:pt x="788" y="133"/>
                    </a:lnTo>
                    <a:lnTo>
                      <a:pt x="789" y="132"/>
                    </a:lnTo>
                    <a:lnTo>
                      <a:pt x="789" y="125"/>
                    </a:lnTo>
                    <a:lnTo>
                      <a:pt x="788" y="121"/>
                    </a:lnTo>
                    <a:lnTo>
                      <a:pt x="797" y="118"/>
                    </a:lnTo>
                    <a:lnTo>
                      <a:pt x="813" y="118"/>
                    </a:lnTo>
                    <a:lnTo>
                      <a:pt x="828" y="118"/>
                    </a:lnTo>
                    <a:lnTo>
                      <a:pt x="836" y="110"/>
                    </a:lnTo>
                    <a:lnTo>
                      <a:pt x="839" y="108"/>
                    </a:lnTo>
                    <a:lnTo>
                      <a:pt x="862" y="93"/>
                    </a:lnTo>
                    <a:lnTo>
                      <a:pt x="870" y="90"/>
                    </a:lnTo>
                    <a:lnTo>
                      <a:pt x="896" y="90"/>
                    </a:lnTo>
                    <a:lnTo>
                      <a:pt x="926" y="90"/>
                    </a:lnTo>
                    <a:lnTo>
                      <a:pt x="929" y="84"/>
                    </a:lnTo>
                    <a:lnTo>
                      <a:pt x="935" y="83"/>
                    </a:lnTo>
                    <a:lnTo>
                      <a:pt x="943" y="80"/>
                    </a:lnTo>
                    <a:lnTo>
                      <a:pt x="952" y="71"/>
                    </a:lnTo>
                    <a:lnTo>
                      <a:pt x="962" y="55"/>
                    </a:lnTo>
                    <a:lnTo>
                      <a:pt x="980" y="40"/>
                    </a:lnTo>
                    <a:lnTo>
                      <a:pt x="984" y="45"/>
                    </a:lnTo>
                    <a:lnTo>
                      <a:pt x="996" y="42"/>
                    </a:lnTo>
                    <a:lnTo>
                      <a:pt x="1001" y="48"/>
                    </a:lnTo>
                    <a:lnTo>
                      <a:pt x="992" y="75"/>
                    </a:lnTo>
                    <a:lnTo>
                      <a:pt x="999" y="87"/>
                    </a:lnTo>
                    <a:lnTo>
                      <a:pt x="999" y="94"/>
                    </a:lnTo>
                    <a:lnTo>
                      <a:pt x="979" y="103"/>
                    </a:lnTo>
                    <a:lnTo>
                      <a:pt x="959" y="111"/>
                    </a:lnTo>
                    <a:lnTo>
                      <a:pt x="940" y="117"/>
                    </a:lnTo>
                    <a:lnTo>
                      <a:pt x="927" y="129"/>
                    </a:lnTo>
                    <a:lnTo>
                      <a:pt x="923" y="133"/>
                    </a:lnTo>
                    <a:lnTo>
                      <a:pt x="920" y="144"/>
                    </a:lnTo>
                    <a:lnTo>
                      <a:pt x="922" y="155"/>
                    </a:lnTo>
                    <a:lnTo>
                      <a:pt x="929" y="156"/>
                    </a:lnTo>
                    <a:lnTo>
                      <a:pt x="929" y="148"/>
                    </a:lnTo>
                    <a:lnTo>
                      <a:pt x="933" y="153"/>
                    </a:lnTo>
                    <a:lnTo>
                      <a:pt x="930" y="159"/>
                    </a:lnTo>
                    <a:lnTo>
                      <a:pt x="917" y="162"/>
                    </a:lnTo>
                    <a:lnTo>
                      <a:pt x="909" y="162"/>
                    </a:lnTo>
                    <a:lnTo>
                      <a:pt x="896" y="165"/>
                    </a:lnTo>
                    <a:lnTo>
                      <a:pt x="888" y="166"/>
                    </a:lnTo>
                    <a:lnTo>
                      <a:pt x="878" y="167"/>
                    </a:lnTo>
                    <a:lnTo>
                      <a:pt x="862" y="173"/>
                    </a:lnTo>
                    <a:lnTo>
                      <a:pt x="888" y="169"/>
                    </a:lnTo>
                    <a:lnTo>
                      <a:pt x="892" y="173"/>
                    </a:lnTo>
                    <a:lnTo>
                      <a:pt x="867" y="179"/>
                    </a:lnTo>
                    <a:lnTo>
                      <a:pt x="856" y="179"/>
                    </a:lnTo>
                    <a:lnTo>
                      <a:pt x="857" y="177"/>
                    </a:lnTo>
                    <a:lnTo>
                      <a:pt x="850" y="183"/>
                    </a:lnTo>
                    <a:lnTo>
                      <a:pt x="855" y="183"/>
                    </a:lnTo>
                    <a:lnTo>
                      <a:pt x="847" y="198"/>
                    </a:lnTo>
                    <a:lnTo>
                      <a:pt x="830" y="214"/>
                    </a:lnTo>
                    <a:lnTo>
                      <a:pt x="830" y="209"/>
                    </a:lnTo>
                    <a:lnTo>
                      <a:pt x="827" y="208"/>
                    </a:lnTo>
                    <a:lnTo>
                      <a:pt x="823" y="203"/>
                    </a:lnTo>
                    <a:lnTo>
                      <a:pt x="823" y="214"/>
                    </a:lnTo>
                    <a:lnTo>
                      <a:pt x="826" y="217"/>
                    </a:lnTo>
                    <a:lnTo>
                      <a:pt x="824" y="225"/>
                    </a:lnTo>
                    <a:lnTo>
                      <a:pt x="817" y="233"/>
                    </a:lnTo>
                    <a:lnTo>
                      <a:pt x="802" y="250"/>
                    </a:lnTo>
                    <a:lnTo>
                      <a:pt x="801" y="249"/>
                    </a:lnTo>
                    <a:lnTo>
                      <a:pt x="810" y="235"/>
                    </a:lnTo>
                    <a:lnTo>
                      <a:pt x="804" y="227"/>
                    </a:lnTo>
                    <a:lnTo>
                      <a:pt x="807" y="210"/>
                    </a:lnTo>
                    <a:lnTo>
                      <a:pt x="801" y="219"/>
                    </a:lnTo>
                    <a:lnTo>
                      <a:pt x="801" y="232"/>
                    </a:lnTo>
                    <a:lnTo>
                      <a:pt x="791" y="229"/>
                    </a:lnTo>
                    <a:lnTo>
                      <a:pt x="800" y="235"/>
                    </a:lnTo>
                    <a:lnTo>
                      <a:pt x="796" y="255"/>
                    </a:lnTo>
                    <a:lnTo>
                      <a:pt x="800" y="256"/>
                    </a:lnTo>
                    <a:lnTo>
                      <a:pt x="800" y="264"/>
                    </a:lnTo>
                    <a:lnTo>
                      <a:pt x="797" y="284"/>
                    </a:lnTo>
                    <a:lnTo>
                      <a:pt x="782" y="300"/>
                    </a:lnTo>
                    <a:lnTo>
                      <a:pt x="763" y="306"/>
                    </a:lnTo>
                    <a:lnTo>
                      <a:pt x="748" y="318"/>
                    </a:lnTo>
                    <a:lnTo>
                      <a:pt x="739" y="319"/>
                    </a:lnTo>
                    <a:lnTo>
                      <a:pt x="729" y="327"/>
                    </a:lnTo>
                    <a:lnTo>
                      <a:pt x="725" y="334"/>
                    </a:lnTo>
                    <a:lnTo>
                      <a:pt x="702" y="347"/>
                    </a:lnTo>
                    <a:lnTo>
                      <a:pt x="690" y="357"/>
                    </a:lnTo>
                    <a:lnTo>
                      <a:pt x="679" y="369"/>
                    </a:lnTo>
                    <a:lnTo>
                      <a:pt x="673" y="384"/>
                    </a:lnTo>
                    <a:lnTo>
                      <a:pt x="673" y="398"/>
                    </a:lnTo>
                    <a:lnTo>
                      <a:pt x="675" y="416"/>
                    </a:lnTo>
                    <a:lnTo>
                      <a:pt x="680" y="431"/>
                    </a:lnTo>
                    <a:lnTo>
                      <a:pt x="678" y="440"/>
                    </a:lnTo>
                    <a:lnTo>
                      <a:pt x="682" y="464"/>
                    </a:lnTo>
                    <a:lnTo>
                      <a:pt x="679" y="478"/>
                    </a:lnTo>
                    <a:lnTo>
                      <a:pt x="676" y="486"/>
                    </a:lnTo>
                    <a:lnTo>
                      <a:pt x="670" y="499"/>
                    </a:lnTo>
                    <a:lnTo>
                      <a:pt x="664" y="501"/>
                    </a:lnTo>
                    <a:lnTo>
                      <a:pt x="656" y="499"/>
                    </a:lnTo>
                    <a:lnTo>
                      <a:pt x="654" y="490"/>
                    </a:lnTo>
                    <a:lnTo>
                      <a:pt x="648" y="485"/>
                    </a:lnTo>
                    <a:lnTo>
                      <a:pt x="642" y="467"/>
                    </a:lnTo>
                    <a:lnTo>
                      <a:pt x="637" y="451"/>
                    </a:lnTo>
                    <a:lnTo>
                      <a:pt x="636" y="443"/>
                    </a:lnTo>
                    <a:lnTo>
                      <a:pt x="643" y="429"/>
                    </a:lnTo>
                    <a:lnTo>
                      <a:pt x="640" y="418"/>
                    </a:lnTo>
                    <a:lnTo>
                      <a:pt x="630" y="401"/>
                    </a:lnTo>
                    <a:lnTo>
                      <a:pt x="624" y="397"/>
                    </a:lnTo>
                    <a:lnTo>
                      <a:pt x="604" y="407"/>
                    </a:lnTo>
                    <a:lnTo>
                      <a:pt x="601" y="406"/>
                    </a:lnTo>
                    <a:lnTo>
                      <a:pt x="595" y="396"/>
                    </a:lnTo>
                    <a:lnTo>
                      <a:pt x="585" y="391"/>
                    </a:lnTo>
                    <a:lnTo>
                      <a:pt x="564" y="394"/>
                    </a:lnTo>
                    <a:lnTo>
                      <a:pt x="549" y="391"/>
                    </a:lnTo>
                    <a:lnTo>
                      <a:pt x="536" y="393"/>
                    </a:lnTo>
                    <a:lnTo>
                      <a:pt x="528" y="396"/>
                    </a:lnTo>
                    <a:lnTo>
                      <a:pt x="529" y="401"/>
                    </a:lnTo>
                    <a:lnTo>
                      <a:pt x="527" y="410"/>
                    </a:lnTo>
                    <a:lnTo>
                      <a:pt x="530" y="414"/>
                    </a:lnTo>
                    <a:lnTo>
                      <a:pt x="526" y="417"/>
                    </a:lnTo>
                    <a:lnTo>
                      <a:pt x="520" y="414"/>
                    </a:lnTo>
                    <a:lnTo>
                      <a:pt x="512" y="417"/>
                    </a:lnTo>
                    <a:lnTo>
                      <a:pt x="500" y="417"/>
                    </a:lnTo>
                    <a:lnTo>
                      <a:pt x="489" y="406"/>
                    </a:lnTo>
                    <a:lnTo>
                      <a:pt x="473" y="408"/>
                    </a:lnTo>
                    <a:lnTo>
                      <a:pt x="462" y="404"/>
                    </a:lnTo>
                    <a:lnTo>
                      <a:pt x="450" y="405"/>
                    </a:lnTo>
                    <a:lnTo>
                      <a:pt x="434" y="410"/>
                    </a:lnTo>
                    <a:lnTo>
                      <a:pt x="415" y="426"/>
                    </a:lnTo>
                    <a:lnTo>
                      <a:pt x="395" y="434"/>
                    </a:lnTo>
                    <a:lnTo>
                      <a:pt x="383" y="444"/>
                    </a:lnTo>
                    <a:lnTo>
                      <a:pt x="376" y="454"/>
                    </a:lnTo>
                    <a:lnTo>
                      <a:pt x="373" y="468"/>
                    </a:lnTo>
                    <a:lnTo>
                      <a:pt x="372" y="478"/>
                    </a:lnTo>
                    <a:lnTo>
                      <a:pt x="374" y="485"/>
                    </a:lnTo>
                    <a:lnTo>
                      <a:pt x="366" y="486"/>
                    </a:lnTo>
                    <a:lnTo>
                      <a:pt x="355" y="481"/>
                    </a:lnTo>
                    <a:lnTo>
                      <a:pt x="342" y="475"/>
                    </a:lnTo>
                    <a:lnTo>
                      <a:pt x="340" y="465"/>
                    </a:lnTo>
                    <a:lnTo>
                      <a:pt x="339" y="450"/>
                    </a:lnTo>
                    <a:lnTo>
                      <a:pt x="332" y="438"/>
                    </a:lnTo>
                    <a:lnTo>
                      <a:pt x="328" y="426"/>
                    </a:lnTo>
                    <a:lnTo>
                      <a:pt x="323" y="412"/>
                    </a:lnTo>
                    <a:lnTo>
                      <a:pt x="313" y="404"/>
                    </a:lnTo>
                    <a:lnTo>
                      <a:pt x="299" y="404"/>
                    </a:lnTo>
                    <a:lnTo>
                      <a:pt x="283" y="421"/>
                    </a:lnTo>
                    <a:lnTo>
                      <a:pt x="270" y="414"/>
                    </a:lnTo>
                    <a:lnTo>
                      <a:pt x="262" y="408"/>
                    </a:lnTo>
                    <a:lnTo>
                      <a:pt x="261" y="397"/>
                    </a:lnTo>
                    <a:lnTo>
                      <a:pt x="259" y="386"/>
                    </a:lnTo>
                    <a:lnTo>
                      <a:pt x="251" y="377"/>
                    </a:lnTo>
                    <a:lnTo>
                      <a:pt x="244" y="370"/>
                    </a:lnTo>
                    <a:lnTo>
                      <a:pt x="240" y="363"/>
                    </a:lnTo>
                    <a:lnTo>
                      <a:pt x="209" y="363"/>
                    </a:lnTo>
                    <a:lnTo>
                      <a:pt x="207" y="371"/>
                    </a:lnTo>
                    <a:lnTo>
                      <a:pt x="193" y="371"/>
                    </a:lnTo>
                    <a:lnTo>
                      <a:pt x="158" y="372"/>
                    </a:lnTo>
                    <a:lnTo>
                      <a:pt x="123" y="357"/>
                    </a:lnTo>
                    <a:lnTo>
                      <a:pt x="100" y="347"/>
                    </a:lnTo>
                    <a:lnTo>
                      <a:pt x="102" y="343"/>
                    </a:lnTo>
                    <a:lnTo>
                      <a:pt x="80" y="345"/>
                    </a:lnTo>
                    <a:lnTo>
                      <a:pt x="59" y="347"/>
                    </a:lnTo>
                    <a:lnTo>
                      <a:pt x="60" y="336"/>
                    </a:lnTo>
                    <a:lnTo>
                      <a:pt x="53" y="324"/>
                    </a:lnTo>
                    <a:lnTo>
                      <a:pt x="46" y="322"/>
                    </a:lnTo>
                    <a:lnTo>
                      <a:pt x="46" y="316"/>
                    </a:lnTo>
                    <a:lnTo>
                      <a:pt x="37" y="315"/>
                    </a:lnTo>
                    <a:lnTo>
                      <a:pt x="33" y="309"/>
                    </a:lnTo>
                    <a:lnTo>
                      <a:pt x="18" y="307"/>
                    </a:lnTo>
                    <a:lnTo>
                      <a:pt x="14" y="304"/>
                    </a:lnTo>
                    <a:lnTo>
                      <a:pt x="17" y="292"/>
                    </a:lnTo>
                    <a:lnTo>
                      <a:pt x="8" y="272"/>
                    </a:lnTo>
                    <a:lnTo>
                      <a:pt x="7" y="243"/>
                    </a:lnTo>
                    <a:lnTo>
                      <a:pt x="9" y="238"/>
                    </a:lnTo>
                    <a:lnTo>
                      <a:pt x="5" y="231"/>
                    </a:lnTo>
                    <a:lnTo>
                      <a:pt x="0" y="214"/>
                    </a:lnTo>
                    <a:lnTo>
                      <a:pt x="5" y="197"/>
                    </a:lnTo>
                    <a:lnTo>
                      <a:pt x="2" y="186"/>
                    </a:lnTo>
                    <a:lnTo>
                      <a:pt x="14" y="169"/>
                    </a:lnTo>
                    <a:lnTo>
                      <a:pt x="23" y="151"/>
                    </a:lnTo>
                    <a:lnTo>
                      <a:pt x="26" y="135"/>
                    </a:lnTo>
                    <a:lnTo>
                      <a:pt x="43" y="116"/>
                    </a:lnTo>
                    <a:lnTo>
                      <a:pt x="56" y="98"/>
                    </a:lnTo>
                    <a:lnTo>
                      <a:pt x="69" y="79"/>
                    </a:lnTo>
                    <a:lnTo>
                      <a:pt x="82" y="52"/>
                    </a:lnTo>
                    <a:lnTo>
                      <a:pt x="88" y="34"/>
                    </a:lnTo>
                    <a:lnTo>
                      <a:pt x="89" y="25"/>
                    </a:lnTo>
                    <a:lnTo>
                      <a:pt x="94" y="21"/>
                    </a:lnTo>
                    <a:lnTo>
                      <a:pt x="113" y="28"/>
                    </a:lnTo>
                    <a:lnTo>
                      <a:pt x="109" y="47"/>
                    </a:lnTo>
                    <a:lnTo>
                      <a:pt x="117" y="41"/>
                    </a:lnTo>
                    <a:lnTo>
                      <a:pt x="124" y="25"/>
                    </a:lnTo>
                    <a:lnTo>
                      <a:pt x="130" y="8"/>
                    </a:lnTo>
                    <a:lnTo>
                      <a:pt x="175" y="8"/>
                    </a:lnTo>
                    <a:lnTo>
                      <a:pt x="223" y="8"/>
                    </a:lnTo>
                    <a:lnTo>
                      <a:pt x="239" y="8"/>
                    </a:lnTo>
                    <a:lnTo>
                      <a:pt x="288" y="8"/>
                    </a:lnTo>
                    <a:lnTo>
                      <a:pt x="335" y="8"/>
                    </a:lnTo>
                    <a:lnTo>
                      <a:pt x="384" y="8"/>
                    </a:lnTo>
                    <a:lnTo>
                      <a:pt x="432" y="8"/>
                    </a:lnTo>
                    <a:lnTo>
                      <a:pt x="487" y="8"/>
                    </a:lnTo>
                    <a:lnTo>
                      <a:pt x="541" y="8"/>
                    </a:lnTo>
                    <a:lnTo>
                      <a:pt x="575" y="8"/>
                    </a:lnTo>
                    <a:lnTo>
                      <a:pt x="579" y="0"/>
                    </a:lnTo>
                    <a:lnTo>
                      <a:pt x="584" y="0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0" name="Freeform 211"/>
              <p:cNvSpPr>
                <a:spLocks/>
              </p:cNvSpPr>
              <p:nvPr/>
            </p:nvSpPr>
            <p:spPr bwMode="auto">
              <a:xfrm>
                <a:off x="5645150" y="2409825"/>
                <a:ext cx="492125" cy="274638"/>
              </a:xfrm>
              <a:custGeom>
                <a:avLst/>
                <a:gdLst>
                  <a:gd name="T0" fmla="*/ 218 w 310"/>
                  <a:gd name="T1" fmla="*/ 169 h 173"/>
                  <a:gd name="T2" fmla="*/ 215 w 310"/>
                  <a:gd name="T3" fmla="*/ 156 h 173"/>
                  <a:gd name="T4" fmla="*/ 190 w 310"/>
                  <a:gd name="T5" fmla="*/ 147 h 173"/>
                  <a:gd name="T6" fmla="*/ 170 w 310"/>
                  <a:gd name="T7" fmla="*/ 137 h 173"/>
                  <a:gd name="T8" fmla="*/ 157 w 310"/>
                  <a:gd name="T9" fmla="*/ 127 h 173"/>
                  <a:gd name="T10" fmla="*/ 134 w 310"/>
                  <a:gd name="T11" fmla="*/ 113 h 173"/>
                  <a:gd name="T12" fmla="*/ 120 w 310"/>
                  <a:gd name="T13" fmla="*/ 92 h 173"/>
                  <a:gd name="T14" fmla="*/ 114 w 310"/>
                  <a:gd name="T15" fmla="*/ 88 h 173"/>
                  <a:gd name="T16" fmla="*/ 96 w 310"/>
                  <a:gd name="T17" fmla="*/ 89 h 173"/>
                  <a:gd name="T18" fmla="*/ 88 w 310"/>
                  <a:gd name="T19" fmla="*/ 85 h 173"/>
                  <a:gd name="T20" fmla="*/ 82 w 310"/>
                  <a:gd name="T21" fmla="*/ 69 h 173"/>
                  <a:gd name="T22" fmla="*/ 57 w 310"/>
                  <a:gd name="T23" fmla="*/ 58 h 173"/>
                  <a:gd name="T24" fmla="*/ 46 w 310"/>
                  <a:gd name="T25" fmla="*/ 70 h 173"/>
                  <a:gd name="T26" fmla="*/ 33 w 310"/>
                  <a:gd name="T27" fmla="*/ 77 h 173"/>
                  <a:gd name="T28" fmla="*/ 39 w 310"/>
                  <a:gd name="T29" fmla="*/ 87 h 173"/>
                  <a:gd name="T30" fmla="*/ 20 w 310"/>
                  <a:gd name="T31" fmla="*/ 87 h 173"/>
                  <a:gd name="T32" fmla="*/ 0 w 310"/>
                  <a:gd name="T33" fmla="*/ 12 h 173"/>
                  <a:gd name="T34" fmla="*/ 39 w 310"/>
                  <a:gd name="T35" fmla="*/ 0 h 173"/>
                  <a:gd name="T36" fmla="*/ 43 w 310"/>
                  <a:gd name="T37" fmla="*/ 2 h 173"/>
                  <a:gd name="T38" fmla="*/ 73 w 310"/>
                  <a:gd name="T39" fmla="*/ 16 h 173"/>
                  <a:gd name="T40" fmla="*/ 88 w 310"/>
                  <a:gd name="T41" fmla="*/ 24 h 173"/>
                  <a:gd name="T42" fmla="*/ 109 w 310"/>
                  <a:gd name="T43" fmla="*/ 42 h 173"/>
                  <a:gd name="T44" fmla="*/ 128 w 310"/>
                  <a:gd name="T45" fmla="*/ 39 h 173"/>
                  <a:gd name="T46" fmla="*/ 156 w 310"/>
                  <a:gd name="T47" fmla="*/ 38 h 173"/>
                  <a:gd name="T48" fmla="*/ 180 w 310"/>
                  <a:gd name="T49" fmla="*/ 53 h 173"/>
                  <a:gd name="T50" fmla="*/ 185 w 310"/>
                  <a:gd name="T51" fmla="*/ 73 h 173"/>
                  <a:gd name="T52" fmla="*/ 193 w 310"/>
                  <a:gd name="T53" fmla="*/ 74 h 173"/>
                  <a:gd name="T54" fmla="*/ 201 w 310"/>
                  <a:gd name="T55" fmla="*/ 90 h 173"/>
                  <a:gd name="T56" fmla="*/ 223 w 310"/>
                  <a:gd name="T57" fmla="*/ 91 h 173"/>
                  <a:gd name="T58" fmla="*/ 230 w 310"/>
                  <a:gd name="T59" fmla="*/ 101 h 173"/>
                  <a:gd name="T60" fmla="*/ 236 w 310"/>
                  <a:gd name="T61" fmla="*/ 101 h 173"/>
                  <a:gd name="T62" fmla="*/ 240 w 310"/>
                  <a:gd name="T63" fmla="*/ 86 h 173"/>
                  <a:gd name="T64" fmla="*/ 257 w 310"/>
                  <a:gd name="T65" fmla="*/ 72 h 173"/>
                  <a:gd name="T66" fmla="*/ 266 w 310"/>
                  <a:gd name="T67" fmla="*/ 68 h 173"/>
                  <a:gd name="T68" fmla="*/ 271 w 310"/>
                  <a:gd name="T69" fmla="*/ 70 h 173"/>
                  <a:gd name="T70" fmla="*/ 261 w 310"/>
                  <a:gd name="T71" fmla="*/ 83 h 173"/>
                  <a:gd name="T72" fmla="*/ 276 w 310"/>
                  <a:gd name="T73" fmla="*/ 91 h 173"/>
                  <a:gd name="T74" fmla="*/ 286 w 310"/>
                  <a:gd name="T75" fmla="*/ 86 h 173"/>
                  <a:gd name="T76" fmla="*/ 310 w 310"/>
                  <a:gd name="T77" fmla="*/ 96 h 173"/>
                  <a:gd name="T78" fmla="*/ 292 w 310"/>
                  <a:gd name="T79" fmla="*/ 111 h 173"/>
                  <a:gd name="T80" fmla="*/ 279 w 310"/>
                  <a:gd name="T81" fmla="*/ 109 h 173"/>
                  <a:gd name="T82" fmla="*/ 272 w 310"/>
                  <a:gd name="T83" fmla="*/ 110 h 173"/>
                  <a:gd name="T84" fmla="*/ 268 w 310"/>
                  <a:gd name="T85" fmla="*/ 104 h 173"/>
                  <a:gd name="T86" fmla="*/ 269 w 310"/>
                  <a:gd name="T87" fmla="*/ 94 h 173"/>
                  <a:gd name="T88" fmla="*/ 248 w 310"/>
                  <a:gd name="T89" fmla="*/ 99 h 173"/>
                  <a:gd name="T90" fmla="*/ 246 w 310"/>
                  <a:gd name="T91" fmla="*/ 113 h 173"/>
                  <a:gd name="T92" fmla="*/ 241 w 310"/>
                  <a:gd name="T93" fmla="*/ 124 h 173"/>
                  <a:gd name="T94" fmla="*/ 227 w 310"/>
                  <a:gd name="T95" fmla="*/ 123 h 173"/>
                  <a:gd name="T96" fmla="*/ 225 w 310"/>
                  <a:gd name="T97" fmla="*/ 132 h 173"/>
                  <a:gd name="T98" fmla="*/ 238 w 310"/>
                  <a:gd name="T99" fmla="*/ 137 h 173"/>
                  <a:gd name="T100" fmla="*/ 246 w 310"/>
                  <a:gd name="T101" fmla="*/ 152 h 173"/>
                  <a:gd name="T102" fmla="*/ 241 w 310"/>
                  <a:gd name="T103" fmla="*/ 173 h 173"/>
                  <a:gd name="T104" fmla="*/ 228 w 310"/>
                  <a:gd name="T105" fmla="*/ 169 h 173"/>
                  <a:gd name="T106" fmla="*/ 218 w 310"/>
                  <a:gd name="T107" fmla="*/ 169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0" h="173">
                    <a:moveTo>
                      <a:pt x="218" y="169"/>
                    </a:moveTo>
                    <a:lnTo>
                      <a:pt x="215" y="156"/>
                    </a:lnTo>
                    <a:lnTo>
                      <a:pt x="190" y="147"/>
                    </a:lnTo>
                    <a:lnTo>
                      <a:pt x="170" y="137"/>
                    </a:lnTo>
                    <a:lnTo>
                      <a:pt x="157" y="127"/>
                    </a:lnTo>
                    <a:lnTo>
                      <a:pt x="134" y="113"/>
                    </a:lnTo>
                    <a:lnTo>
                      <a:pt x="120" y="92"/>
                    </a:lnTo>
                    <a:lnTo>
                      <a:pt x="114" y="88"/>
                    </a:lnTo>
                    <a:lnTo>
                      <a:pt x="96" y="89"/>
                    </a:lnTo>
                    <a:lnTo>
                      <a:pt x="88" y="85"/>
                    </a:lnTo>
                    <a:lnTo>
                      <a:pt x="82" y="69"/>
                    </a:lnTo>
                    <a:lnTo>
                      <a:pt x="57" y="58"/>
                    </a:lnTo>
                    <a:lnTo>
                      <a:pt x="46" y="70"/>
                    </a:lnTo>
                    <a:lnTo>
                      <a:pt x="33" y="77"/>
                    </a:lnTo>
                    <a:lnTo>
                      <a:pt x="39" y="87"/>
                    </a:lnTo>
                    <a:lnTo>
                      <a:pt x="20" y="87"/>
                    </a:lnTo>
                    <a:lnTo>
                      <a:pt x="0" y="12"/>
                    </a:lnTo>
                    <a:lnTo>
                      <a:pt x="39" y="0"/>
                    </a:lnTo>
                    <a:lnTo>
                      <a:pt x="43" y="2"/>
                    </a:lnTo>
                    <a:lnTo>
                      <a:pt x="73" y="16"/>
                    </a:lnTo>
                    <a:lnTo>
                      <a:pt x="88" y="24"/>
                    </a:lnTo>
                    <a:lnTo>
                      <a:pt x="109" y="42"/>
                    </a:lnTo>
                    <a:lnTo>
                      <a:pt x="128" y="39"/>
                    </a:lnTo>
                    <a:lnTo>
                      <a:pt x="156" y="38"/>
                    </a:lnTo>
                    <a:lnTo>
                      <a:pt x="180" y="53"/>
                    </a:lnTo>
                    <a:lnTo>
                      <a:pt x="185" y="73"/>
                    </a:lnTo>
                    <a:lnTo>
                      <a:pt x="193" y="74"/>
                    </a:lnTo>
                    <a:lnTo>
                      <a:pt x="201" y="90"/>
                    </a:lnTo>
                    <a:lnTo>
                      <a:pt x="223" y="91"/>
                    </a:lnTo>
                    <a:lnTo>
                      <a:pt x="230" y="101"/>
                    </a:lnTo>
                    <a:lnTo>
                      <a:pt x="236" y="101"/>
                    </a:lnTo>
                    <a:lnTo>
                      <a:pt x="240" y="86"/>
                    </a:lnTo>
                    <a:lnTo>
                      <a:pt x="257" y="72"/>
                    </a:lnTo>
                    <a:lnTo>
                      <a:pt x="266" y="68"/>
                    </a:lnTo>
                    <a:lnTo>
                      <a:pt x="271" y="70"/>
                    </a:lnTo>
                    <a:lnTo>
                      <a:pt x="261" y="83"/>
                    </a:lnTo>
                    <a:lnTo>
                      <a:pt x="276" y="91"/>
                    </a:lnTo>
                    <a:lnTo>
                      <a:pt x="286" y="86"/>
                    </a:lnTo>
                    <a:lnTo>
                      <a:pt x="310" y="96"/>
                    </a:lnTo>
                    <a:lnTo>
                      <a:pt x="292" y="111"/>
                    </a:lnTo>
                    <a:lnTo>
                      <a:pt x="279" y="109"/>
                    </a:lnTo>
                    <a:lnTo>
                      <a:pt x="272" y="110"/>
                    </a:lnTo>
                    <a:lnTo>
                      <a:pt x="268" y="104"/>
                    </a:lnTo>
                    <a:lnTo>
                      <a:pt x="269" y="94"/>
                    </a:lnTo>
                    <a:lnTo>
                      <a:pt x="248" y="99"/>
                    </a:lnTo>
                    <a:lnTo>
                      <a:pt x="246" y="113"/>
                    </a:lnTo>
                    <a:lnTo>
                      <a:pt x="241" y="124"/>
                    </a:lnTo>
                    <a:lnTo>
                      <a:pt x="227" y="123"/>
                    </a:lnTo>
                    <a:lnTo>
                      <a:pt x="225" y="132"/>
                    </a:lnTo>
                    <a:lnTo>
                      <a:pt x="238" y="137"/>
                    </a:lnTo>
                    <a:lnTo>
                      <a:pt x="246" y="152"/>
                    </a:lnTo>
                    <a:lnTo>
                      <a:pt x="241" y="173"/>
                    </a:lnTo>
                    <a:lnTo>
                      <a:pt x="228" y="169"/>
                    </a:lnTo>
                    <a:lnTo>
                      <a:pt x="218" y="16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1" name="Freeform 212"/>
              <p:cNvSpPr>
                <a:spLocks/>
              </p:cNvSpPr>
              <p:nvPr/>
            </p:nvSpPr>
            <p:spPr bwMode="auto">
              <a:xfrm>
                <a:off x="2051050" y="3508375"/>
                <a:ext cx="393700" cy="376238"/>
              </a:xfrm>
              <a:custGeom>
                <a:avLst/>
                <a:gdLst>
                  <a:gd name="T0" fmla="*/ 39 w 248"/>
                  <a:gd name="T1" fmla="*/ 13 h 237"/>
                  <a:gd name="T2" fmla="*/ 33 w 248"/>
                  <a:gd name="T3" fmla="*/ 24 h 237"/>
                  <a:gd name="T4" fmla="*/ 23 w 248"/>
                  <a:gd name="T5" fmla="*/ 47 h 237"/>
                  <a:gd name="T6" fmla="*/ 38 w 248"/>
                  <a:gd name="T7" fmla="*/ 62 h 237"/>
                  <a:gd name="T8" fmla="*/ 37 w 248"/>
                  <a:gd name="T9" fmla="*/ 40 h 237"/>
                  <a:gd name="T10" fmla="*/ 61 w 248"/>
                  <a:gd name="T11" fmla="*/ 16 h 237"/>
                  <a:gd name="T12" fmla="*/ 65 w 248"/>
                  <a:gd name="T13" fmla="*/ 0 h 237"/>
                  <a:gd name="T14" fmla="*/ 84 w 248"/>
                  <a:gd name="T15" fmla="*/ 15 h 237"/>
                  <a:gd name="T16" fmla="*/ 95 w 248"/>
                  <a:gd name="T17" fmla="*/ 33 h 237"/>
                  <a:gd name="T18" fmla="*/ 131 w 248"/>
                  <a:gd name="T19" fmla="*/ 31 h 237"/>
                  <a:gd name="T20" fmla="*/ 155 w 248"/>
                  <a:gd name="T21" fmla="*/ 43 h 237"/>
                  <a:gd name="T22" fmla="*/ 166 w 248"/>
                  <a:gd name="T23" fmla="*/ 31 h 237"/>
                  <a:gd name="T24" fmla="*/ 211 w 248"/>
                  <a:gd name="T25" fmla="*/ 30 h 237"/>
                  <a:gd name="T26" fmla="*/ 201 w 248"/>
                  <a:gd name="T27" fmla="*/ 46 h 237"/>
                  <a:gd name="T28" fmla="*/ 229 w 248"/>
                  <a:gd name="T29" fmla="*/ 58 h 237"/>
                  <a:gd name="T30" fmla="*/ 241 w 248"/>
                  <a:gd name="T31" fmla="*/ 74 h 237"/>
                  <a:gd name="T32" fmla="*/ 233 w 248"/>
                  <a:gd name="T33" fmla="*/ 91 h 237"/>
                  <a:gd name="T34" fmla="*/ 237 w 248"/>
                  <a:gd name="T35" fmla="*/ 106 h 237"/>
                  <a:gd name="T36" fmla="*/ 221 w 248"/>
                  <a:gd name="T37" fmla="*/ 113 h 237"/>
                  <a:gd name="T38" fmla="*/ 216 w 248"/>
                  <a:gd name="T39" fmla="*/ 129 h 237"/>
                  <a:gd name="T40" fmla="*/ 230 w 248"/>
                  <a:gd name="T41" fmla="*/ 150 h 237"/>
                  <a:gd name="T42" fmla="*/ 202 w 248"/>
                  <a:gd name="T43" fmla="*/ 166 h 237"/>
                  <a:gd name="T44" fmla="*/ 184 w 248"/>
                  <a:gd name="T45" fmla="*/ 174 h 237"/>
                  <a:gd name="T46" fmla="*/ 156 w 248"/>
                  <a:gd name="T47" fmla="*/ 166 h 237"/>
                  <a:gd name="T48" fmla="*/ 160 w 248"/>
                  <a:gd name="T49" fmla="*/ 173 h 237"/>
                  <a:gd name="T50" fmla="*/ 162 w 248"/>
                  <a:gd name="T51" fmla="*/ 201 h 237"/>
                  <a:gd name="T52" fmla="*/ 178 w 248"/>
                  <a:gd name="T53" fmla="*/ 207 h 237"/>
                  <a:gd name="T54" fmla="*/ 163 w 248"/>
                  <a:gd name="T55" fmla="*/ 221 h 237"/>
                  <a:gd name="T56" fmla="*/ 142 w 248"/>
                  <a:gd name="T57" fmla="*/ 230 h 237"/>
                  <a:gd name="T58" fmla="*/ 124 w 248"/>
                  <a:gd name="T59" fmla="*/ 237 h 237"/>
                  <a:gd name="T60" fmla="*/ 108 w 248"/>
                  <a:gd name="T61" fmla="*/ 206 h 237"/>
                  <a:gd name="T62" fmla="*/ 97 w 248"/>
                  <a:gd name="T63" fmla="*/ 194 h 237"/>
                  <a:gd name="T64" fmla="*/ 106 w 248"/>
                  <a:gd name="T65" fmla="*/ 179 h 237"/>
                  <a:gd name="T66" fmla="*/ 97 w 248"/>
                  <a:gd name="T67" fmla="*/ 159 h 237"/>
                  <a:gd name="T68" fmla="*/ 103 w 248"/>
                  <a:gd name="T69" fmla="*/ 137 h 237"/>
                  <a:gd name="T70" fmla="*/ 101 w 248"/>
                  <a:gd name="T71" fmla="*/ 122 h 237"/>
                  <a:gd name="T72" fmla="*/ 77 w 248"/>
                  <a:gd name="T73" fmla="*/ 123 h 237"/>
                  <a:gd name="T74" fmla="*/ 57 w 248"/>
                  <a:gd name="T75" fmla="*/ 108 h 237"/>
                  <a:gd name="T76" fmla="*/ 23 w 248"/>
                  <a:gd name="T77" fmla="*/ 107 h 237"/>
                  <a:gd name="T78" fmla="*/ 14 w 248"/>
                  <a:gd name="T79" fmla="*/ 98 h 237"/>
                  <a:gd name="T80" fmla="*/ 16 w 248"/>
                  <a:gd name="T81" fmla="*/ 86 h 237"/>
                  <a:gd name="T82" fmla="*/ 11 w 248"/>
                  <a:gd name="T83" fmla="*/ 73 h 237"/>
                  <a:gd name="T84" fmla="*/ 0 w 248"/>
                  <a:gd name="T85" fmla="*/ 62 h 237"/>
                  <a:gd name="T86" fmla="*/ 9 w 248"/>
                  <a:gd name="T87" fmla="*/ 35 h 237"/>
                  <a:gd name="T88" fmla="*/ 22 w 248"/>
                  <a:gd name="T89" fmla="*/ 22 h 237"/>
                  <a:gd name="T90" fmla="*/ 40 w 248"/>
                  <a:gd name="T91" fmla="*/ 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48" h="237">
                    <a:moveTo>
                      <a:pt x="40" y="8"/>
                    </a:moveTo>
                    <a:lnTo>
                      <a:pt x="39" y="13"/>
                    </a:lnTo>
                    <a:lnTo>
                      <a:pt x="28" y="15"/>
                    </a:lnTo>
                    <a:lnTo>
                      <a:pt x="33" y="24"/>
                    </a:lnTo>
                    <a:lnTo>
                      <a:pt x="32" y="35"/>
                    </a:lnTo>
                    <a:lnTo>
                      <a:pt x="23" y="47"/>
                    </a:lnTo>
                    <a:lnTo>
                      <a:pt x="29" y="64"/>
                    </a:lnTo>
                    <a:lnTo>
                      <a:pt x="38" y="62"/>
                    </a:lnTo>
                    <a:lnTo>
                      <a:pt x="42" y="48"/>
                    </a:lnTo>
                    <a:lnTo>
                      <a:pt x="37" y="40"/>
                    </a:lnTo>
                    <a:lnTo>
                      <a:pt x="37" y="24"/>
                    </a:lnTo>
                    <a:lnTo>
                      <a:pt x="61" y="16"/>
                    </a:lnTo>
                    <a:lnTo>
                      <a:pt x="59" y="6"/>
                    </a:lnTo>
                    <a:lnTo>
                      <a:pt x="65" y="0"/>
                    </a:lnTo>
                    <a:lnTo>
                      <a:pt x="71" y="14"/>
                    </a:lnTo>
                    <a:lnTo>
                      <a:pt x="84" y="15"/>
                    </a:lnTo>
                    <a:lnTo>
                      <a:pt x="95" y="26"/>
                    </a:lnTo>
                    <a:lnTo>
                      <a:pt x="95" y="33"/>
                    </a:lnTo>
                    <a:lnTo>
                      <a:pt x="112" y="33"/>
                    </a:lnTo>
                    <a:lnTo>
                      <a:pt x="131" y="31"/>
                    </a:lnTo>
                    <a:lnTo>
                      <a:pt x="141" y="41"/>
                    </a:lnTo>
                    <a:lnTo>
                      <a:pt x="155" y="43"/>
                    </a:lnTo>
                    <a:lnTo>
                      <a:pt x="166" y="37"/>
                    </a:lnTo>
                    <a:lnTo>
                      <a:pt x="166" y="31"/>
                    </a:lnTo>
                    <a:lnTo>
                      <a:pt x="189" y="30"/>
                    </a:lnTo>
                    <a:lnTo>
                      <a:pt x="211" y="30"/>
                    </a:lnTo>
                    <a:lnTo>
                      <a:pt x="195" y="36"/>
                    </a:lnTo>
                    <a:lnTo>
                      <a:pt x="201" y="46"/>
                    </a:lnTo>
                    <a:lnTo>
                      <a:pt x="215" y="47"/>
                    </a:lnTo>
                    <a:lnTo>
                      <a:pt x="229" y="58"/>
                    </a:lnTo>
                    <a:lnTo>
                      <a:pt x="231" y="74"/>
                    </a:lnTo>
                    <a:lnTo>
                      <a:pt x="241" y="74"/>
                    </a:lnTo>
                    <a:lnTo>
                      <a:pt x="248" y="79"/>
                    </a:lnTo>
                    <a:lnTo>
                      <a:pt x="233" y="91"/>
                    </a:lnTo>
                    <a:lnTo>
                      <a:pt x="231" y="98"/>
                    </a:lnTo>
                    <a:lnTo>
                      <a:pt x="237" y="106"/>
                    </a:lnTo>
                    <a:lnTo>
                      <a:pt x="232" y="110"/>
                    </a:lnTo>
                    <a:lnTo>
                      <a:pt x="221" y="113"/>
                    </a:lnTo>
                    <a:lnTo>
                      <a:pt x="221" y="123"/>
                    </a:lnTo>
                    <a:lnTo>
                      <a:pt x="216" y="129"/>
                    </a:lnTo>
                    <a:lnTo>
                      <a:pt x="228" y="144"/>
                    </a:lnTo>
                    <a:lnTo>
                      <a:pt x="230" y="150"/>
                    </a:lnTo>
                    <a:lnTo>
                      <a:pt x="223" y="158"/>
                    </a:lnTo>
                    <a:lnTo>
                      <a:pt x="202" y="166"/>
                    </a:lnTo>
                    <a:lnTo>
                      <a:pt x="189" y="169"/>
                    </a:lnTo>
                    <a:lnTo>
                      <a:pt x="184" y="174"/>
                    </a:lnTo>
                    <a:lnTo>
                      <a:pt x="169" y="169"/>
                    </a:lnTo>
                    <a:lnTo>
                      <a:pt x="156" y="166"/>
                    </a:lnTo>
                    <a:lnTo>
                      <a:pt x="152" y="168"/>
                    </a:lnTo>
                    <a:lnTo>
                      <a:pt x="160" y="173"/>
                    </a:lnTo>
                    <a:lnTo>
                      <a:pt x="159" y="187"/>
                    </a:lnTo>
                    <a:lnTo>
                      <a:pt x="162" y="201"/>
                    </a:lnTo>
                    <a:lnTo>
                      <a:pt x="177" y="202"/>
                    </a:lnTo>
                    <a:lnTo>
                      <a:pt x="178" y="207"/>
                    </a:lnTo>
                    <a:lnTo>
                      <a:pt x="165" y="213"/>
                    </a:lnTo>
                    <a:lnTo>
                      <a:pt x="163" y="221"/>
                    </a:lnTo>
                    <a:lnTo>
                      <a:pt x="155" y="225"/>
                    </a:lnTo>
                    <a:lnTo>
                      <a:pt x="142" y="230"/>
                    </a:lnTo>
                    <a:lnTo>
                      <a:pt x="138" y="236"/>
                    </a:lnTo>
                    <a:lnTo>
                      <a:pt x="124" y="237"/>
                    </a:lnTo>
                    <a:lnTo>
                      <a:pt x="114" y="226"/>
                    </a:lnTo>
                    <a:lnTo>
                      <a:pt x="108" y="206"/>
                    </a:lnTo>
                    <a:lnTo>
                      <a:pt x="103" y="198"/>
                    </a:lnTo>
                    <a:lnTo>
                      <a:pt x="97" y="194"/>
                    </a:lnTo>
                    <a:lnTo>
                      <a:pt x="106" y="183"/>
                    </a:lnTo>
                    <a:lnTo>
                      <a:pt x="106" y="179"/>
                    </a:lnTo>
                    <a:lnTo>
                      <a:pt x="101" y="173"/>
                    </a:lnTo>
                    <a:lnTo>
                      <a:pt x="97" y="159"/>
                    </a:lnTo>
                    <a:lnTo>
                      <a:pt x="99" y="144"/>
                    </a:lnTo>
                    <a:lnTo>
                      <a:pt x="103" y="137"/>
                    </a:lnTo>
                    <a:lnTo>
                      <a:pt x="107" y="126"/>
                    </a:lnTo>
                    <a:lnTo>
                      <a:pt x="101" y="122"/>
                    </a:lnTo>
                    <a:lnTo>
                      <a:pt x="90" y="125"/>
                    </a:lnTo>
                    <a:lnTo>
                      <a:pt x="77" y="123"/>
                    </a:lnTo>
                    <a:lnTo>
                      <a:pt x="69" y="126"/>
                    </a:lnTo>
                    <a:lnTo>
                      <a:pt x="57" y="108"/>
                    </a:lnTo>
                    <a:lnTo>
                      <a:pt x="47" y="105"/>
                    </a:lnTo>
                    <a:lnTo>
                      <a:pt x="23" y="107"/>
                    </a:lnTo>
                    <a:lnTo>
                      <a:pt x="19" y="100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6" y="86"/>
                    </a:lnTo>
                    <a:lnTo>
                      <a:pt x="15" y="78"/>
                    </a:lnTo>
                    <a:lnTo>
                      <a:pt x="11" y="73"/>
                    </a:lnTo>
                    <a:lnTo>
                      <a:pt x="9" y="64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9" y="35"/>
                    </a:lnTo>
                    <a:lnTo>
                      <a:pt x="15" y="28"/>
                    </a:lnTo>
                    <a:lnTo>
                      <a:pt x="22" y="22"/>
                    </a:lnTo>
                    <a:lnTo>
                      <a:pt x="28" y="11"/>
                    </a:lnTo>
                    <a:lnTo>
                      <a:pt x="40" y="8"/>
                    </a:lnTo>
                    <a:close/>
                  </a:path>
                </a:pathLst>
              </a:custGeom>
              <a:solidFill>
                <a:schemeClr val="accent3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2" name="Freeform 213"/>
              <p:cNvSpPr>
                <a:spLocks/>
              </p:cNvSpPr>
              <p:nvPr/>
            </p:nvSpPr>
            <p:spPr bwMode="auto">
              <a:xfrm>
                <a:off x="7096125" y="3138487"/>
                <a:ext cx="252413" cy="487363"/>
              </a:xfrm>
              <a:custGeom>
                <a:avLst/>
                <a:gdLst>
                  <a:gd name="T0" fmla="*/ 109 w 159"/>
                  <a:gd name="T1" fmla="*/ 38 h 307"/>
                  <a:gd name="T2" fmla="*/ 88 w 159"/>
                  <a:gd name="T3" fmla="*/ 55 h 307"/>
                  <a:gd name="T4" fmla="*/ 77 w 159"/>
                  <a:gd name="T5" fmla="*/ 75 h 307"/>
                  <a:gd name="T6" fmla="*/ 75 w 159"/>
                  <a:gd name="T7" fmla="*/ 90 h 307"/>
                  <a:gd name="T8" fmla="*/ 92 w 159"/>
                  <a:gd name="T9" fmla="*/ 111 h 307"/>
                  <a:gd name="T10" fmla="*/ 113 w 159"/>
                  <a:gd name="T11" fmla="*/ 139 h 307"/>
                  <a:gd name="T12" fmla="*/ 131 w 159"/>
                  <a:gd name="T13" fmla="*/ 151 h 307"/>
                  <a:gd name="T14" fmla="*/ 145 w 159"/>
                  <a:gd name="T15" fmla="*/ 168 h 307"/>
                  <a:gd name="T16" fmla="*/ 158 w 159"/>
                  <a:gd name="T17" fmla="*/ 206 h 307"/>
                  <a:gd name="T18" fmla="*/ 159 w 159"/>
                  <a:gd name="T19" fmla="*/ 243 h 307"/>
                  <a:gd name="T20" fmla="*/ 145 w 159"/>
                  <a:gd name="T21" fmla="*/ 257 h 307"/>
                  <a:gd name="T22" fmla="*/ 125 w 159"/>
                  <a:gd name="T23" fmla="*/ 270 h 307"/>
                  <a:gd name="T24" fmla="*/ 112 w 159"/>
                  <a:gd name="T25" fmla="*/ 287 h 307"/>
                  <a:gd name="T26" fmla="*/ 90 w 159"/>
                  <a:gd name="T27" fmla="*/ 307 h 307"/>
                  <a:gd name="T28" fmla="*/ 83 w 159"/>
                  <a:gd name="T29" fmla="*/ 294 h 307"/>
                  <a:gd name="T30" fmla="*/ 87 w 159"/>
                  <a:gd name="T31" fmla="*/ 279 h 307"/>
                  <a:gd name="T32" fmla="*/ 72 w 159"/>
                  <a:gd name="T33" fmla="*/ 268 h 307"/>
                  <a:gd name="T34" fmla="*/ 88 w 159"/>
                  <a:gd name="T35" fmla="*/ 259 h 307"/>
                  <a:gd name="T36" fmla="*/ 107 w 159"/>
                  <a:gd name="T37" fmla="*/ 258 h 307"/>
                  <a:gd name="T38" fmla="*/ 98 w 159"/>
                  <a:gd name="T39" fmla="*/ 245 h 307"/>
                  <a:gd name="T40" fmla="*/ 127 w 159"/>
                  <a:gd name="T41" fmla="*/ 229 h 307"/>
                  <a:gd name="T42" fmla="*/ 126 w 159"/>
                  <a:gd name="T43" fmla="*/ 204 h 307"/>
                  <a:gd name="T44" fmla="*/ 120 w 159"/>
                  <a:gd name="T45" fmla="*/ 190 h 307"/>
                  <a:gd name="T46" fmla="*/ 121 w 159"/>
                  <a:gd name="T47" fmla="*/ 170 h 307"/>
                  <a:gd name="T48" fmla="*/ 115 w 159"/>
                  <a:gd name="T49" fmla="*/ 155 h 307"/>
                  <a:gd name="T50" fmla="*/ 99 w 159"/>
                  <a:gd name="T51" fmla="*/ 141 h 307"/>
                  <a:gd name="T52" fmla="*/ 85 w 159"/>
                  <a:gd name="T53" fmla="*/ 122 h 307"/>
                  <a:gd name="T54" fmla="*/ 66 w 159"/>
                  <a:gd name="T55" fmla="*/ 98 h 307"/>
                  <a:gd name="T56" fmla="*/ 42 w 159"/>
                  <a:gd name="T57" fmla="*/ 85 h 307"/>
                  <a:gd name="T58" fmla="*/ 46 w 159"/>
                  <a:gd name="T59" fmla="*/ 78 h 307"/>
                  <a:gd name="T60" fmla="*/ 57 w 159"/>
                  <a:gd name="T61" fmla="*/ 72 h 307"/>
                  <a:gd name="T62" fmla="*/ 47 w 159"/>
                  <a:gd name="T63" fmla="*/ 54 h 307"/>
                  <a:gd name="T64" fmla="*/ 25 w 159"/>
                  <a:gd name="T65" fmla="*/ 54 h 307"/>
                  <a:gd name="T66" fmla="*/ 13 w 159"/>
                  <a:gd name="T67" fmla="*/ 35 h 307"/>
                  <a:gd name="T68" fmla="*/ 0 w 159"/>
                  <a:gd name="T69" fmla="*/ 19 h 307"/>
                  <a:gd name="T70" fmla="*/ 8 w 159"/>
                  <a:gd name="T71" fmla="*/ 14 h 307"/>
                  <a:gd name="T72" fmla="*/ 23 w 159"/>
                  <a:gd name="T73" fmla="*/ 14 h 307"/>
                  <a:gd name="T74" fmla="*/ 39 w 159"/>
                  <a:gd name="T75" fmla="*/ 11 h 307"/>
                  <a:gd name="T76" fmla="*/ 53 w 159"/>
                  <a:gd name="T77" fmla="*/ 0 h 307"/>
                  <a:gd name="T78" fmla="*/ 63 w 159"/>
                  <a:gd name="T79" fmla="*/ 8 h 307"/>
                  <a:gd name="T80" fmla="*/ 80 w 159"/>
                  <a:gd name="T81" fmla="*/ 12 h 307"/>
                  <a:gd name="T82" fmla="*/ 79 w 159"/>
                  <a:gd name="T83" fmla="*/ 24 h 307"/>
                  <a:gd name="T84" fmla="*/ 90 w 159"/>
                  <a:gd name="T85" fmla="*/ 32 h 307"/>
                  <a:gd name="T86" fmla="*/ 109 w 159"/>
                  <a:gd name="T87" fmla="*/ 38 h 3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9" h="307">
                    <a:moveTo>
                      <a:pt x="109" y="38"/>
                    </a:moveTo>
                    <a:lnTo>
                      <a:pt x="88" y="55"/>
                    </a:lnTo>
                    <a:lnTo>
                      <a:pt x="77" y="75"/>
                    </a:lnTo>
                    <a:lnTo>
                      <a:pt x="75" y="90"/>
                    </a:lnTo>
                    <a:lnTo>
                      <a:pt x="92" y="111"/>
                    </a:lnTo>
                    <a:lnTo>
                      <a:pt x="113" y="139"/>
                    </a:lnTo>
                    <a:lnTo>
                      <a:pt x="131" y="151"/>
                    </a:lnTo>
                    <a:lnTo>
                      <a:pt x="145" y="168"/>
                    </a:lnTo>
                    <a:lnTo>
                      <a:pt x="158" y="206"/>
                    </a:lnTo>
                    <a:lnTo>
                      <a:pt x="159" y="243"/>
                    </a:lnTo>
                    <a:lnTo>
                      <a:pt x="145" y="257"/>
                    </a:lnTo>
                    <a:lnTo>
                      <a:pt x="125" y="270"/>
                    </a:lnTo>
                    <a:lnTo>
                      <a:pt x="112" y="287"/>
                    </a:lnTo>
                    <a:lnTo>
                      <a:pt x="90" y="307"/>
                    </a:lnTo>
                    <a:lnTo>
                      <a:pt x="83" y="294"/>
                    </a:lnTo>
                    <a:lnTo>
                      <a:pt x="87" y="279"/>
                    </a:lnTo>
                    <a:lnTo>
                      <a:pt x="72" y="268"/>
                    </a:lnTo>
                    <a:lnTo>
                      <a:pt x="88" y="259"/>
                    </a:lnTo>
                    <a:lnTo>
                      <a:pt x="107" y="258"/>
                    </a:lnTo>
                    <a:lnTo>
                      <a:pt x="98" y="245"/>
                    </a:lnTo>
                    <a:lnTo>
                      <a:pt x="127" y="229"/>
                    </a:lnTo>
                    <a:lnTo>
                      <a:pt x="126" y="204"/>
                    </a:lnTo>
                    <a:lnTo>
                      <a:pt x="120" y="190"/>
                    </a:lnTo>
                    <a:lnTo>
                      <a:pt x="121" y="170"/>
                    </a:lnTo>
                    <a:lnTo>
                      <a:pt x="115" y="155"/>
                    </a:lnTo>
                    <a:lnTo>
                      <a:pt x="99" y="141"/>
                    </a:lnTo>
                    <a:lnTo>
                      <a:pt x="85" y="122"/>
                    </a:lnTo>
                    <a:lnTo>
                      <a:pt x="66" y="98"/>
                    </a:lnTo>
                    <a:lnTo>
                      <a:pt x="42" y="85"/>
                    </a:lnTo>
                    <a:lnTo>
                      <a:pt x="46" y="78"/>
                    </a:lnTo>
                    <a:lnTo>
                      <a:pt x="57" y="72"/>
                    </a:lnTo>
                    <a:lnTo>
                      <a:pt x="47" y="54"/>
                    </a:lnTo>
                    <a:lnTo>
                      <a:pt x="25" y="54"/>
                    </a:lnTo>
                    <a:lnTo>
                      <a:pt x="13" y="35"/>
                    </a:lnTo>
                    <a:lnTo>
                      <a:pt x="0" y="19"/>
                    </a:lnTo>
                    <a:lnTo>
                      <a:pt x="8" y="14"/>
                    </a:lnTo>
                    <a:lnTo>
                      <a:pt x="23" y="14"/>
                    </a:lnTo>
                    <a:lnTo>
                      <a:pt x="39" y="11"/>
                    </a:lnTo>
                    <a:lnTo>
                      <a:pt x="53" y="0"/>
                    </a:lnTo>
                    <a:lnTo>
                      <a:pt x="63" y="8"/>
                    </a:lnTo>
                    <a:lnTo>
                      <a:pt x="80" y="12"/>
                    </a:lnTo>
                    <a:lnTo>
                      <a:pt x="79" y="24"/>
                    </a:lnTo>
                    <a:lnTo>
                      <a:pt x="90" y="32"/>
                    </a:lnTo>
                    <a:lnTo>
                      <a:pt x="109" y="38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3" name="Freeform 214"/>
              <p:cNvSpPr>
                <a:spLocks/>
              </p:cNvSpPr>
              <p:nvPr/>
            </p:nvSpPr>
            <p:spPr bwMode="auto">
              <a:xfrm>
                <a:off x="9004300" y="4433888"/>
                <a:ext cx="15875" cy="22225"/>
              </a:xfrm>
              <a:custGeom>
                <a:avLst/>
                <a:gdLst>
                  <a:gd name="T0" fmla="*/ 10 w 10"/>
                  <a:gd name="T1" fmla="*/ 12 h 14"/>
                  <a:gd name="T2" fmla="*/ 3 w 10"/>
                  <a:gd name="T3" fmla="*/ 14 h 14"/>
                  <a:gd name="T4" fmla="*/ 0 w 10"/>
                  <a:gd name="T5" fmla="*/ 5 h 14"/>
                  <a:gd name="T6" fmla="*/ 1 w 10"/>
                  <a:gd name="T7" fmla="*/ 0 h 14"/>
                  <a:gd name="T8" fmla="*/ 10 w 10"/>
                  <a:gd name="T9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4">
                    <a:moveTo>
                      <a:pt x="10" y="12"/>
                    </a:moveTo>
                    <a:lnTo>
                      <a:pt x="3" y="14"/>
                    </a:lnTo>
                    <a:lnTo>
                      <a:pt x="0" y="5"/>
                    </a:lnTo>
                    <a:lnTo>
                      <a:pt x="1" y="0"/>
                    </a:lnTo>
                    <a:lnTo>
                      <a:pt x="10" y="12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4" name="Freeform 215"/>
              <p:cNvSpPr>
                <a:spLocks/>
              </p:cNvSpPr>
              <p:nvPr/>
            </p:nvSpPr>
            <p:spPr bwMode="auto">
              <a:xfrm>
                <a:off x="8993188" y="4391025"/>
                <a:ext cx="15875" cy="36513"/>
              </a:xfrm>
              <a:custGeom>
                <a:avLst/>
                <a:gdLst>
                  <a:gd name="T0" fmla="*/ 10 w 10"/>
                  <a:gd name="T1" fmla="*/ 7 h 23"/>
                  <a:gd name="T2" fmla="*/ 10 w 10"/>
                  <a:gd name="T3" fmla="*/ 23 h 23"/>
                  <a:gd name="T4" fmla="*/ 6 w 10"/>
                  <a:gd name="T5" fmla="*/ 21 h 23"/>
                  <a:gd name="T6" fmla="*/ 1 w 10"/>
                  <a:gd name="T7" fmla="*/ 22 h 23"/>
                  <a:gd name="T8" fmla="*/ 0 w 10"/>
                  <a:gd name="T9" fmla="*/ 16 h 23"/>
                  <a:gd name="T10" fmla="*/ 3 w 10"/>
                  <a:gd name="T11" fmla="*/ 0 h 23"/>
                  <a:gd name="T12" fmla="*/ 10 w 10"/>
                  <a:gd name="T13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3">
                    <a:moveTo>
                      <a:pt x="10" y="7"/>
                    </a:moveTo>
                    <a:lnTo>
                      <a:pt x="10" y="23"/>
                    </a:lnTo>
                    <a:lnTo>
                      <a:pt x="6" y="21"/>
                    </a:lnTo>
                    <a:lnTo>
                      <a:pt x="1" y="22"/>
                    </a:lnTo>
                    <a:lnTo>
                      <a:pt x="0" y="16"/>
                    </a:lnTo>
                    <a:lnTo>
                      <a:pt x="3" y="0"/>
                    </a:lnTo>
                    <a:lnTo>
                      <a:pt x="10" y="7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5" name="Freeform 216"/>
              <p:cNvSpPr>
                <a:spLocks/>
              </p:cNvSpPr>
              <p:nvPr/>
            </p:nvSpPr>
            <p:spPr bwMode="auto">
              <a:xfrm>
                <a:off x="5411788" y="3282950"/>
                <a:ext cx="300038" cy="211138"/>
              </a:xfrm>
              <a:custGeom>
                <a:avLst/>
                <a:gdLst>
                  <a:gd name="T0" fmla="*/ 189 w 189"/>
                  <a:gd name="T1" fmla="*/ 49 h 133"/>
                  <a:gd name="T2" fmla="*/ 177 w 189"/>
                  <a:gd name="T3" fmla="*/ 54 h 133"/>
                  <a:gd name="T4" fmla="*/ 174 w 189"/>
                  <a:gd name="T5" fmla="*/ 63 h 133"/>
                  <a:gd name="T6" fmla="*/ 174 w 189"/>
                  <a:gd name="T7" fmla="*/ 70 h 133"/>
                  <a:gd name="T8" fmla="*/ 156 w 189"/>
                  <a:gd name="T9" fmla="*/ 79 h 133"/>
                  <a:gd name="T10" fmla="*/ 128 w 189"/>
                  <a:gd name="T11" fmla="*/ 89 h 133"/>
                  <a:gd name="T12" fmla="*/ 112 w 189"/>
                  <a:gd name="T13" fmla="*/ 103 h 133"/>
                  <a:gd name="T14" fmla="*/ 104 w 189"/>
                  <a:gd name="T15" fmla="*/ 105 h 133"/>
                  <a:gd name="T16" fmla="*/ 99 w 189"/>
                  <a:gd name="T17" fmla="*/ 103 h 133"/>
                  <a:gd name="T18" fmla="*/ 89 w 189"/>
                  <a:gd name="T19" fmla="*/ 112 h 133"/>
                  <a:gd name="T20" fmla="*/ 77 w 189"/>
                  <a:gd name="T21" fmla="*/ 116 h 133"/>
                  <a:gd name="T22" fmla="*/ 62 w 189"/>
                  <a:gd name="T23" fmla="*/ 117 h 133"/>
                  <a:gd name="T24" fmla="*/ 57 w 189"/>
                  <a:gd name="T25" fmla="*/ 118 h 133"/>
                  <a:gd name="T26" fmla="*/ 53 w 189"/>
                  <a:gd name="T27" fmla="*/ 124 h 133"/>
                  <a:gd name="T28" fmla="*/ 49 w 189"/>
                  <a:gd name="T29" fmla="*/ 125 h 133"/>
                  <a:gd name="T30" fmla="*/ 46 w 189"/>
                  <a:gd name="T31" fmla="*/ 131 h 133"/>
                  <a:gd name="T32" fmla="*/ 37 w 189"/>
                  <a:gd name="T33" fmla="*/ 130 h 133"/>
                  <a:gd name="T34" fmla="*/ 32 w 189"/>
                  <a:gd name="T35" fmla="*/ 133 h 133"/>
                  <a:gd name="T36" fmla="*/ 19 w 189"/>
                  <a:gd name="T37" fmla="*/ 132 h 133"/>
                  <a:gd name="T38" fmla="*/ 14 w 189"/>
                  <a:gd name="T39" fmla="*/ 120 h 133"/>
                  <a:gd name="T40" fmla="*/ 14 w 189"/>
                  <a:gd name="T41" fmla="*/ 108 h 133"/>
                  <a:gd name="T42" fmla="*/ 10 w 189"/>
                  <a:gd name="T43" fmla="*/ 102 h 133"/>
                  <a:gd name="T44" fmla="*/ 6 w 189"/>
                  <a:gd name="T45" fmla="*/ 87 h 133"/>
                  <a:gd name="T46" fmla="*/ 0 w 189"/>
                  <a:gd name="T47" fmla="*/ 78 h 133"/>
                  <a:gd name="T48" fmla="*/ 4 w 189"/>
                  <a:gd name="T49" fmla="*/ 77 h 133"/>
                  <a:gd name="T50" fmla="*/ 2 w 189"/>
                  <a:gd name="T51" fmla="*/ 68 h 133"/>
                  <a:gd name="T52" fmla="*/ 4 w 189"/>
                  <a:gd name="T53" fmla="*/ 64 h 133"/>
                  <a:gd name="T54" fmla="*/ 2 w 189"/>
                  <a:gd name="T55" fmla="*/ 55 h 133"/>
                  <a:gd name="T56" fmla="*/ 10 w 189"/>
                  <a:gd name="T57" fmla="*/ 48 h 133"/>
                  <a:gd name="T58" fmla="*/ 8 w 189"/>
                  <a:gd name="T59" fmla="*/ 39 h 133"/>
                  <a:gd name="T60" fmla="*/ 12 w 189"/>
                  <a:gd name="T61" fmla="*/ 29 h 133"/>
                  <a:gd name="T62" fmla="*/ 20 w 189"/>
                  <a:gd name="T63" fmla="*/ 35 h 133"/>
                  <a:gd name="T64" fmla="*/ 24 w 189"/>
                  <a:gd name="T65" fmla="*/ 33 h 133"/>
                  <a:gd name="T66" fmla="*/ 45 w 189"/>
                  <a:gd name="T67" fmla="*/ 32 h 133"/>
                  <a:gd name="T68" fmla="*/ 49 w 189"/>
                  <a:gd name="T69" fmla="*/ 34 h 133"/>
                  <a:gd name="T70" fmla="*/ 66 w 189"/>
                  <a:gd name="T71" fmla="*/ 36 h 133"/>
                  <a:gd name="T72" fmla="*/ 73 w 189"/>
                  <a:gd name="T73" fmla="*/ 35 h 133"/>
                  <a:gd name="T74" fmla="*/ 78 w 189"/>
                  <a:gd name="T75" fmla="*/ 42 h 133"/>
                  <a:gd name="T76" fmla="*/ 86 w 189"/>
                  <a:gd name="T77" fmla="*/ 39 h 133"/>
                  <a:gd name="T78" fmla="*/ 98 w 189"/>
                  <a:gd name="T79" fmla="*/ 17 h 133"/>
                  <a:gd name="T80" fmla="*/ 114 w 189"/>
                  <a:gd name="T81" fmla="*/ 8 h 133"/>
                  <a:gd name="T82" fmla="*/ 166 w 189"/>
                  <a:gd name="T83" fmla="*/ 0 h 133"/>
                  <a:gd name="T84" fmla="*/ 182 w 189"/>
                  <a:gd name="T85" fmla="*/ 34 h 133"/>
                  <a:gd name="T86" fmla="*/ 189 w 189"/>
                  <a:gd name="T87" fmla="*/ 4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89" h="133">
                    <a:moveTo>
                      <a:pt x="189" y="49"/>
                    </a:moveTo>
                    <a:lnTo>
                      <a:pt x="177" y="54"/>
                    </a:lnTo>
                    <a:lnTo>
                      <a:pt x="174" y="63"/>
                    </a:lnTo>
                    <a:lnTo>
                      <a:pt x="174" y="70"/>
                    </a:lnTo>
                    <a:lnTo>
                      <a:pt x="156" y="79"/>
                    </a:lnTo>
                    <a:lnTo>
                      <a:pt x="128" y="89"/>
                    </a:lnTo>
                    <a:lnTo>
                      <a:pt x="112" y="103"/>
                    </a:lnTo>
                    <a:lnTo>
                      <a:pt x="104" y="105"/>
                    </a:lnTo>
                    <a:lnTo>
                      <a:pt x="99" y="103"/>
                    </a:lnTo>
                    <a:lnTo>
                      <a:pt x="89" y="112"/>
                    </a:lnTo>
                    <a:lnTo>
                      <a:pt x="77" y="116"/>
                    </a:lnTo>
                    <a:lnTo>
                      <a:pt x="62" y="117"/>
                    </a:lnTo>
                    <a:lnTo>
                      <a:pt x="57" y="118"/>
                    </a:lnTo>
                    <a:lnTo>
                      <a:pt x="53" y="124"/>
                    </a:lnTo>
                    <a:lnTo>
                      <a:pt x="49" y="125"/>
                    </a:lnTo>
                    <a:lnTo>
                      <a:pt x="46" y="131"/>
                    </a:lnTo>
                    <a:lnTo>
                      <a:pt x="37" y="130"/>
                    </a:lnTo>
                    <a:lnTo>
                      <a:pt x="32" y="133"/>
                    </a:lnTo>
                    <a:lnTo>
                      <a:pt x="19" y="132"/>
                    </a:lnTo>
                    <a:lnTo>
                      <a:pt x="14" y="120"/>
                    </a:lnTo>
                    <a:lnTo>
                      <a:pt x="14" y="108"/>
                    </a:lnTo>
                    <a:lnTo>
                      <a:pt x="10" y="102"/>
                    </a:lnTo>
                    <a:lnTo>
                      <a:pt x="6" y="87"/>
                    </a:lnTo>
                    <a:lnTo>
                      <a:pt x="0" y="78"/>
                    </a:lnTo>
                    <a:lnTo>
                      <a:pt x="4" y="77"/>
                    </a:lnTo>
                    <a:lnTo>
                      <a:pt x="2" y="68"/>
                    </a:lnTo>
                    <a:lnTo>
                      <a:pt x="4" y="64"/>
                    </a:lnTo>
                    <a:lnTo>
                      <a:pt x="2" y="55"/>
                    </a:lnTo>
                    <a:lnTo>
                      <a:pt x="10" y="48"/>
                    </a:lnTo>
                    <a:lnTo>
                      <a:pt x="8" y="39"/>
                    </a:lnTo>
                    <a:lnTo>
                      <a:pt x="12" y="29"/>
                    </a:lnTo>
                    <a:lnTo>
                      <a:pt x="20" y="35"/>
                    </a:lnTo>
                    <a:lnTo>
                      <a:pt x="24" y="33"/>
                    </a:lnTo>
                    <a:lnTo>
                      <a:pt x="45" y="32"/>
                    </a:lnTo>
                    <a:lnTo>
                      <a:pt x="49" y="34"/>
                    </a:lnTo>
                    <a:lnTo>
                      <a:pt x="66" y="36"/>
                    </a:lnTo>
                    <a:lnTo>
                      <a:pt x="73" y="35"/>
                    </a:lnTo>
                    <a:lnTo>
                      <a:pt x="78" y="42"/>
                    </a:lnTo>
                    <a:lnTo>
                      <a:pt x="86" y="39"/>
                    </a:lnTo>
                    <a:lnTo>
                      <a:pt x="98" y="17"/>
                    </a:lnTo>
                    <a:lnTo>
                      <a:pt x="114" y="8"/>
                    </a:lnTo>
                    <a:lnTo>
                      <a:pt x="166" y="0"/>
                    </a:lnTo>
                    <a:lnTo>
                      <a:pt x="182" y="34"/>
                    </a:lnTo>
                    <a:lnTo>
                      <a:pt x="189" y="49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6" name="Freeform 217"/>
              <p:cNvSpPr>
                <a:spLocks/>
              </p:cNvSpPr>
              <p:nvPr/>
            </p:nvSpPr>
            <p:spPr bwMode="auto">
              <a:xfrm>
                <a:off x="4640263" y="4637088"/>
                <a:ext cx="468313" cy="419100"/>
              </a:xfrm>
              <a:custGeom>
                <a:avLst/>
                <a:gdLst>
                  <a:gd name="T0" fmla="*/ 264 w 295"/>
                  <a:gd name="T1" fmla="*/ 152 h 264"/>
                  <a:gd name="T2" fmla="*/ 250 w 295"/>
                  <a:gd name="T3" fmla="*/ 173 h 264"/>
                  <a:gd name="T4" fmla="*/ 217 w 295"/>
                  <a:gd name="T5" fmla="*/ 210 h 264"/>
                  <a:gd name="T6" fmla="*/ 190 w 295"/>
                  <a:gd name="T7" fmla="*/ 232 h 264"/>
                  <a:gd name="T8" fmla="*/ 162 w 295"/>
                  <a:gd name="T9" fmla="*/ 241 h 264"/>
                  <a:gd name="T10" fmla="*/ 149 w 295"/>
                  <a:gd name="T11" fmla="*/ 243 h 264"/>
                  <a:gd name="T12" fmla="*/ 121 w 295"/>
                  <a:gd name="T13" fmla="*/ 243 h 264"/>
                  <a:gd name="T14" fmla="*/ 104 w 295"/>
                  <a:gd name="T15" fmla="*/ 245 h 264"/>
                  <a:gd name="T16" fmla="*/ 70 w 295"/>
                  <a:gd name="T17" fmla="*/ 256 h 264"/>
                  <a:gd name="T18" fmla="*/ 51 w 295"/>
                  <a:gd name="T19" fmla="*/ 264 h 264"/>
                  <a:gd name="T20" fmla="*/ 38 w 295"/>
                  <a:gd name="T21" fmla="*/ 257 h 264"/>
                  <a:gd name="T22" fmla="*/ 30 w 295"/>
                  <a:gd name="T23" fmla="*/ 250 h 264"/>
                  <a:gd name="T24" fmla="*/ 29 w 295"/>
                  <a:gd name="T25" fmla="*/ 232 h 264"/>
                  <a:gd name="T26" fmla="*/ 30 w 295"/>
                  <a:gd name="T27" fmla="*/ 215 h 264"/>
                  <a:gd name="T28" fmla="*/ 20 w 295"/>
                  <a:gd name="T29" fmla="*/ 180 h 264"/>
                  <a:gd name="T30" fmla="*/ 12 w 295"/>
                  <a:gd name="T31" fmla="*/ 162 h 264"/>
                  <a:gd name="T32" fmla="*/ 9 w 295"/>
                  <a:gd name="T33" fmla="*/ 125 h 264"/>
                  <a:gd name="T34" fmla="*/ 19 w 295"/>
                  <a:gd name="T35" fmla="*/ 139 h 264"/>
                  <a:gd name="T36" fmla="*/ 38 w 295"/>
                  <a:gd name="T37" fmla="*/ 145 h 264"/>
                  <a:gd name="T38" fmla="*/ 63 w 295"/>
                  <a:gd name="T39" fmla="*/ 133 h 264"/>
                  <a:gd name="T40" fmla="*/ 71 w 295"/>
                  <a:gd name="T41" fmla="*/ 59 h 264"/>
                  <a:gd name="T42" fmla="*/ 79 w 295"/>
                  <a:gd name="T43" fmla="*/ 91 h 264"/>
                  <a:gd name="T44" fmla="*/ 95 w 295"/>
                  <a:gd name="T45" fmla="*/ 97 h 264"/>
                  <a:gd name="T46" fmla="*/ 113 w 295"/>
                  <a:gd name="T47" fmla="*/ 81 h 264"/>
                  <a:gd name="T48" fmla="*/ 127 w 295"/>
                  <a:gd name="T49" fmla="*/ 66 h 264"/>
                  <a:gd name="T50" fmla="*/ 143 w 295"/>
                  <a:gd name="T51" fmla="*/ 75 h 264"/>
                  <a:gd name="T52" fmla="*/ 169 w 295"/>
                  <a:gd name="T53" fmla="*/ 71 h 264"/>
                  <a:gd name="T54" fmla="*/ 175 w 295"/>
                  <a:gd name="T55" fmla="*/ 54 h 264"/>
                  <a:gd name="T56" fmla="*/ 191 w 295"/>
                  <a:gd name="T57" fmla="*/ 45 h 264"/>
                  <a:gd name="T58" fmla="*/ 214 w 295"/>
                  <a:gd name="T59" fmla="*/ 16 h 264"/>
                  <a:gd name="T60" fmla="*/ 248 w 295"/>
                  <a:gd name="T61" fmla="*/ 1 h 264"/>
                  <a:gd name="T62" fmla="*/ 262 w 295"/>
                  <a:gd name="T63" fmla="*/ 2 h 264"/>
                  <a:gd name="T64" fmla="*/ 279 w 295"/>
                  <a:gd name="T65" fmla="*/ 33 h 264"/>
                  <a:gd name="T66" fmla="*/ 278 w 295"/>
                  <a:gd name="T67" fmla="*/ 71 h 264"/>
                  <a:gd name="T68" fmla="*/ 270 w 295"/>
                  <a:gd name="T69" fmla="*/ 74 h 264"/>
                  <a:gd name="T70" fmla="*/ 263 w 295"/>
                  <a:gd name="T71" fmla="*/ 82 h 264"/>
                  <a:gd name="T72" fmla="*/ 257 w 295"/>
                  <a:gd name="T73" fmla="*/ 97 h 264"/>
                  <a:gd name="T74" fmla="*/ 277 w 295"/>
                  <a:gd name="T75" fmla="*/ 106 h 264"/>
                  <a:gd name="T76" fmla="*/ 295 w 295"/>
                  <a:gd name="T77" fmla="*/ 97 h 264"/>
                  <a:gd name="T78" fmla="*/ 286 w 295"/>
                  <a:gd name="T79" fmla="*/ 129 h 264"/>
                  <a:gd name="T80" fmla="*/ 268 w 295"/>
                  <a:gd name="T81" fmla="*/ 149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95" h="264">
                    <a:moveTo>
                      <a:pt x="268" y="149"/>
                    </a:moveTo>
                    <a:lnTo>
                      <a:pt x="264" y="152"/>
                    </a:lnTo>
                    <a:lnTo>
                      <a:pt x="256" y="163"/>
                    </a:lnTo>
                    <a:lnTo>
                      <a:pt x="250" y="173"/>
                    </a:lnTo>
                    <a:lnTo>
                      <a:pt x="239" y="188"/>
                    </a:lnTo>
                    <a:lnTo>
                      <a:pt x="217" y="210"/>
                    </a:lnTo>
                    <a:lnTo>
                      <a:pt x="204" y="222"/>
                    </a:lnTo>
                    <a:lnTo>
                      <a:pt x="190" y="232"/>
                    </a:lnTo>
                    <a:lnTo>
                      <a:pt x="171" y="240"/>
                    </a:lnTo>
                    <a:lnTo>
                      <a:pt x="162" y="241"/>
                    </a:lnTo>
                    <a:lnTo>
                      <a:pt x="159" y="246"/>
                    </a:lnTo>
                    <a:lnTo>
                      <a:pt x="149" y="243"/>
                    </a:lnTo>
                    <a:lnTo>
                      <a:pt x="140" y="247"/>
                    </a:lnTo>
                    <a:lnTo>
                      <a:pt x="121" y="243"/>
                    </a:lnTo>
                    <a:lnTo>
                      <a:pt x="111" y="246"/>
                    </a:lnTo>
                    <a:lnTo>
                      <a:pt x="104" y="245"/>
                    </a:lnTo>
                    <a:lnTo>
                      <a:pt x="85" y="253"/>
                    </a:lnTo>
                    <a:lnTo>
                      <a:pt x="70" y="256"/>
                    </a:lnTo>
                    <a:lnTo>
                      <a:pt x="59" y="264"/>
                    </a:lnTo>
                    <a:lnTo>
                      <a:pt x="51" y="264"/>
                    </a:lnTo>
                    <a:lnTo>
                      <a:pt x="44" y="257"/>
                    </a:lnTo>
                    <a:lnTo>
                      <a:pt x="38" y="257"/>
                    </a:lnTo>
                    <a:lnTo>
                      <a:pt x="31" y="247"/>
                    </a:lnTo>
                    <a:lnTo>
                      <a:pt x="30" y="250"/>
                    </a:lnTo>
                    <a:lnTo>
                      <a:pt x="28" y="245"/>
                    </a:lnTo>
                    <a:lnTo>
                      <a:pt x="29" y="232"/>
                    </a:lnTo>
                    <a:lnTo>
                      <a:pt x="24" y="219"/>
                    </a:lnTo>
                    <a:lnTo>
                      <a:pt x="30" y="215"/>
                    </a:lnTo>
                    <a:lnTo>
                      <a:pt x="30" y="199"/>
                    </a:lnTo>
                    <a:lnTo>
                      <a:pt x="20" y="180"/>
                    </a:lnTo>
                    <a:lnTo>
                      <a:pt x="12" y="162"/>
                    </a:lnTo>
                    <a:lnTo>
                      <a:pt x="12" y="162"/>
                    </a:lnTo>
                    <a:lnTo>
                      <a:pt x="0" y="135"/>
                    </a:lnTo>
                    <a:lnTo>
                      <a:pt x="9" y="125"/>
                    </a:lnTo>
                    <a:lnTo>
                      <a:pt x="16" y="131"/>
                    </a:lnTo>
                    <a:lnTo>
                      <a:pt x="19" y="139"/>
                    </a:lnTo>
                    <a:lnTo>
                      <a:pt x="27" y="141"/>
                    </a:lnTo>
                    <a:lnTo>
                      <a:pt x="38" y="145"/>
                    </a:lnTo>
                    <a:lnTo>
                      <a:pt x="47" y="143"/>
                    </a:lnTo>
                    <a:lnTo>
                      <a:pt x="63" y="133"/>
                    </a:lnTo>
                    <a:lnTo>
                      <a:pt x="67" y="56"/>
                    </a:lnTo>
                    <a:lnTo>
                      <a:pt x="71" y="59"/>
                    </a:lnTo>
                    <a:lnTo>
                      <a:pt x="81" y="79"/>
                    </a:lnTo>
                    <a:lnTo>
                      <a:pt x="79" y="91"/>
                    </a:lnTo>
                    <a:lnTo>
                      <a:pt x="83" y="99"/>
                    </a:lnTo>
                    <a:lnTo>
                      <a:pt x="95" y="97"/>
                    </a:lnTo>
                    <a:lnTo>
                      <a:pt x="105" y="87"/>
                    </a:lnTo>
                    <a:lnTo>
                      <a:pt x="113" y="81"/>
                    </a:lnTo>
                    <a:lnTo>
                      <a:pt x="118" y="71"/>
                    </a:lnTo>
                    <a:lnTo>
                      <a:pt x="127" y="66"/>
                    </a:lnTo>
                    <a:lnTo>
                      <a:pt x="135" y="69"/>
                    </a:lnTo>
                    <a:lnTo>
                      <a:pt x="143" y="75"/>
                    </a:lnTo>
                    <a:lnTo>
                      <a:pt x="157" y="76"/>
                    </a:lnTo>
                    <a:lnTo>
                      <a:pt x="169" y="71"/>
                    </a:lnTo>
                    <a:lnTo>
                      <a:pt x="171" y="64"/>
                    </a:lnTo>
                    <a:lnTo>
                      <a:pt x="175" y="54"/>
                    </a:lnTo>
                    <a:lnTo>
                      <a:pt x="185" y="53"/>
                    </a:lnTo>
                    <a:lnTo>
                      <a:pt x="191" y="45"/>
                    </a:lnTo>
                    <a:lnTo>
                      <a:pt x="197" y="31"/>
                    </a:lnTo>
                    <a:lnTo>
                      <a:pt x="214" y="16"/>
                    </a:lnTo>
                    <a:lnTo>
                      <a:pt x="240" y="0"/>
                    </a:lnTo>
                    <a:lnTo>
                      <a:pt x="248" y="1"/>
                    </a:lnTo>
                    <a:lnTo>
                      <a:pt x="256" y="4"/>
                    </a:lnTo>
                    <a:lnTo>
                      <a:pt x="262" y="2"/>
                    </a:lnTo>
                    <a:lnTo>
                      <a:pt x="272" y="4"/>
                    </a:lnTo>
                    <a:lnTo>
                      <a:pt x="279" y="33"/>
                    </a:lnTo>
                    <a:lnTo>
                      <a:pt x="282" y="48"/>
                    </a:lnTo>
                    <a:lnTo>
                      <a:pt x="278" y="71"/>
                    </a:lnTo>
                    <a:lnTo>
                      <a:pt x="279" y="78"/>
                    </a:lnTo>
                    <a:lnTo>
                      <a:pt x="270" y="74"/>
                    </a:lnTo>
                    <a:lnTo>
                      <a:pt x="265" y="76"/>
                    </a:lnTo>
                    <a:lnTo>
                      <a:pt x="263" y="82"/>
                    </a:lnTo>
                    <a:lnTo>
                      <a:pt x="257" y="90"/>
                    </a:lnTo>
                    <a:lnTo>
                      <a:pt x="257" y="97"/>
                    </a:lnTo>
                    <a:lnTo>
                      <a:pt x="267" y="108"/>
                    </a:lnTo>
                    <a:lnTo>
                      <a:pt x="277" y="106"/>
                    </a:lnTo>
                    <a:lnTo>
                      <a:pt x="281" y="97"/>
                    </a:lnTo>
                    <a:lnTo>
                      <a:pt x="295" y="97"/>
                    </a:lnTo>
                    <a:lnTo>
                      <a:pt x="289" y="112"/>
                    </a:lnTo>
                    <a:lnTo>
                      <a:pt x="286" y="129"/>
                    </a:lnTo>
                    <a:lnTo>
                      <a:pt x="281" y="139"/>
                    </a:lnTo>
                    <a:lnTo>
                      <a:pt x="268" y="149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7" name="Freeform 218"/>
              <p:cNvSpPr>
                <a:spLocks/>
              </p:cNvSpPr>
              <p:nvPr/>
            </p:nvSpPr>
            <p:spPr bwMode="auto">
              <a:xfrm>
                <a:off x="4937125" y="4854575"/>
                <a:ext cx="66675" cy="65088"/>
              </a:xfrm>
              <a:custGeom>
                <a:avLst/>
                <a:gdLst>
                  <a:gd name="T0" fmla="*/ 36 w 42"/>
                  <a:gd name="T1" fmla="*/ 6 h 41"/>
                  <a:gd name="T2" fmla="*/ 29 w 42"/>
                  <a:gd name="T3" fmla="*/ 0 h 41"/>
                  <a:gd name="T4" fmla="*/ 20 w 42"/>
                  <a:gd name="T5" fmla="*/ 4 h 41"/>
                  <a:gd name="T6" fmla="*/ 10 w 42"/>
                  <a:gd name="T7" fmla="*/ 12 h 41"/>
                  <a:gd name="T8" fmla="*/ 0 w 42"/>
                  <a:gd name="T9" fmla="*/ 25 h 41"/>
                  <a:gd name="T10" fmla="*/ 12 w 42"/>
                  <a:gd name="T11" fmla="*/ 41 h 41"/>
                  <a:gd name="T12" fmla="*/ 18 w 42"/>
                  <a:gd name="T13" fmla="*/ 39 h 41"/>
                  <a:gd name="T14" fmla="*/ 22 w 42"/>
                  <a:gd name="T15" fmla="*/ 32 h 41"/>
                  <a:gd name="T16" fmla="*/ 32 w 42"/>
                  <a:gd name="T17" fmla="*/ 29 h 41"/>
                  <a:gd name="T18" fmla="*/ 36 w 42"/>
                  <a:gd name="T19" fmla="*/ 22 h 41"/>
                  <a:gd name="T20" fmla="*/ 42 w 42"/>
                  <a:gd name="T21" fmla="*/ 12 h 41"/>
                  <a:gd name="T22" fmla="*/ 36 w 42"/>
                  <a:gd name="T23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41">
                    <a:moveTo>
                      <a:pt x="36" y="6"/>
                    </a:moveTo>
                    <a:lnTo>
                      <a:pt x="29" y="0"/>
                    </a:lnTo>
                    <a:lnTo>
                      <a:pt x="20" y="4"/>
                    </a:lnTo>
                    <a:lnTo>
                      <a:pt x="10" y="12"/>
                    </a:lnTo>
                    <a:lnTo>
                      <a:pt x="0" y="25"/>
                    </a:lnTo>
                    <a:lnTo>
                      <a:pt x="12" y="41"/>
                    </a:lnTo>
                    <a:lnTo>
                      <a:pt x="18" y="39"/>
                    </a:lnTo>
                    <a:lnTo>
                      <a:pt x="22" y="32"/>
                    </a:lnTo>
                    <a:lnTo>
                      <a:pt x="32" y="29"/>
                    </a:lnTo>
                    <a:lnTo>
                      <a:pt x="36" y="22"/>
                    </a:lnTo>
                    <a:lnTo>
                      <a:pt x="42" y="12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chemeClr val="bg1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8" name="Freeform 219"/>
              <p:cNvSpPr>
                <a:spLocks/>
              </p:cNvSpPr>
              <p:nvPr/>
            </p:nvSpPr>
            <p:spPr bwMode="auto">
              <a:xfrm>
                <a:off x="4813300" y="4181475"/>
                <a:ext cx="341313" cy="320675"/>
              </a:xfrm>
              <a:custGeom>
                <a:avLst/>
                <a:gdLst>
                  <a:gd name="T0" fmla="*/ 202 w 215"/>
                  <a:gd name="T1" fmla="*/ 20 h 202"/>
                  <a:gd name="T2" fmla="*/ 211 w 215"/>
                  <a:gd name="T3" fmla="*/ 30 h 202"/>
                  <a:gd name="T4" fmla="*/ 215 w 215"/>
                  <a:gd name="T5" fmla="*/ 47 h 202"/>
                  <a:gd name="T6" fmla="*/ 211 w 215"/>
                  <a:gd name="T7" fmla="*/ 53 h 202"/>
                  <a:gd name="T8" fmla="*/ 207 w 215"/>
                  <a:gd name="T9" fmla="*/ 70 h 202"/>
                  <a:gd name="T10" fmla="*/ 210 w 215"/>
                  <a:gd name="T11" fmla="*/ 87 h 202"/>
                  <a:gd name="T12" fmla="*/ 204 w 215"/>
                  <a:gd name="T13" fmla="*/ 94 h 202"/>
                  <a:gd name="T14" fmla="*/ 198 w 215"/>
                  <a:gd name="T15" fmla="*/ 113 h 202"/>
                  <a:gd name="T16" fmla="*/ 208 w 215"/>
                  <a:gd name="T17" fmla="*/ 119 h 202"/>
                  <a:gd name="T18" fmla="*/ 152 w 215"/>
                  <a:gd name="T19" fmla="*/ 136 h 202"/>
                  <a:gd name="T20" fmla="*/ 153 w 215"/>
                  <a:gd name="T21" fmla="*/ 151 h 202"/>
                  <a:gd name="T22" fmla="*/ 139 w 215"/>
                  <a:gd name="T23" fmla="*/ 154 h 202"/>
                  <a:gd name="T24" fmla="*/ 128 w 215"/>
                  <a:gd name="T25" fmla="*/ 162 h 202"/>
                  <a:gd name="T26" fmla="*/ 126 w 215"/>
                  <a:gd name="T27" fmla="*/ 169 h 202"/>
                  <a:gd name="T28" fmla="*/ 119 w 215"/>
                  <a:gd name="T29" fmla="*/ 171 h 202"/>
                  <a:gd name="T30" fmla="*/ 103 w 215"/>
                  <a:gd name="T31" fmla="*/ 188 h 202"/>
                  <a:gd name="T32" fmla="*/ 92 w 215"/>
                  <a:gd name="T33" fmla="*/ 201 h 202"/>
                  <a:gd name="T34" fmla="*/ 86 w 215"/>
                  <a:gd name="T35" fmla="*/ 202 h 202"/>
                  <a:gd name="T36" fmla="*/ 80 w 215"/>
                  <a:gd name="T37" fmla="*/ 199 h 202"/>
                  <a:gd name="T38" fmla="*/ 60 w 215"/>
                  <a:gd name="T39" fmla="*/ 197 h 202"/>
                  <a:gd name="T40" fmla="*/ 57 w 215"/>
                  <a:gd name="T41" fmla="*/ 195 h 202"/>
                  <a:gd name="T42" fmla="*/ 57 w 215"/>
                  <a:gd name="T43" fmla="*/ 194 h 202"/>
                  <a:gd name="T44" fmla="*/ 50 w 215"/>
                  <a:gd name="T45" fmla="*/ 189 h 202"/>
                  <a:gd name="T46" fmla="*/ 38 w 215"/>
                  <a:gd name="T47" fmla="*/ 188 h 202"/>
                  <a:gd name="T48" fmla="*/ 23 w 215"/>
                  <a:gd name="T49" fmla="*/ 193 h 202"/>
                  <a:gd name="T50" fmla="*/ 12 w 215"/>
                  <a:gd name="T51" fmla="*/ 180 h 202"/>
                  <a:gd name="T52" fmla="*/ 0 w 215"/>
                  <a:gd name="T53" fmla="*/ 163 h 202"/>
                  <a:gd name="T54" fmla="*/ 2 w 215"/>
                  <a:gd name="T55" fmla="*/ 96 h 202"/>
                  <a:gd name="T56" fmla="*/ 41 w 215"/>
                  <a:gd name="T57" fmla="*/ 97 h 202"/>
                  <a:gd name="T58" fmla="*/ 39 w 215"/>
                  <a:gd name="T59" fmla="*/ 90 h 202"/>
                  <a:gd name="T60" fmla="*/ 42 w 215"/>
                  <a:gd name="T61" fmla="*/ 82 h 202"/>
                  <a:gd name="T62" fmla="*/ 39 w 215"/>
                  <a:gd name="T63" fmla="*/ 72 h 202"/>
                  <a:gd name="T64" fmla="*/ 41 w 215"/>
                  <a:gd name="T65" fmla="*/ 62 h 202"/>
                  <a:gd name="T66" fmla="*/ 40 w 215"/>
                  <a:gd name="T67" fmla="*/ 55 h 202"/>
                  <a:gd name="T68" fmla="*/ 46 w 215"/>
                  <a:gd name="T69" fmla="*/ 56 h 202"/>
                  <a:gd name="T70" fmla="*/ 47 w 215"/>
                  <a:gd name="T71" fmla="*/ 63 h 202"/>
                  <a:gd name="T72" fmla="*/ 55 w 215"/>
                  <a:gd name="T73" fmla="*/ 62 h 202"/>
                  <a:gd name="T74" fmla="*/ 67 w 215"/>
                  <a:gd name="T75" fmla="*/ 64 h 202"/>
                  <a:gd name="T76" fmla="*/ 73 w 215"/>
                  <a:gd name="T77" fmla="*/ 73 h 202"/>
                  <a:gd name="T78" fmla="*/ 87 w 215"/>
                  <a:gd name="T79" fmla="*/ 76 h 202"/>
                  <a:gd name="T80" fmla="*/ 99 w 215"/>
                  <a:gd name="T81" fmla="*/ 70 h 202"/>
                  <a:gd name="T82" fmla="*/ 102 w 215"/>
                  <a:gd name="T83" fmla="*/ 81 h 202"/>
                  <a:gd name="T84" fmla="*/ 116 w 215"/>
                  <a:gd name="T85" fmla="*/ 83 h 202"/>
                  <a:gd name="T86" fmla="*/ 123 w 215"/>
                  <a:gd name="T87" fmla="*/ 92 h 202"/>
                  <a:gd name="T88" fmla="*/ 130 w 215"/>
                  <a:gd name="T89" fmla="*/ 104 h 202"/>
                  <a:gd name="T90" fmla="*/ 144 w 215"/>
                  <a:gd name="T91" fmla="*/ 104 h 202"/>
                  <a:gd name="T92" fmla="*/ 143 w 215"/>
                  <a:gd name="T93" fmla="*/ 82 h 202"/>
                  <a:gd name="T94" fmla="*/ 138 w 215"/>
                  <a:gd name="T95" fmla="*/ 85 h 202"/>
                  <a:gd name="T96" fmla="*/ 126 w 215"/>
                  <a:gd name="T97" fmla="*/ 77 h 202"/>
                  <a:gd name="T98" fmla="*/ 121 w 215"/>
                  <a:gd name="T99" fmla="*/ 73 h 202"/>
                  <a:gd name="T100" fmla="*/ 123 w 215"/>
                  <a:gd name="T101" fmla="*/ 53 h 202"/>
                  <a:gd name="T102" fmla="*/ 127 w 215"/>
                  <a:gd name="T103" fmla="*/ 28 h 202"/>
                  <a:gd name="T104" fmla="*/ 123 w 215"/>
                  <a:gd name="T105" fmla="*/ 19 h 202"/>
                  <a:gd name="T106" fmla="*/ 129 w 215"/>
                  <a:gd name="T107" fmla="*/ 6 h 202"/>
                  <a:gd name="T108" fmla="*/ 134 w 215"/>
                  <a:gd name="T109" fmla="*/ 3 h 202"/>
                  <a:gd name="T110" fmla="*/ 158 w 215"/>
                  <a:gd name="T111" fmla="*/ 0 h 202"/>
                  <a:gd name="T112" fmla="*/ 166 w 215"/>
                  <a:gd name="T113" fmla="*/ 2 h 202"/>
                  <a:gd name="T114" fmla="*/ 173 w 215"/>
                  <a:gd name="T115" fmla="*/ 7 h 202"/>
                  <a:gd name="T116" fmla="*/ 180 w 215"/>
                  <a:gd name="T117" fmla="*/ 11 h 202"/>
                  <a:gd name="T118" fmla="*/ 192 w 215"/>
                  <a:gd name="T119" fmla="*/ 14 h 202"/>
                  <a:gd name="T120" fmla="*/ 202 w 215"/>
                  <a:gd name="T121" fmla="*/ 2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5" h="202">
                    <a:moveTo>
                      <a:pt x="202" y="20"/>
                    </a:moveTo>
                    <a:lnTo>
                      <a:pt x="211" y="30"/>
                    </a:lnTo>
                    <a:lnTo>
                      <a:pt x="215" y="47"/>
                    </a:lnTo>
                    <a:lnTo>
                      <a:pt x="211" y="53"/>
                    </a:lnTo>
                    <a:lnTo>
                      <a:pt x="207" y="70"/>
                    </a:lnTo>
                    <a:lnTo>
                      <a:pt x="210" y="87"/>
                    </a:lnTo>
                    <a:lnTo>
                      <a:pt x="204" y="94"/>
                    </a:lnTo>
                    <a:lnTo>
                      <a:pt x="198" y="113"/>
                    </a:lnTo>
                    <a:lnTo>
                      <a:pt x="208" y="119"/>
                    </a:lnTo>
                    <a:lnTo>
                      <a:pt x="152" y="136"/>
                    </a:lnTo>
                    <a:lnTo>
                      <a:pt x="153" y="151"/>
                    </a:lnTo>
                    <a:lnTo>
                      <a:pt x="139" y="154"/>
                    </a:lnTo>
                    <a:lnTo>
                      <a:pt x="128" y="162"/>
                    </a:lnTo>
                    <a:lnTo>
                      <a:pt x="126" y="169"/>
                    </a:lnTo>
                    <a:lnTo>
                      <a:pt x="119" y="171"/>
                    </a:lnTo>
                    <a:lnTo>
                      <a:pt x="103" y="188"/>
                    </a:lnTo>
                    <a:lnTo>
                      <a:pt x="92" y="201"/>
                    </a:lnTo>
                    <a:lnTo>
                      <a:pt x="86" y="202"/>
                    </a:lnTo>
                    <a:lnTo>
                      <a:pt x="80" y="199"/>
                    </a:lnTo>
                    <a:lnTo>
                      <a:pt x="60" y="197"/>
                    </a:lnTo>
                    <a:lnTo>
                      <a:pt x="57" y="195"/>
                    </a:lnTo>
                    <a:lnTo>
                      <a:pt x="57" y="194"/>
                    </a:lnTo>
                    <a:lnTo>
                      <a:pt x="50" y="189"/>
                    </a:lnTo>
                    <a:lnTo>
                      <a:pt x="38" y="188"/>
                    </a:lnTo>
                    <a:lnTo>
                      <a:pt x="23" y="193"/>
                    </a:lnTo>
                    <a:lnTo>
                      <a:pt x="12" y="180"/>
                    </a:lnTo>
                    <a:lnTo>
                      <a:pt x="0" y="163"/>
                    </a:lnTo>
                    <a:lnTo>
                      <a:pt x="2" y="96"/>
                    </a:lnTo>
                    <a:lnTo>
                      <a:pt x="41" y="97"/>
                    </a:lnTo>
                    <a:lnTo>
                      <a:pt x="39" y="90"/>
                    </a:lnTo>
                    <a:lnTo>
                      <a:pt x="42" y="82"/>
                    </a:lnTo>
                    <a:lnTo>
                      <a:pt x="39" y="72"/>
                    </a:lnTo>
                    <a:lnTo>
                      <a:pt x="41" y="62"/>
                    </a:lnTo>
                    <a:lnTo>
                      <a:pt x="40" y="55"/>
                    </a:lnTo>
                    <a:lnTo>
                      <a:pt x="46" y="56"/>
                    </a:lnTo>
                    <a:lnTo>
                      <a:pt x="47" y="63"/>
                    </a:lnTo>
                    <a:lnTo>
                      <a:pt x="55" y="62"/>
                    </a:lnTo>
                    <a:lnTo>
                      <a:pt x="67" y="64"/>
                    </a:lnTo>
                    <a:lnTo>
                      <a:pt x="73" y="73"/>
                    </a:lnTo>
                    <a:lnTo>
                      <a:pt x="87" y="76"/>
                    </a:lnTo>
                    <a:lnTo>
                      <a:pt x="99" y="70"/>
                    </a:lnTo>
                    <a:lnTo>
                      <a:pt x="102" y="81"/>
                    </a:lnTo>
                    <a:lnTo>
                      <a:pt x="116" y="83"/>
                    </a:lnTo>
                    <a:lnTo>
                      <a:pt x="123" y="92"/>
                    </a:lnTo>
                    <a:lnTo>
                      <a:pt x="130" y="104"/>
                    </a:lnTo>
                    <a:lnTo>
                      <a:pt x="144" y="104"/>
                    </a:lnTo>
                    <a:lnTo>
                      <a:pt x="143" y="82"/>
                    </a:lnTo>
                    <a:lnTo>
                      <a:pt x="138" y="85"/>
                    </a:lnTo>
                    <a:lnTo>
                      <a:pt x="126" y="77"/>
                    </a:lnTo>
                    <a:lnTo>
                      <a:pt x="121" y="73"/>
                    </a:lnTo>
                    <a:lnTo>
                      <a:pt x="123" y="53"/>
                    </a:lnTo>
                    <a:lnTo>
                      <a:pt x="127" y="28"/>
                    </a:lnTo>
                    <a:lnTo>
                      <a:pt x="123" y="19"/>
                    </a:lnTo>
                    <a:lnTo>
                      <a:pt x="129" y="6"/>
                    </a:lnTo>
                    <a:lnTo>
                      <a:pt x="134" y="3"/>
                    </a:lnTo>
                    <a:lnTo>
                      <a:pt x="158" y="0"/>
                    </a:lnTo>
                    <a:lnTo>
                      <a:pt x="166" y="2"/>
                    </a:lnTo>
                    <a:lnTo>
                      <a:pt x="173" y="7"/>
                    </a:lnTo>
                    <a:lnTo>
                      <a:pt x="180" y="11"/>
                    </a:lnTo>
                    <a:lnTo>
                      <a:pt x="192" y="14"/>
                    </a:lnTo>
                    <a:lnTo>
                      <a:pt x="202" y="2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29" name="Freeform 220"/>
              <p:cNvSpPr>
                <a:spLocks/>
              </p:cNvSpPr>
              <p:nvPr/>
            </p:nvSpPr>
            <p:spPr bwMode="auto">
              <a:xfrm>
                <a:off x="4908550" y="4421188"/>
                <a:ext cx="220663" cy="222250"/>
              </a:xfrm>
              <a:custGeom>
                <a:avLst/>
                <a:gdLst>
                  <a:gd name="T0" fmla="*/ 103 w 139"/>
                  <a:gd name="T1" fmla="*/ 140 h 140"/>
                  <a:gd name="T2" fmla="*/ 93 w 139"/>
                  <a:gd name="T3" fmla="*/ 138 h 140"/>
                  <a:gd name="T4" fmla="*/ 87 w 139"/>
                  <a:gd name="T5" fmla="*/ 140 h 140"/>
                  <a:gd name="T6" fmla="*/ 79 w 139"/>
                  <a:gd name="T7" fmla="*/ 137 h 140"/>
                  <a:gd name="T8" fmla="*/ 71 w 139"/>
                  <a:gd name="T9" fmla="*/ 136 h 140"/>
                  <a:gd name="T10" fmla="*/ 60 w 139"/>
                  <a:gd name="T11" fmla="*/ 127 h 140"/>
                  <a:gd name="T12" fmla="*/ 47 w 139"/>
                  <a:gd name="T13" fmla="*/ 124 h 140"/>
                  <a:gd name="T14" fmla="*/ 42 w 139"/>
                  <a:gd name="T15" fmla="*/ 111 h 140"/>
                  <a:gd name="T16" fmla="*/ 42 w 139"/>
                  <a:gd name="T17" fmla="*/ 103 h 140"/>
                  <a:gd name="T18" fmla="*/ 35 w 139"/>
                  <a:gd name="T19" fmla="*/ 101 h 140"/>
                  <a:gd name="T20" fmla="*/ 15 w 139"/>
                  <a:gd name="T21" fmla="*/ 78 h 140"/>
                  <a:gd name="T22" fmla="*/ 10 w 139"/>
                  <a:gd name="T23" fmla="*/ 66 h 140"/>
                  <a:gd name="T24" fmla="*/ 6 w 139"/>
                  <a:gd name="T25" fmla="*/ 63 h 140"/>
                  <a:gd name="T26" fmla="*/ 0 w 139"/>
                  <a:gd name="T27" fmla="*/ 46 h 140"/>
                  <a:gd name="T28" fmla="*/ 20 w 139"/>
                  <a:gd name="T29" fmla="*/ 48 h 140"/>
                  <a:gd name="T30" fmla="*/ 26 w 139"/>
                  <a:gd name="T31" fmla="*/ 51 h 140"/>
                  <a:gd name="T32" fmla="*/ 32 w 139"/>
                  <a:gd name="T33" fmla="*/ 50 h 140"/>
                  <a:gd name="T34" fmla="*/ 43 w 139"/>
                  <a:gd name="T35" fmla="*/ 37 h 140"/>
                  <a:gd name="T36" fmla="*/ 59 w 139"/>
                  <a:gd name="T37" fmla="*/ 20 h 140"/>
                  <a:gd name="T38" fmla="*/ 66 w 139"/>
                  <a:gd name="T39" fmla="*/ 18 h 140"/>
                  <a:gd name="T40" fmla="*/ 68 w 139"/>
                  <a:gd name="T41" fmla="*/ 11 h 140"/>
                  <a:gd name="T42" fmla="*/ 79 w 139"/>
                  <a:gd name="T43" fmla="*/ 3 h 140"/>
                  <a:gd name="T44" fmla="*/ 93 w 139"/>
                  <a:gd name="T45" fmla="*/ 0 h 140"/>
                  <a:gd name="T46" fmla="*/ 94 w 139"/>
                  <a:gd name="T47" fmla="*/ 7 h 140"/>
                  <a:gd name="T48" fmla="*/ 109 w 139"/>
                  <a:gd name="T49" fmla="*/ 7 h 140"/>
                  <a:gd name="T50" fmla="*/ 117 w 139"/>
                  <a:gd name="T51" fmla="*/ 11 h 140"/>
                  <a:gd name="T52" fmla="*/ 121 w 139"/>
                  <a:gd name="T53" fmla="*/ 16 h 140"/>
                  <a:gd name="T54" fmla="*/ 130 w 139"/>
                  <a:gd name="T55" fmla="*/ 18 h 140"/>
                  <a:gd name="T56" fmla="*/ 139 w 139"/>
                  <a:gd name="T57" fmla="*/ 25 h 140"/>
                  <a:gd name="T58" fmla="*/ 138 w 139"/>
                  <a:gd name="T59" fmla="*/ 51 h 140"/>
                  <a:gd name="T60" fmla="*/ 133 w 139"/>
                  <a:gd name="T61" fmla="*/ 65 h 140"/>
                  <a:gd name="T62" fmla="*/ 132 w 139"/>
                  <a:gd name="T63" fmla="*/ 81 h 140"/>
                  <a:gd name="T64" fmla="*/ 134 w 139"/>
                  <a:gd name="T65" fmla="*/ 87 h 140"/>
                  <a:gd name="T66" fmla="*/ 131 w 139"/>
                  <a:gd name="T67" fmla="*/ 99 h 140"/>
                  <a:gd name="T68" fmla="*/ 129 w 139"/>
                  <a:gd name="T69" fmla="*/ 101 h 140"/>
                  <a:gd name="T70" fmla="*/ 123 w 139"/>
                  <a:gd name="T71" fmla="*/ 116 h 140"/>
                  <a:gd name="T72" fmla="*/ 103 w 139"/>
                  <a:gd name="T73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9" h="140">
                    <a:moveTo>
                      <a:pt x="103" y="140"/>
                    </a:moveTo>
                    <a:lnTo>
                      <a:pt x="93" y="138"/>
                    </a:lnTo>
                    <a:lnTo>
                      <a:pt x="87" y="140"/>
                    </a:lnTo>
                    <a:lnTo>
                      <a:pt x="79" y="137"/>
                    </a:lnTo>
                    <a:lnTo>
                      <a:pt x="71" y="136"/>
                    </a:lnTo>
                    <a:lnTo>
                      <a:pt x="60" y="127"/>
                    </a:lnTo>
                    <a:lnTo>
                      <a:pt x="47" y="124"/>
                    </a:lnTo>
                    <a:lnTo>
                      <a:pt x="42" y="111"/>
                    </a:lnTo>
                    <a:lnTo>
                      <a:pt x="42" y="103"/>
                    </a:lnTo>
                    <a:lnTo>
                      <a:pt x="35" y="101"/>
                    </a:lnTo>
                    <a:lnTo>
                      <a:pt x="15" y="78"/>
                    </a:lnTo>
                    <a:lnTo>
                      <a:pt x="10" y="66"/>
                    </a:lnTo>
                    <a:lnTo>
                      <a:pt x="6" y="63"/>
                    </a:lnTo>
                    <a:lnTo>
                      <a:pt x="0" y="46"/>
                    </a:lnTo>
                    <a:lnTo>
                      <a:pt x="20" y="48"/>
                    </a:lnTo>
                    <a:lnTo>
                      <a:pt x="26" y="51"/>
                    </a:lnTo>
                    <a:lnTo>
                      <a:pt x="32" y="50"/>
                    </a:lnTo>
                    <a:lnTo>
                      <a:pt x="43" y="37"/>
                    </a:lnTo>
                    <a:lnTo>
                      <a:pt x="59" y="20"/>
                    </a:lnTo>
                    <a:lnTo>
                      <a:pt x="66" y="18"/>
                    </a:lnTo>
                    <a:lnTo>
                      <a:pt x="68" y="11"/>
                    </a:lnTo>
                    <a:lnTo>
                      <a:pt x="79" y="3"/>
                    </a:lnTo>
                    <a:lnTo>
                      <a:pt x="93" y="0"/>
                    </a:lnTo>
                    <a:lnTo>
                      <a:pt x="94" y="7"/>
                    </a:lnTo>
                    <a:lnTo>
                      <a:pt x="109" y="7"/>
                    </a:lnTo>
                    <a:lnTo>
                      <a:pt x="117" y="11"/>
                    </a:lnTo>
                    <a:lnTo>
                      <a:pt x="121" y="16"/>
                    </a:lnTo>
                    <a:lnTo>
                      <a:pt x="130" y="18"/>
                    </a:lnTo>
                    <a:lnTo>
                      <a:pt x="139" y="25"/>
                    </a:lnTo>
                    <a:lnTo>
                      <a:pt x="138" y="51"/>
                    </a:lnTo>
                    <a:lnTo>
                      <a:pt x="133" y="65"/>
                    </a:lnTo>
                    <a:lnTo>
                      <a:pt x="132" y="81"/>
                    </a:lnTo>
                    <a:lnTo>
                      <a:pt x="134" y="87"/>
                    </a:lnTo>
                    <a:lnTo>
                      <a:pt x="131" y="99"/>
                    </a:lnTo>
                    <a:lnTo>
                      <a:pt x="129" y="101"/>
                    </a:lnTo>
                    <a:lnTo>
                      <a:pt x="123" y="116"/>
                    </a:lnTo>
                    <a:lnTo>
                      <a:pt x="103" y="140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30" name="Freeform 221"/>
              <p:cNvSpPr>
                <a:spLocks/>
              </p:cNvSpPr>
              <p:nvPr/>
            </p:nvSpPr>
            <p:spPr bwMode="auto">
              <a:xfrm>
                <a:off x="4786313" y="1465262"/>
                <a:ext cx="3484563" cy="1089025"/>
              </a:xfrm>
              <a:custGeom>
                <a:avLst/>
                <a:gdLst>
                  <a:gd name="T0" fmla="*/ 751 w 2195"/>
                  <a:gd name="T1" fmla="*/ 25 h 686"/>
                  <a:gd name="T2" fmla="*/ 649 w 2195"/>
                  <a:gd name="T3" fmla="*/ 59 h 686"/>
                  <a:gd name="T4" fmla="*/ 594 w 2195"/>
                  <a:gd name="T5" fmla="*/ 101 h 686"/>
                  <a:gd name="T6" fmla="*/ 603 w 2195"/>
                  <a:gd name="T7" fmla="*/ 140 h 686"/>
                  <a:gd name="T8" fmla="*/ 600 w 2195"/>
                  <a:gd name="T9" fmla="*/ 189 h 686"/>
                  <a:gd name="T10" fmla="*/ 541 w 2195"/>
                  <a:gd name="T11" fmla="*/ 77 h 686"/>
                  <a:gd name="T12" fmla="*/ 524 w 2195"/>
                  <a:gd name="T13" fmla="*/ 135 h 686"/>
                  <a:gd name="T14" fmla="*/ 434 w 2195"/>
                  <a:gd name="T15" fmla="*/ 142 h 686"/>
                  <a:gd name="T16" fmla="*/ 337 w 2195"/>
                  <a:gd name="T17" fmla="*/ 143 h 686"/>
                  <a:gd name="T18" fmla="*/ 241 w 2195"/>
                  <a:gd name="T19" fmla="*/ 154 h 686"/>
                  <a:gd name="T20" fmla="*/ 172 w 2195"/>
                  <a:gd name="T21" fmla="*/ 204 h 686"/>
                  <a:gd name="T22" fmla="*/ 111 w 2195"/>
                  <a:gd name="T23" fmla="*/ 223 h 686"/>
                  <a:gd name="T24" fmla="*/ 177 w 2195"/>
                  <a:gd name="T25" fmla="*/ 168 h 686"/>
                  <a:gd name="T26" fmla="*/ 1 w 2195"/>
                  <a:gd name="T27" fmla="*/ 152 h 686"/>
                  <a:gd name="T28" fmla="*/ 67 w 2195"/>
                  <a:gd name="T29" fmla="*/ 262 h 686"/>
                  <a:gd name="T30" fmla="*/ 30 w 2195"/>
                  <a:gd name="T31" fmla="*/ 356 h 686"/>
                  <a:gd name="T32" fmla="*/ 95 w 2195"/>
                  <a:gd name="T33" fmla="*/ 403 h 686"/>
                  <a:gd name="T34" fmla="*/ 111 w 2195"/>
                  <a:gd name="T35" fmla="*/ 441 h 686"/>
                  <a:gd name="T36" fmla="*/ 161 w 2195"/>
                  <a:gd name="T37" fmla="*/ 469 h 686"/>
                  <a:gd name="T38" fmla="*/ 227 w 2195"/>
                  <a:gd name="T39" fmla="*/ 507 h 686"/>
                  <a:gd name="T40" fmla="*/ 240 w 2195"/>
                  <a:gd name="T41" fmla="*/ 555 h 686"/>
                  <a:gd name="T42" fmla="*/ 239 w 2195"/>
                  <a:gd name="T43" fmla="*/ 614 h 686"/>
                  <a:gd name="T44" fmla="*/ 363 w 2195"/>
                  <a:gd name="T45" fmla="*/ 654 h 686"/>
                  <a:gd name="T46" fmla="*/ 434 w 2195"/>
                  <a:gd name="T47" fmla="*/ 672 h 686"/>
                  <a:gd name="T48" fmla="*/ 412 w 2195"/>
                  <a:gd name="T49" fmla="*/ 564 h 686"/>
                  <a:gd name="T50" fmla="*/ 394 w 2195"/>
                  <a:gd name="T51" fmla="*/ 493 h 686"/>
                  <a:gd name="T52" fmla="*/ 571 w 2195"/>
                  <a:gd name="T53" fmla="*/ 488 h 686"/>
                  <a:gd name="T54" fmla="*/ 571 w 2195"/>
                  <a:gd name="T55" fmla="*/ 425 h 686"/>
                  <a:gd name="T56" fmla="*/ 758 w 2195"/>
                  <a:gd name="T57" fmla="*/ 424 h 686"/>
                  <a:gd name="T58" fmla="*/ 920 w 2195"/>
                  <a:gd name="T59" fmla="*/ 489 h 686"/>
                  <a:gd name="T60" fmla="*/ 1027 w 2195"/>
                  <a:gd name="T61" fmla="*/ 519 h 686"/>
                  <a:gd name="T62" fmla="*/ 1175 w 2195"/>
                  <a:gd name="T63" fmla="*/ 510 h 686"/>
                  <a:gd name="T64" fmla="*/ 1273 w 2195"/>
                  <a:gd name="T65" fmla="*/ 503 h 686"/>
                  <a:gd name="T66" fmla="*/ 1408 w 2195"/>
                  <a:gd name="T67" fmla="*/ 518 h 686"/>
                  <a:gd name="T68" fmla="*/ 1516 w 2195"/>
                  <a:gd name="T69" fmla="*/ 493 h 686"/>
                  <a:gd name="T70" fmla="*/ 1570 w 2195"/>
                  <a:gd name="T71" fmla="*/ 441 h 686"/>
                  <a:gd name="T72" fmla="*/ 1742 w 2195"/>
                  <a:gd name="T73" fmla="*/ 550 h 686"/>
                  <a:gd name="T74" fmla="*/ 1789 w 2195"/>
                  <a:gd name="T75" fmla="*/ 600 h 686"/>
                  <a:gd name="T76" fmla="*/ 1821 w 2195"/>
                  <a:gd name="T77" fmla="*/ 642 h 686"/>
                  <a:gd name="T78" fmla="*/ 1879 w 2195"/>
                  <a:gd name="T79" fmla="*/ 536 h 686"/>
                  <a:gd name="T80" fmla="*/ 1746 w 2195"/>
                  <a:gd name="T81" fmla="*/ 425 h 686"/>
                  <a:gd name="T82" fmla="*/ 1855 w 2195"/>
                  <a:gd name="T83" fmla="*/ 317 h 686"/>
                  <a:gd name="T84" fmla="*/ 1972 w 2195"/>
                  <a:gd name="T85" fmla="*/ 275 h 686"/>
                  <a:gd name="T86" fmla="*/ 1981 w 2195"/>
                  <a:gd name="T87" fmla="*/ 358 h 686"/>
                  <a:gd name="T88" fmla="*/ 2115 w 2195"/>
                  <a:gd name="T89" fmla="*/ 441 h 686"/>
                  <a:gd name="T90" fmla="*/ 2041 w 2195"/>
                  <a:gd name="T91" fmla="*/ 341 h 686"/>
                  <a:gd name="T92" fmla="*/ 2121 w 2195"/>
                  <a:gd name="T93" fmla="*/ 301 h 686"/>
                  <a:gd name="T94" fmla="*/ 2165 w 2195"/>
                  <a:gd name="T95" fmla="*/ 245 h 686"/>
                  <a:gd name="T96" fmla="*/ 2127 w 2195"/>
                  <a:gd name="T97" fmla="*/ 194 h 686"/>
                  <a:gd name="T98" fmla="*/ 2155 w 2195"/>
                  <a:gd name="T99" fmla="*/ 143 h 686"/>
                  <a:gd name="T100" fmla="*/ 2081 w 2195"/>
                  <a:gd name="T101" fmla="*/ 119 h 686"/>
                  <a:gd name="T102" fmla="*/ 1867 w 2195"/>
                  <a:gd name="T103" fmla="*/ 130 h 686"/>
                  <a:gd name="T104" fmla="*/ 1729 w 2195"/>
                  <a:gd name="T105" fmla="*/ 128 h 686"/>
                  <a:gd name="T106" fmla="*/ 1395 w 2195"/>
                  <a:gd name="T107" fmla="*/ 82 h 686"/>
                  <a:gd name="T108" fmla="*/ 1301 w 2195"/>
                  <a:gd name="T109" fmla="*/ 103 h 686"/>
                  <a:gd name="T110" fmla="*/ 1124 w 2195"/>
                  <a:gd name="T111" fmla="*/ 71 h 686"/>
                  <a:gd name="T112" fmla="*/ 983 w 2195"/>
                  <a:gd name="T113" fmla="*/ 54 h 686"/>
                  <a:gd name="T114" fmla="*/ 913 w 2195"/>
                  <a:gd name="T115" fmla="*/ 18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195" h="686">
                    <a:moveTo>
                      <a:pt x="856" y="0"/>
                    </a:moveTo>
                    <a:lnTo>
                      <a:pt x="836" y="6"/>
                    </a:lnTo>
                    <a:lnTo>
                      <a:pt x="832" y="12"/>
                    </a:lnTo>
                    <a:lnTo>
                      <a:pt x="836" y="19"/>
                    </a:lnTo>
                    <a:lnTo>
                      <a:pt x="813" y="18"/>
                    </a:lnTo>
                    <a:lnTo>
                      <a:pt x="795" y="27"/>
                    </a:lnTo>
                    <a:lnTo>
                      <a:pt x="781" y="23"/>
                    </a:lnTo>
                    <a:lnTo>
                      <a:pt x="751" y="25"/>
                    </a:lnTo>
                    <a:lnTo>
                      <a:pt x="752" y="29"/>
                    </a:lnTo>
                    <a:lnTo>
                      <a:pt x="721" y="31"/>
                    </a:lnTo>
                    <a:lnTo>
                      <a:pt x="705" y="39"/>
                    </a:lnTo>
                    <a:lnTo>
                      <a:pt x="692" y="39"/>
                    </a:lnTo>
                    <a:lnTo>
                      <a:pt x="687" y="49"/>
                    </a:lnTo>
                    <a:lnTo>
                      <a:pt x="705" y="58"/>
                    </a:lnTo>
                    <a:lnTo>
                      <a:pt x="680" y="60"/>
                    </a:lnTo>
                    <a:lnTo>
                      <a:pt x="649" y="59"/>
                    </a:lnTo>
                    <a:lnTo>
                      <a:pt x="630" y="62"/>
                    </a:lnTo>
                    <a:lnTo>
                      <a:pt x="646" y="80"/>
                    </a:lnTo>
                    <a:lnTo>
                      <a:pt x="669" y="93"/>
                    </a:lnTo>
                    <a:lnTo>
                      <a:pt x="637" y="84"/>
                    </a:lnTo>
                    <a:lnTo>
                      <a:pt x="611" y="85"/>
                    </a:lnTo>
                    <a:lnTo>
                      <a:pt x="595" y="91"/>
                    </a:lnTo>
                    <a:lnTo>
                      <a:pt x="610" y="104"/>
                    </a:lnTo>
                    <a:lnTo>
                      <a:pt x="594" y="101"/>
                    </a:lnTo>
                    <a:lnTo>
                      <a:pt x="587" y="84"/>
                    </a:lnTo>
                    <a:lnTo>
                      <a:pt x="573" y="75"/>
                    </a:lnTo>
                    <a:lnTo>
                      <a:pt x="567" y="76"/>
                    </a:lnTo>
                    <a:lnTo>
                      <a:pt x="579" y="87"/>
                    </a:lnTo>
                    <a:lnTo>
                      <a:pt x="564" y="99"/>
                    </a:lnTo>
                    <a:lnTo>
                      <a:pt x="591" y="112"/>
                    </a:lnTo>
                    <a:lnTo>
                      <a:pt x="593" y="130"/>
                    </a:lnTo>
                    <a:lnTo>
                      <a:pt x="603" y="140"/>
                    </a:lnTo>
                    <a:lnTo>
                      <a:pt x="618" y="141"/>
                    </a:lnTo>
                    <a:lnTo>
                      <a:pt x="620" y="152"/>
                    </a:lnTo>
                    <a:lnTo>
                      <a:pt x="635" y="162"/>
                    </a:lnTo>
                    <a:lnTo>
                      <a:pt x="629" y="171"/>
                    </a:lnTo>
                    <a:lnTo>
                      <a:pt x="631" y="180"/>
                    </a:lnTo>
                    <a:lnTo>
                      <a:pt x="619" y="185"/>
                    </a:lnTo>
                    <a:lnTo>
                      <a:pt x="617" y="191"/>
                    </a:lnTo>
                    <a:lnTo>
                      <a:pt x="600" y="189"/>
                    </a:lnTo>
                    <a:lnTo>
                      <a:pt x="611" y="163"/>
                    </a:lnTo>
                    <a:lnTo>
                      <a:pt x="608" y="151"/>
                    </a:lnTo>
                    <a:lnTo>
                      <a:pt x="586" y="141"/>
                    </a:lnTo>
                    <a:lnTo>
                      <a:pt x="573" y="117"/>
                    </a:lnTo>
                    <a:lnTo>
                      <a:pt x="560" y="105"/>
                    </a:lnTo>
                    <a:lnTo>
                      <a:pt x="549" y="99"/>
                    </a:lnTo>
                    <a:lnTo>
                      <a:pt x="551" y="86"/>
                    </a:lnTo>
                    <a:lnTo>
                      <a:pt x="541" y="77"/>
                    </a:lnTo>
                    <a:lnTo>
                      <a:pt x="505" y="72"/>
                    </a:lnTo>
                    <a:lnTo>
                      <a:pt x="498" y="75"/>
                    </a:lnTo>
                    <a:lnTo>
                      <a:pt x="500" y="91"/>
                    </a:lnTo>
                    <a:lnTo>
                      <a:pt x="486" y="106"/>
                    </a:lnTo>
                    <a:lnTo>
                      <a:pt x="490" y="111"/>
                    </a:lnTo>
                    <a:lnTo>
                      <a:pt x="506" y="124"/>
                    </a:lnTo>
                    <a:lnTo>
                      <a:pt x="507" y="133"/>
                    </a:lnTo>
                    <a:lnTo>
                      <a:pt x="524" y="135"/>
                    </a:lnTo>
                    <a:lnTo>
                      <a:pt x="526" y="138"/>
                    </a:lnTo>
                    <a:lnTo>
                      <a:pt x="546" y="148"/>
                    </a:lnTo>
                    <a:lnTo>
                      <a:pt x="543" y="157"/>
                    </a:lnTo>
                    <a:lnTo>
                      <a:pt x="482" y="137"/>
                    </a:lnTo>
                    <a:lnTo>
                      <a:pt x="460" y="131"/>
                    </a:lnTo>
                    <a:lnTo>
                      <a:pt x="418" y="126"/>
                    </a:lnTo>
                    <a:lnTo>
                      <a:pt x="414" y="132"/>
                    </a:lnTo>
                    <a:lnTo>
                      <a:pt x="434" y="142"/>
                    </a:lnTo>
                    <a:lnTo>
                      <a:pt x="425" y="153"/>
                    </a:lnTo>
                    <a:lnTo>
                      <a:pt x="404" y="143"/>
                    </a:lnTo>
                    <a:lnTo>
                      <a:pt x="388" y="150"/>
                    </a:lnTo>
                    <a:lnTo>
                      <a:pt x="363" y="151"/>
                    </a:lnTo>
                    <a:lnTo>
                      <a:pt x="357" y="157"/>
                    </a:lnTo>
                    <a:lnTo>
                      <a:pt x="339" y="155"/>
                    </a:lnTo>
                    <a:lnTo>
                      <a:pt x="347" y="144"/>
                    </a:lnTo>
                    <a:lnTo>
                      <a:pt x="337" y="143"/>
                    </a:lnTo>
                    <a:lnTo>
                      <a:pt x="297" y="159"/>
                    </a:lnTo>
                    <a:lnTo>
                      <a:pt x="272" y="167"/>
                    </a:lnTo>
                    <a:lnTo>
                      <a:pt x="274" y="178"/>
                    </a:lnTo>
                    <a:lnTo>
                      <a:pt x="255" y="183"/>
                    </a:lnTo>
                    <a:lnTo>
                      <a:pt x="241" y="176"/>
                    </a:lnTo>
                    <a:lnTo>
                      <a:pt x="237" y="166"/>
                    </a:lnTo>
                    <a:lnTo>
                      <a:pt x="253" y="164"/>
                    </a:lnTo>
                    <a:lnTo>
                      <a:pt x="241" y="154"/>
                    </a:lnTo>
                    <a:lnTo>
                      <a:pt x="202" y="148"/>
                    </a:lnTo>
                    <a:lnTo>
                      <a:pt x="216" y="159"/>
                    </a:lnTo>
                    <a:lnTo>
                      <a:pt x="214" y="170"/>
                    </a:lnTo>
                    <a:lnTo>
                      <a:pt x="229" y="181"/>
                    </a:lnTo>
                    <a:lnTo>
                      <a:pt x="226" y="193"/>
                    </a:lnTo>
                    <a:lnTo>
                      <a:pt x="210" y="187"/>
                    </a:lnTo>
                    <a:lnTo>
                      <a:pt x="197" y="186"/>
                    </a:lnTo>
                    <a:lnTo>
                      <a:pt x="172" y="204"/>
                    </a:lnTo>
                    <a:lnTo>
                      <a:pt x="186" y="217"/>
                    </a:lnTo>
                    <a:lnTo>
                      <a:pt x="175" y="222"/>
                    </a:lnTo>
                    <a:lnTo>
                      <a:pt x="138" y="210"/>
                    </a:lnTo>
                    <a:lnTo>
                      <a:pt x="131" y="217"/>
                    </a:lnTo>
                    <a:lnTo>
                      <a:pt x="142" y="225"/>
                    </a:lnTo>
                    <a:lnTo>
                      <a:pt x="143" y="234"/>
                    </a:lnTo>
                    <a:lnTo>
                      <a:pt x="130" y="229"/>
                    </a:lnTo>
                    <a:lnTo>
                      <a:pt x="111" y="223"/>
                    </a:lnTo>
                    <a:lnTo>
                      <a:pt x="104" y="205"/>
                    </a:lnTo>
                    <a:lnTo>
                      <a:pt x="101" y="196"/>
                    </a:lnTo>
                    <a:lnTo>
                      <a:pt x="74" y="183"/>
                    </a:lnTo>
                    <a:lnTo>
                      <a:pt x="84" y="181"/>
                    </a:lnTo>
                    <a:lnTo>
                      <a:pt x="149" y="194"/>
                    </a:lnTo>
                    <a:lnTo>
                      <a:pt x="170" y="190"/>
                    </a:lnTo>
                    <a:lnTo>
                      <a:pt x="182" y="180"/>
                    </a:lnTo>
                    <a:lnTo>
                      <a:pt x="177" y="168"/>
                    </a:lnTo>
                    <a:lnTo>
                      <a:pt x="163" y="160"/>
                    </a:lnTo>
                    <a:lnTo>
                      <a:pt x="106" y="140"/>
                    </a:lnTo>
                    <a:lnTo>
                      <a:pt x="68" y="135"/>
                    </a:lnTo>
                    <a:lnTo>
                      <a:pt x="43" y="125"/>
                    </a:lnTo>
                    <a:lnTo>
                      <a:pt x="31" y="131"/>
                    </a:lnTo>
                    <a:lnTo>
                      <a:pt x="10" y="138"/>
                    </a:lnTo>
                    <a:lnTo>
                      <a:pt x="0" y="140"/>
                    </a:lnTo>
                    <a:lnTo>
                      <a:pt x="1" y="152"/>
                    </a:lnTo>
                    <a:lnTo>
                      <a:pt x="25" y="164"/>
                    </a:lnTo>
                    <a:lnTo>
                      <a:pt x="16" y="177"/>
                    </a:lnTo>
                    <a:lnTo>
                      <a:pt x="38" y="198"/>
                    </a:lnTo>
                    <a:lnTo>
                      <a:pt x="32" y="213"/>
                    </a:lnTo>
                    <a:lnTo>
                      <a:pt x="48" y="228"/>
                    </a:lnTo>
                    <a:lnTo>
                      <a:pt x="45" y="240"/>
                    </a:lnTo>
                    <a:lnTo>
                      <a:pt x="70" y="253"/>
                    </a:lnTo>
                    <a:lnTo>
                      <a:pt x="67" y="262"/>
                    </a:lnTo>
                    <a:lnTo>
                      <a:pt x="56" y="273"/>
                    </a:lnTo>
                    <a:lnTo>
                      <a:pt x="30" y="297"/>
                    </a:lnTo>
                    <a:lnTo>
                      <a:pt x="47" y="306"/>
                    </a:lnTo>
                    <a:lnTo>
                      <a:pt x="33" y="317"/>
                    </a:lnTo>
                    <a:lnTo>
                      <a:pt x="36" y="321"/>
                    </a:lnTo>
                    <a:lnTo>
                      <a:pt x="28" y="332"/>
                    </a:lnTo>
                    <a:lnTo>
                      <a:pt x="35" y="350"/>
                    </a:lnTo>
                    <a:lnTo>
                      <a:pt x="30" y="356"/>
                    </a:lnTo>
                    <a:lnTo>
                      <a:pt x="38" y="361"/>
                    </a:lnTo>
                    <a:lnTo>
                      <a:pt x="41" y="370"/>
                    </a:lnTo>
                    <a:lnTo>
                      <a:pt x="48" y="382"/>
                    </a:lnTo>
                    <a:lnTo>
                      <a:pt x="65" y="386"/>
                    </a:lnTo>
                    <a:lnTo>
                      <a:pt x="68" y="392"/>
                    </a:lnTo>
                    <a:lnTo>
                      <a:pt x="76" y="389"/>
                    </a:lnTo>
                    <a:lnTo>
                      <a:pt x="92" y="394"/>
                    </a:lnTo>
                    <a:lnTo>
                      <a:pt x="95" y="403"/>
                    </a:lnTo>
                    <a:lnTo>
                      <a:pt x="93" y="408"/>
                    </a:lnTo>
                    <a:lnTo>
                      <a:pt x="105" y="422"/>
                    </a:lnTo>
                    <a:lnTo>
                      <a:pt x="112" y="425"/>
                    </a:lnTo>
                    <a:lnTo>
                      <a:pt x="112" y="429"/>
                    </a:lnTo>
                    <a:lnTo>
                      <a:pt x="123" y="432"/>
                    </a:lnTo>
                    <a:lnTo>
                      <a:pt x="129" y="438"/>
                    </a:lnTo>
                    <a:lnTo>
                      <a:pt x="123" y="442"/>
                    </a:lnTo>
                    <a:lnTo>
                      <a:pt x="111" y="441"/>
                    </a:lnTo>
                    <a:lnTo>
                      <a:pt x="108" y="443"/>
                    </a:lnTo>
                    <a:lnTo>
                      <a:pt x="113" y="450"/>
                    </a:lnTo>
                    <a:lnTo>
                      <a:pt x="119" y="463"/>
                    </a:lnTo>
                    <a:lnTo>
                      <a:pt x="125" y="463"/>
                    </a:lnTo>
                    <a:lnTo>
                      <a:pt x="128" y="459"/>
                    </a:lnTo>
                    <a:lnTo>
                      <a:pt x="133" y="460"/>
                    </a:lnTo>
                    <a:lnTo>
                      <a:pt x="149" y="458"/>
                    </a:lnTo>
                    <a:lnTo>
                      <a:pt x="161" y="469"/>
                    </a:lnTo>
                    <a:lnTo>
                      <a:pt x="158" y="474"/>
                    </a:lnTo>
                    <a:lnTo>
                      <a:pt x="161" y="480"/>
                    </a:lnTo>
                    <a:lnTo>
                      <a:pt x="174" y="481"/>
                    </a:lnTo>
                    <a:lnTo>
                      <a:pt x="181" y="489"/>
                    </a:lnTo>
                    <a:lnTo>
                      <a:pt x="182" y="493"/>
                    </a:lnTo>
                    <a:lnTo>
                      <a:pt x="203" y="500"/>
                    </a:lnTo>
                    <a:lnTo>
                      <a:pt x="215" y="497"/>
                    </a:lnTo>
                    <a:lnTo>
                      <a:pt x="227" y="507"/>
                    </a:lnTo>
                    <a:lnTo>
                      <a:pt x="236" y="507"/>
                    </a:lnTo>
                    <a:lnTo>
                      <a:pt x="261" y="513"/>
                    </a:lnTo>
                    <a:lnTo>
                      <a:pt x="262" y="519"/>
                    </a:lnTo>
                    <a:lnTo>
                      <a:pt x="258" y="530"/>
                    </a:lnTo>
                    <a:lnTo>
                      <a:pt x="264" y="541"/>
                    </a:lnTo>
                    <a:lnTo>
                      <a:pt x="263" y="547"/>
                    </a:lnTo>
                    <a:lnTo>
                      <a:pt x="248" y="549"/>
                    </a:lnTo>
                    <a:lnTo>
                      <a:pt x="240" y="555"/>
                    </a:lnTo>
                    <a:lnTo>
                      <a:pt x="241" y="564"/>
                    </a:lnTo>
                    <a:lnTo>
                      <a:pt x="255" y="560"/>
                    </a:lnTo>
                    <a:lnTo>
                      <a:pt x="257" y="565"/>
                    </a:lnTo>
                    <a:lnTo>
                      <a:pt x="234" y="573"/>
                    </a:lnTo>
                    <a:lnTo>
                      <a:pt x="245" y="581"/>
                    </a:lnTo>
                    <a:lnTo>
                      <a:pt x="234" y="598"/>
                    </a:lnTo>
                    <a:lnTo>
                      <a:pt x="223" y="602"/>
                    </a:lnTo>
                    <a:lnTo>
                      <a:pt x="239" y="614"/>
                    </a:lnTo>
                    <a:lnTo>
                      <a:pt x="259" y="621"/>
                    </a:lnTo>
                    <a:lnTo>
                      <a:pt x="284" y="639"/>
                    </a:lnTo>
                    <a:lnTo>
                      <a:pt x="285" y="636"/>
                    </a:lnTo>
                    <a:lnTo>
                      <a:pt x="300" y="640"/>
                    </a:lnTo>
                    <a:lnTo>
                      <a:pt x="325" y="643"/>
                    </a:lnTo>
                    <a:lnTo>
                      <a:pt x="350" y="653"/>
                    </a:lnTo>
                    <a:lnTo>
                      <a:pt x="353" y="657"/>
                    </a:lnTo>
                    <a:lnTo>
                      <a:pt x="363" y="654"/>
                    </a:lnTo>
                    <a:lnTo>
                      <a:pt x="379" y="658"/>
                    </a:lnTo>
                    <a:lnTo>
                      <a:pt x="386" y="666"/>
                    </a:lnTo>
                    <a:lnTo>
                      <a:pt x="398" y="671"/>
                    </a:lnTo>
                    <a:lnTo>
                      <a:pt x="402" y="672"/>
                    </a:lnTo>
                    <a:lnTo>
                      <a:pt x="416" y="684"/>
                    </a:lnTo>
                    <a:lnTo>
                      <a:pt x="424" y="686"/>
                    </a:lnTo>
                    <a:lnTo>
                      <a:pt x="426" y="680"/>
                    </a:lnTo>
                    <a:lnTo>
                      <a:pt x="434" y="672"/>
                    </a:lnTo>
                    <a:lnTo>
                      <a:pt x="411" y="648"/>
                    </a:lnTo>
                    <a:lnTo>
                      <a:pt x="410" y="634"/>
                    </a:lnTo>
                    <a:lnTo>
                      <a:pt x="391" y="615"/>
                    </a:lnTo>
                    <a:lnTo>
                      <a:pt x="402" y="594"/>
                    </a:lnTo>
                    <a:lnTo>
                      <a:pt x="417" y="590"/>
                    </a:lnTo>
                    <a:lnTo>
                      <a:pt x="422" y="578"/>
                    </a:lnTo>
                    <a:lnTo>
                      <a:pt x="413" y="575"/>
                    </a:lnTo>
                    <a:lnTo>
                      <a:pt x="412" y="564"/>
                    </a:lnTo>
                    <a:lnTo>
                      <a:pt x="398" y="551"/>
                    </a:lnTo>
                    <a:lnTo>
                      <a:pt x="386" y="551"/>
                    </a:lnTo>
                    <a:lnTo>
                      <a:pt x="369" y="537"/>
                    </a:lnTo>
                    <a:lnTo>
                      <a:pt x="375" y="522"/>
                    </a:lnTo>
                    <a:lnTo>
                      <a:pt x="369" y="518"/>
                    </a:lnTo>
                    <a:lnTo>
                      <a:pt x="376" y="496"/>
                    </a:lnTo>
                    <a:lnTo>
                      <a:pt x="396" y="507"/>
                    </a:lnTo>
                    <a:lnTo>
                      <a:pt x="394" y="493"/>
                    </a:lnTo>
                    <a:lnTo>
                      <a:pt x="420" y="471"/>
                    </a:lnTo>
                    <a:lnTo>
                      <a:pt x="445" y="470"/>
                    </a:lnTo>
                    <a:lnTo>
                      <a:pt x="484" y="484"/>
                    </a:lnTo>
                    <a:lnTo>
                      <a:pt x="505" y="492"/>
                    </a:lnTo>
                    <a:lnTo>
                      <a:pt x="519" y="484"/>
                    </a:lnTo>
                    <a:lnTo>
                      <a:pt x="544" y="484"/>
                    </a:lnTo>
                    <a:lnTo>
                      <a:pt x="568" y="494"/>
                    </a:lnTo>
                    <a:lnTo>
                      <a:pt x="571" y="488"/>
                    </a:lnTo>
                    <a:lnTo>
                      <a:pt x="593" y="489"/>
                    </a:lnTo>
                    <a:lnTo>
                      <a:pt x="594" y="479"/>
                    </a:lnTo>
                    <a:lnTo>
                      <a:pt x="563" y="466"/>
                    </a:lnTo>
                    <a:lnTo>
                      <a:pt x="575" y="456"/>
                    </a:lnTo>
                    <a:lnTo>
                      <a:pt x="570" y="450"/>
                    </a:lnTo>
                    <a:lnTo>
                      <a:pt x="583" y="445"/>
                    </a:lnTo>
                    <a:lnTo>
                      <a:pt x="567" y="431"/>
                    </a:lnTo>
                    <a:lnTo>
                      <a:pt x="571" y="425"/>
                    </a:lnTo>
                    <a:lnTo>
                      <a:pt x="626" y="417"/>
                    </a:lnTo>
                    <a:lnTo>
                      <a:pt x="632" y="413"/>
                    </a:lnTo>
                    <a:lnTo>
                      <a:pt x="667" y="406"/>
                    </a:lnTo>
                    <a:lnTo>
                      <a:pt x="677" y="397"/>
                    </a:lnTo>
                    <a:lnTo>
                      <a:pt x="707" y="401"/>
                    </a:lnTo>
                    <a:lnTo>
                      <a:pt x="721" y="422"/>
                    </a:lnTo>
                    <a:lnTo>
                      <a:pt x="735" y="417"/>
                    </a:lnTo>
                    <a:lnTo>
                      <a:pt x="758" y="424"/>
                    </a:lnTo>
                    <a:lnTo>
                      <a:pt x="762" y="435"/>
                    </a:lnTo>
                    <a:lnTo>
                      <a:pt x="776" y="434"/>
                    </a:lnTo>
                    <a:lnTo>
                      <a:pt x="806" y="415"/>
                    </a:lnTo>
                    <a:lnTo>
                      <a:pt x="803" y="421"/>
                    </a:lnTo>
                    <a:lnTo>
                      <a:pt x="831" y="436"/>
                    </a:lnTo>
                    <a:lnTo>
                      <a:pt x="889" y="487"/>
                    </a:lnTo>
                    <a:lnTo>
                      <a:pt x="893" y="477"/>
                    </a:lnTo>
                    <a:lnTo>
                      <a:pt x="920" y="489"/>
                    </a:lnTo>
                    <a:lnTo>
                      <a:pt x="940" y="483"/>
                    </a:lnTo>
                    <a:lnTo>
                      <a:pt x="951" y="487"/>
                    </a:lnTo>
                    <a:lnTo>
                      <a:pt x="964" y="499"/>
                    </a:lnTo>
                    <a:lnTo>
                      <a:pt x="977" y="503"/>
                    </a:lnTo>
                    <a:lnTo>
                      <a:pt x="988" y="511"/>
                    </a:lnTo>
                    <a:lnTo>
                      <a:pt x="1007" y="509"/>
                    </a:lnTo>
                    <a:lnTo>
                      <a:pt x="1022" y="521"/>
                    </a:lnTo>
                    <a:lnTo>
                      <a:pt x="1027" y="519"/>
                    </a:lnTo>
                    <a:lnTo>
                      <a:pt x="1042" y="516"/>
                    </a:lnTo>
                    <a:lnTo>
                      <a:pt x="1064" y="498"/>
                    </a:lnTo>
                    <a:lnTo>
                      <a:pt x="1084" y="489"/>
                    </a:lnTo>
                    <a:lnTo>
                      <a:pt x="1101" y="495"/>
                    </a:lnTo>
                    <a:lnTo>
                      <a:pt x="1117" y="495"/>
                    </a:lnTo>
                    <a:lnTo>
                      <a:pt x="1133" y="505"/>
                    </a:lnTo>
                    <a:lnTo>
                      <a:pt x="1149" y="505"/>
                    </a:lnTo>
                    <a:lnTo>
                      <a:pt x="1175" y="510"/>
                    </a:lnTo>
                    <a:lnTo>
                      <a:pt x="1183" y="497"/>
                    </a:lnTo>
                    <a:lnTo>
                      <a:pt x="1170" y="485"/>
                    </a:lnTo>
                    <a:lnTo>
                      <a:pt x="1175" y="464"/>
                    </a:lnTo>
                    <a:lnTo>
                      <a:pt x="1197" y="472"/>
                    </a:lnTo>
                    <a:lnTo>
                      <a:pt x="1213" y="474"/>
                    </a:lnTo>
                    <a:lnTo>
                      <a:pt x="1234" y="479"/>
                    </a:lnTo>
                    <a:lnTo>
                      <a:pt x="1246" y="495"/>
                    </a:lnTo>
                    <a:lnTo>
                      <a:pt x="1273" y="503"/>
                    </a:lnTo>
                    <a:lnTo>
                      <a:pt x="1286" y="499"/>
                    </a:lnTo>
                    <a:lnTo>
                      <a:pt x="1305" y="497"/>
                    </a:lnTo>
                    <a:lnTo>
                      <a:pt x="1323" y="500"/>
                    </a:lnTo>
                    <a:lnTo>
                      <a:pt x="1344" y="509"/>
                    </a:lnTo>
                    <a:lnTo>
                      <a:pt x="1360" y="520"/>
                    </a:lnTo>
                    <a:lnTo>
                      <a:pt x="1374" y="519"/>
                    </a:lnTo>
                    <a:lnTo>
                      <a:pt x="1397" y="523"/>
                    </a:lnTo>
                    <a:lnTo>
                      <a:pt x="1408" y="518"/>
                    </a:lnTo>
                    <a:lnTo>
                      <a:pt x="1427" y="514"/>
                    </a:lnTo>
                    <a:lnTo>
                      <a:pt x="1442" y="500"/>
                    </a:lnTo>
                    <a:lnTo>
                      <a:pt x="1453" y="502"/>
                    </a:lnTo>
                    <a:lnTo>
                      <a:pt x="1465" y="509"/>
                    </a:lnTo>
                    <a:lnTo>
                      <a:pt x="1483" y="507"/>
                    </a:lnTo>
                    <a:lnTo>
                      <a:pt x="1508" y="515"/>
                    </a:lnTo>
                    <a:lnTo>
                      <a:pt x="1522" y="502"/>
                    </a:lnTo>
                    <a:lnTo>
                      <a:pt x="1516" y="493"/>
                    </a:lnTo>
                    <a:lnTo>
                      <a:pt x="1516" y="472"/>
                    </a:lnTo>
                    <a:lnTo>
                      <a:pt x="1520" y="465"/>
                    </a:lnTo>
                    <a:lnTo>
                      <a:pt x="1512" y="454"/>
                    </a:lnTo>
                    <a:lnTo>
                      <a:pt x="1500" y="450"/>
                    </a:lnTo>
                    <a:lnTo>
                      <a:pt x="1505" y="440"/>
                    </a:lnTo>
                    <a:lnTo>
                      <a:pt x="1522" y="436"/>
                    </a:lnTo>
                    <a:lnTo>
                      <a:pt x="1542" y="436"/>
                    </a:lnTo>
                    <a:lnTo>
                      <a:pt x="1570" y="441"/>
                    </a:lnTo>
                    <a:lnTo>
                      <a:pt x="1589" y="449"/>
                    </a:lnTo>
                    <a:lnTo>
                      <a:pt x="1614" y="469"/>
                    </a:lnTo>
                    <a:lnTo>
                      <a:pt x="1627" y="478"/>
                    </a:lnTo>
                    <a:lnTo>
                      <a:pt x="1641" y="490"/>
                    </a:lnTo>
                    <a:lnTo>
                      <a:pt x="1661" y="510"/>
                    </a:lnTo>
                    <a:lnTo>
                      <a:pt x="1693" y="516"/>
                    </a:lnTo>
                    <a:lnTo>
                      <a:pt x="1722" y="531"/>
                    </a:lnTo>
                    <a:lnTo>
                      <a:pt x="1742" y="550"/>
                    </a:lnTo>
                    <a:lnTo>
                      <a:pt x="1766" y="550"/>
                    </a:lnTo>
                    <a:lnTo>
                      <a:pt x="1775" y="542"/>
                    </a:lnTo>
                    <a:lnTo>
                      <a:pt x="1797" y="536"/>
                    </a:lnTo>
                    <a:lnTo>
                      <a:pt x="1802" y="554"/>
                    </a:lnTo>
                    <a:lnTo>
                      <a:pt x="1801" y="562"/>
                    </a:lnTo>
                    <a:lnTo>
                      <a:pt x="1810" y="584"/>
                    </a:lnTo>
                    <a:lnTo>
                      <a:pt x="1811" y="604"/>
                    </a:lnTo>
                    <a:lnTo>
                      <a:pt x="1789" y="600"/>
                    </a:lnTo>
                    <a:lnTo>
                      <a:pt x="1779" y="607"/>
                    </a:lnTo>
                    <a:lnTo>
                      <a:pt x="1794" y="625"/>
                    </a:lnTo>
                    <a:lnTo>
                      <a:pt x="1806" y="649"/>
                    </a:lnTo>
                    <a:lnTo>
                      <a:pt x="1798" y="650"/>
                    </a:lnTo>
                    <a:lnTo>
                      <a:pt x="1804" y="660"/>
                    </a:lnTo>
                    <a:lnTo>
                      <a:pt x="1808" y="664"/>
                    </a:lnTo>
                    <a:lnTo>
                      <a:pt x="1807" y="657"/>
                    </a:lnTo>
                    <a:lnTo>
                      <a:pt x="1821" y="642"/>
                    </a:lnTo>
                    <a:lnTo>
                      <a:pt x="1837" y="652"/>
                    </a:lnTo>
                    <a:lnTo>
                      <a:pt x="1848" y="651"/>
                    </a:lnTo>
                    <a:lnTo>
                      <a:pt x="1863" y="639"/>
                    </a:lnTo>
                    <a:lnTo>
                      <a:pt x="1866" y="627"/>
                    </a:lnTo>
                    <a:lnTo>
                      <a:pt x="1873" y="604"/>
                    </a:lnTo>
                    <a:lnTo>
                      <a:pt x="1880" y="580"/>
                    </a:lnTo>
                    <a:lnTo>
                      <a:pt x="1876" y="566"/>
                    </a:lnTo>
                    <a:lnTo>
                      <a:pt x="1879" y="536"/>
                    </a:lnTo>
                    <a:lnTo>
                      <a:pt x="1862" y="504"/>
                    </a:lnTo>
                    <a:lnTo>
                      <a:pt x="1844" y="480"/>
                    </a:lnTo>
                    <a:lnTo>
                      <a:pt x="1840" y="460"/>
                    </a:lnTo>
                    <a:lnTo>
                      <a:pt x="1825" y="443"/>
                    </a:lnTo>
                    <a:lnTo>
                      <a:pt x="1784" y="421"/>
                    </a:lnTo>
                    <a:lnTo>
                      <a:pt x="1766" y="420"/>
                    </a:lnTo>
                    <a:lnTo>
                      <a:pt x="1764" y="430"/>
                    </a:lnTo>
                    <a:lnTo>
                      <a:pt x="1746" y="425"/>
                    </a:lnTo>
                    <a:lnTo>
                      <a:pt x="1728" y="413"/>
                    </a:lnTo>
                    <a:lnTo>
                      <a:pt x="1701" y="410"/>
                    </a:lnTo>
                    <a:lnTo>
                      <a:pt x="1718" y="364"/>
                    </a:lnTo>
                    <a:lnTo>
                      <a:pt x="1729" y="326"/>
                    </a:lnTo>
                    <a:lnTo>
                      <a:pt x="1772" y="320"/>
                    </a:lnTo>
                    <a:lnTo>
                      <a:pt x="1821" y="323"/>
                    </a:lnTo>
                    <a:lnTo>
                      <a:pt x="1829" y="314"/>
                    </a:lnTo>
                    <a:lnTo>
                      <a:pt x="1855" y="317"/>
                    </a:lnTo>
                    <a:lnTo>
                      <a:pt x="1869" y="331"/>
                    </a:lnTo>
                    <a:lnTo>
                      <a:pt x="1890" y="329"/>
                    </a:lnTo>
                    <a:lnTo>
                      <a:pt x="1917" y="324"/>
                    </a:lnTo>
                    <a:lnTo>
                      <a:pt x="1892" y="312"/>
                    </a:lnTo>
                    <a:lnTo>
                      <a:pt x="1892" y="280"/>
                    </a:lnTo>
                    <a:lnTo>
                      <a:pt x="1921" y="273"/>
                    </a:lnTo>
                    <a:lnTo>
                      <a:pt x="1961" y="297"/>
                    </a:lnTo>
                    <a:lnTo>
                      <a:pt x="1972" y="275"/>
                    </a:lnTo>
                    <a:lnTo>
                      <a:pt x="1961" y="260"/>
                    </a:lnTo>
                    <a:lnTo>
                      <a:pt x="1977" y="258"/>
                    </a:lnTo>
                    <a:lnTo>
                      <a:pt x="1999" y="285"/>
                    </a:lnTo>
                    <a:lnTo>
                      <a:pt x="1992" y="301"/>
                    </a:lnTo>
                    <a:lnTo>
                      <a:pt x="1989" y="320"/>
                    </a:lnTo>
                    <a:lnTo>
                      <a:pt x="1990" y="345"/>
                    </a:lnTo>
                    <a:lnTo>
                      <a:pt x="1972" y="349"/>
                    </a:lnTo>
                    <a:lnTo>
                      <a:pt x="1981" y="358"/>
                    </a:lnTo>
                    <a:lnTo>
                      <a:pt x="1980" y="370"/>
                    </a:lnTo>
                    <a:lnTo>
                      <a:pt x="2001" y="397"/>
                    </a:lnTo>
                    <a:lnTo>
                      <a:pt x="2053" y="441"/>
                    </a:lnTo>
                    <a:lnTo>
                      <a:pt x="2086" y="471"/>
                    </a:lnTo>
                    <a:lnTo>
                      <a:pt x="2105" y="485"/>
                    </a:lnTo>
                    <a:lnTo>
                      <a:pt x="2110" y="466"/>
                    </a:lnTo>
                    <a:lnTo>
                      <a:pt x="2096" y="446"/>
                    </a:lnTo>
                    <a:lnTo>
                      <a:pt x="2115" y="441"/>
                    </a:lnTo>
                    <a:lnTo>
                      <a:pt x="2098" y="418"/>
                    </a:lnTo>
                    <a:lnTo>
                      <a:pt x="2114" y="408"/>
                    </a:lnTo>
                    <a:lnTo>
                      <a:pt x="2099" y="399"/>
                    </a:lnTo>
                    <a:lnTo>
                      <a:pt x="2088" y="383"/>
                    </a:lnTo>
                    <a:lnTo>
                      <a:pt x="2102" y="382"/>
                    </a:lnTo>
                    <a:lnTo>
                      <a:pt x="2072" y="354"/>
                    </a:lnTo>
                    <a:lnTo>
                      <a:pt x="2050" y="349"/>
                    </a:lnTo>
                    <a:lnTo>
                      <a:pt x="2041" y="341"/>
                    </a:lnTo>
                    <a:lnTo>
                      <a:pt x="2037" y="322"/>
                    </a:lnTo>
                    <a:lnTo>
                      <a:pt x="2027" y="310"/>
                    </a:lnTo>
                    <a:lnTo>
                      <a:pt x="2050" y="312"/>
                    </a:lnTo>
                    <a:lnTo>
                      <a:pt x="2054" y="304"/>
                    </a:lnTo>
                    <a:lnTo>
                      <a:pt x="2069" y="311"/>
                    </a:lnTo>
                    <a:lnTo>
                      <a:pt x="2089" y="296"/>
                    </a:lnTo>
                    <a:lnTo>
                      <a:pt x="2127" y="309"/>
                    </a:lnTo>
                    <a:lnTo>
                      <a:pt x="2121" y="301"/>
                    </a:lnTo>
                    <a:lnTo>
                      <a:pt x="2127" y="289"/>
                    </a:lnTo>
                    <a:lnTo>
                      <a:pt x="2132" y="275"/>
                    </a:lnTo>
                    <a:lnTo>
                      <a:pt x="2142" y="273"/>
                    </a:lnTo>
                    <a:lnTo>
                      <a:pt x="2162" y="259"/>
                    </a:lnTo>
                    <a:lnTo>
                      <a:pt x="2195" y="263"/>
                    </a:lnTo>
                    <a:lnTo>
                      <a:pt x="2192" y="258"/>
                    </a:lnTo>
                    <a:lnTo>
                      <a:pt x="2179" y="250"/>
                    </a:lnTo>
                    <a:lnTo>
                      <a:pt x="2165" y="245"/>
                    </a:lnTo>
                    <a:lnTo>
                      <a:pt x="2135" y="230"/>
                    </a:lnTo>
                    <a:lnTo>
                      <a:pt x="2107" y="220"/>
                    </a:lnTo>
                    <a:lnTo>
                      <a:pt x="2128" y="221"/>
                    </a:lnTo>
                    <a:lnTo>
                      <a:pt x="2134" y="213"/>
                    </a:lnTo>
                    <a:lnTo>
                      <a:pt x="2128" y="210"/>
                    </a:lnTo>
                    <a:lnTo>
                      <a:pt x="2117" y="188"/>
                    </a:lnTo>
                    <a:lnTo>
                      <a:pt x="2124" y="183"/>
                    </a:lnTo>
                    <a:lnTo>
                      <a:pt x="2127" y="194"/>
                    </a:lnTo>
                    <a:lnTo>
                      <a:pt x="2139" y="195"/>
                    </a:lnTo>
                    <a:lnTo>
                      <a:pt x="2136" y="183"/>
                    </a:lnTo>
                    <a:lnTo>
                      <a:pt x="2149" y="185"/>
                    </a:lnTo>
                    <a:lnTo>
                      <a:pt x="2158" y="186"/>
                    </a:lnTo>
                    <a:lnTo>
                      <a:pt x="2154" y="172"/>
                    </a:lnTo>
                    <a:lnTo>
                      <a:pt x="2163" y="168"/>
                    </a:lnTo>
                    <a:lnTo>
                      <a:pt x="2150" y="158"/>
                    </a:lnTo>
                    <a:lnTo>
                      <a:pt x="2155" y="143"/>
                    </a:lnTo>
                    <a:lnTo>
                      <a:pt x="2167" y="151"/>
                    </a:lnTo>
                    <a:lnTo>
                      <a:pt x="2166" y="129"/>
                    </a:lnTo>
                    <a:lnTo>
                      <a:pt x="2163" y="113"/>
                    </a:lnTo>
                    <a:lnTo>
                      <a:pt x="2134" y="115"/>
                    </a:lnTo>
                    <a:lnTo>
                      <a:pt x="2116" y="123"/>
                    </a:lnTo>
                    <a:lnTo>
                      <a:pt x="2102" y="129"/>
                    </a:lnTo>
                    <a:lnTo>
                      <a:pt x="2098" y="133"/>
                    </a:lnTo>
                    <a:lnTo>
                      <a:pt x="2081" y="119"/>
                    </a:lnTo>
                    <a:lnTo>
                      <a:pt x="2021" y="141"/>
                    </a:lnTo>
                    <a:lnTo>
                      <a:pt x="2020" y="142"/>
                    </a:lnTo>
                    <a:lnTo>
                      <a:pt x="2020" y="142"/>
                    </a:lnTo>
                    <a:lnTo>
                      <a:pt x="1988" y="134"/>
                    </a:lnTo>
                    <a:lnTo>
                      <a:pt x="1936" y="126"/>
                    </a:lnTo>
                    <a:lnTo>
                      <a:pt x="1911" y="126"/>
                    </a:lnTo>
                    <a:lnTo>
                      <a:pt x="1861" y="122"/>
                    </a:lnTo>
                    <a:lnTo>
                      <a:pt x="1867" y="130"/>
                    </a:lnTo>
                    <a:lnTo>
                      <a:pt x="1896" y="141"/>
                    </a:lnTo>
                    <a:lnTo>
                      <a:pt x="1888" y="146"/>
                    </a:lnTo>
                    <a:lnTo>
                      <a:pt x="1841" y="131"/>
                    </a:lnTo>
                    <a:lnTo>
                      <a:pt x="1818" y="132"/>
                    </a:lnTo>
                    <a:lnTo>
                      <a:pt x="1788" y="129"/>
                    </a:lnTo>
                    <a:lnTo>
                      <a:pt x="1765" y="130"/>
                    </a:lnTo>
                    <a:lnTo>
                      <a:pt x="1753" y="133"/>
                    </a:lnTo>
                    <a:lnTo>
                      <a:pt x="1729" y="128"/>
                    </a:lnTo>
                    <a:lnTo>
                      <a:pt x="1711" y="115"/>
                    </a:lnTo>
                    <a:lnTo>
                      <a:pt x="1690" y="109"/>
                    </a:lnTo>
                    <a:lnTo>
                      <a:pt x="1660" y="106"/>
                    </a:lnTo>
                    <a:lnTo>
                      <a:pt x="1612" y="109"/>
                    </a:lnTo>
                    <a:lnTo>
                      <a:pt x="1559" y="96"/>
                    </a:lnTo>
                    <a:lnTo>
                      <a:pt x="1533" y="86"/>
                    </a:lnTo>
                    <a:lnTo>
                      <a:pt x="1402" y="75"/>
                    </a:lnTo>
                    <a:lnTo>
                      <a:pt x="1395" y="82"/>
                    </a:lnTo>
                    <a:lnTo>
                      <a:pt x="1426" y="98"/>
                    </a:lnTo>
                    <a:lnTo>
                      <a:pt x="1402" y="96"/>
                    </a:lnTo>
                    <a:lnTo>
                      <a:pt x="1399" y="101"/>
                    </a:lnTo>
                    <a:lnTo>
                      <a:pt x="1367" y="95"/>
                    </a:lnTo>
                    <a:lnTo>
                      <a:pt x="1351" y="100"/>
                    </a:lnTo>
                    <a:lnTo>
                      <a:pt x="1320" y="92"/>
                    </a:lnTo>
                    <a:lnTo>
                      <a:pt x="1331" y="110"/>
                    </a:lnTo>
                    <a:lnTo>
                      <a:pt x="1301" y="103"/>
                    </a:lnTo>
                    <a:lnTo>
                      <a:pt x="1268" y="90"/>
                    </a:lnTo>
                    <a:lnTo>
                      <a:pt x="1267" y="83"/>
                    </a:lnTo>
                    <a:lnTo>
                      <a:pt x="1247" y="72"/>
                    </a:lnTo>
                    <a:lnTo>
                      <a:pt x="1215" y="64"/>
                    </a:lnTo>
                    <a:lnTo>
                      <a:pt x="1195" y="64"/>
                    </a:lnTo>
                    <a:lnTo>
                      <a:pt x="1165" y="61"/>
                    </a:lnTo>
                    <a:lnTo>
                      <a:pt x="1180" y="73"/>
                    </a:lnTo>
                    <a:lnTo>
                      <a:pt x="1124" y="71"/>
                    </a:lnTo>
                    <a:lnTo>
                      <a:pt x="1111" y="63"/>
                    </a:lnTo>
                    <a:lnTo>
                      <a:pt x="1068" y="61"/>
                    </a:lnTo>
                    <a:lnTo>
                      <a:pt x="1051" y="63"/>
                    </a:lnTo>
                    <a:lnTo>
                      <a:pt x="1051" y="68"/>
                    </a:lnTo>
                    <a:lnTo>
                      <a:pt x="1032" y="57"/>
                    </a:lnTo>
                    <a:lnTo>
                      <a:pt x="1024" y="60"/>
                    </a:lnTo>
                    <a:lnTo>
                      <a:pt x="1001" y="56"/>
                    </a:lnTo>
                    <a:lnTo>
                      <a:pt x="983" y="54"/>
                    </a:lnTo>
                    <a:lnTo>
                      <a:pt x="986" y="49"/>
                    </a:lnTo>
                    <a:lnTo>
                      <a:pt x="1008" y="40"/>
                    </a:lnTo>
                    <a:lnTo>
                      <a:pt x="1016" y="36"/>
                    </a:lnTo>
                    <a:lnTo>
                      <a:pt x="1009" y="28"/>
                    </a:lnTo>
                    <a:lnTo>
                      <a:pt x="992" y="22"/>
                    </a:lnTo>
                    <a:lnTo>
                      <a:pt x="955" y="15"/>
                    </a:lnTo>
                    <a:lnTo>
                      <a:pt x="920" y="14"/>
                    </a:lnTo>
                    <a:lnTo>
                      <a:pt x="913" y="18"/>
                    </a:lnTo>
                    <a:lnTo>
                      <a:pt x="901" y="11"/>
                    </a:lnTo>
                    <a:lnTo>
                      <a:pt x="901" y="11"/>
                    </a:lnTo>
                    <a:lnTo>
                      <a:pt x="871" y="8"/>
                    </a:lnTo>
                    <a:lnTo>
                      <a:pt x="883" y="5"/>
                    </a:lnTo>
                    <a:lnTo>
                      <a:pt x="856" y="0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31" name="Freeform 222"/>
              <p:cNvSpPr>
                <a:spLocks/>
              </p:cNvSpPr>
              <p:nvPr/>
            </p:nvSpPr>
            <p:spPr bwMode="auto">
              <a:xfrm>
                <a:off x="4937125" y="4854575"/>
                <a:ext cx="66675" cy="65088"/>
              </a:xfrm>
              <a:custGeom>
                <a:avLst/>
                <a:gdLst>
                  <a:gd name="T0" fmla="*/ 36 w 42"/>
                  <a:gd name="T1" fmla="*/ 6 h 41"/>
                  <a:gd name="T2" fmla="*/ 29 w 42"/>
                  <a:gd name="T3" fmla="*/ 0 h 41"/>
                  <a:gd name="T4" fmla="*/ 20 w 42"/>
                  <a:gd name="T5" fmla="*/ 4 h 41"/>
                  <a:gd name="T6" fmla="*/ 10 w 42"/>
                  <a:gd name="T7" fmla="*/ 12 h 41"/>
                  <a:gd name="T8" fmla="*/ 0 w 42"/>
                  <a:gd name="T9" fmla="*/ 25 h 41"/>
                  <a:gd name="T10" fmla="*/ 12 w 42"/>
                  <a:gd name="T11" fmla="*/ 41 h 41"/>
                  <a:gd name="T12" fmla="*/ 18 w 42"/>
                  <a:gd name="T13" fmla="*/ 39 h 41"/>
                  <a:gd name="T14" fmla="*/ 22 w 42"/>
                  <a:gd name="T15" fmla="*/ 32 h 41"/>
                  <a:gd name="T16" fmla="*/ 32 w 42"/>
                  <a:gd name="T17" fmla="*/ 29 h 41"/>
                  <a:gd name="T18" fmla="*/ 36 w 42"/>
                  <a:gd name="T19" fmla="*/ 22 h 41"/>
                  <a:gd name="T20" fmla="*/ 42 w 42"/>
                  <a:gd name="T21" fmla="*/ 12 h 41"/>
                  <a:gd name="T22" fmla="*/ 36 w 42"/>
                  <a:gd name="T23" fmla="*/ 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2" h="41">
                    <a:moveTo>
                      <a:pt x="36" y="6"/>
                    </a:moveTo>
                    <a:lnTo>
                      <a:pt x="29" y="0"/>
                    </a:lnTo>
                    <a:lnTo>
                      <a:pt x="20" y="4"/>
                    </a:lnTo>
                    <a:lnTo>
                      <a:pt x="10" y="12"/>
                    </a:lnTo>
                    <a:lnTo>
                      <a:pt x="0" y="25"/>
                    </a:lnTo>
                    <a:lnTo>
                      <a:pt x="12" y="41"/>
                    </a:lnTo>
                    <a:lnTo>
                      <a:pt x="18" y="39"/>
                    </a:lnTo>
                    <a:lnTo>
                      <a:pt x="22" y="32"/>
                    </a:lnTo>
                    <a:lnTo>
                      <a:pt x="32" y="29"/>
                    </a:lnTo>
                    <a:lnTo>
                      <a:pt x="36" y="22"/>
                    </a:lnTo>
                    <a:lnTo>
                      <a:pt x="42" y="12"/>
                    </a:lnTo>
                    <a:lnTo>
                      <a:pt x="36" y="6"/>
                    </a:lnTo>
                    <a:close/>
                  </a:path>
                </a:pathLst>
              </a:custGeom>
              <a:solidFill>
                <a:srgbClr val="24367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232" name="Freeform 366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31579" y="4514954"/>
                <a:ext cx="21949" cy="67074"/>
              </a:xfrm>
              <a:custGeom>
                <a:avLst/>
                <a:gdLst>
                  <a:gd name="T0" fmla="*/ 2147483647 w 47"/>
                  <a:gd name="T1" fmla="*/ 0 h 28"/>
                  <a:gd name="T2" fmla="*/ 2147483647 w 47"/>
                  <a:gd name="T3" fmla="*/ 0 h 28"/>
                  <a:gd name="T4" fmla="*/ 2147483647 w 47"/>
                  <a:gd name="T5" fmla="*/ 2147483647 h 28"/>
                  <a:gd name="T6" fmla="*/ 2147483647 w 47"/>
                  <a:gd name="T7" fmla="*/ 2147483647 h 28"/>
                  <a:gd name="T8" fmla="*/ 2147483647 w 47"/>
                  <a:gd name="T9" fmla="*/ 2147483647 h 28"/>
                  <a:gd name="T10" fmla="*/ 2147483647 w 47"/>
                  <a:gd name="T11" fmla="*/ 2147483647 h 28"/>
                  <a:gd name="T12" fmla="*/ 2147483647 w 47"/>
                  <a:gd name="T13" fmla="*/ 2147483647 h 28"/>
                  <a:gd name="T14" fmla="*/ 2147483647 w 47"/>
                  <a:gd name="T15" fmla="*/ 2147483647 h 28"/>
                  <a:gd name="T16" fmla="*/ 2147483647 w 47"/>
                  <a:gd name="T17" fmla="*/ 2147483647 h 28"/>
                  <a:gd name="T18" fmla="*/ 2147483647 w 47"/>
                  <a:gd name="T19" fmla="*/ 2147483647 h 28"/>
                  <a:gd name="T20" fmla="*/ 2147483647 w 47"/>
                  <a:gd name="T21" fmla="*/ 2147483647 h 28"/>
                  <a:gd name="T22" fmla="*/ 2147483647 w 47"/>
                  <a:gd name="T23" fmla="*/ 2147483647 h 28"/>
                  <a:gd name="T24" fmla="*/ 2147483647 w 47"/>
                  <a:gd name="T25" fmla="*/ 2147483647 h 28"/>
                  <a:gd name="T26" fmla="*/ 2147483647 w 47"/>
                  <a:gd name="T27" fmla="*/ 2147483647 h 28"/>
                  <a:gd name="T28" fmla="*/ 0 w 47"/>
                  <a:gd name="T29" fmla="*/ 2147483647 h 28"/>
                  <a:gd name="T30" fmla="*/ 2147483647 w 47"/>
                  <a:gd name="T31" fmla="*/ 2147483647 h 28"/>
                  <a:gd name="T32" fmla="*/ 2147483647 w 47"/>
                  <a:gd name="T33" fmla="*/ 2147483647 h 28"/>
                  <a:gd name="T34" fmla="*/ 2147483647 w 47"/>
                  <a:gd name="T35" fmla="*/ 2147483647 h 28"/>
                  <a:gd name="T36" fmla="*/ 2147483647 w 47"/>
                  <a:gd name="T37" fmla="*/ 2147483647 h 28"/>
                  <a:gd name="T38" fmla="*/ 2147483647 w 47"/>
                  <a:gd name="T39" fmla="*/ 2147483647 h 28"/>
                  <a:gd name="T40" fmla="*/ 2147483647 w 47"/>
                  <a:gd name="T41" fmla="*/ 2147483647 h 28"/>
                  <a:gd name="T42" fmla="*/ 2147483647 w 47"/>
                  <a:gd name="T43" fmla="*/ 2147483647 h 28"/>
                  <a:gd name="T44" fmla="*/ 2147483647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chemeClr val="bg1"/>
              </a:solidFill>
              <a:ln w="3175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12188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0070557"/>
              </p:ext>
            </p:extLst>
          </p:nvPr>
        </p:nvGraphicFramePr>
        <p:xfrm>
          <a:off x="254000" y="1209901"/>
          <a:ext cx="8636498" cy="411858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72267"/>
                <a:gridCol w="2048933"/>
                <a:gridCol w="2099733"/>
                <a:gridCol w="2015565"/>
              </a:tblGrid>
              <a:tr h="701196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09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13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WHO 2015 guidelines</a:t>
                      </a:r>
                      <a:endParaRPr lang="en-US" sz="2000" b="1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504D"/>
                    </a:solidFill>
                  </a:tcPr>
                </a:tc>
              </a:tr>
              <a:tr h="645833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Date of publication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October,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2009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June, 2013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September, 2015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5867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ART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eligibility criteria</a:t>
                      </a:r>
                      <a:endParaRPr lang="en-US" sz="18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&lt;350 cells/mm</a:t>
                      </a:r>
                      <a:r>
                        <a:rPr lang="en-US" sz="1800" baseline="300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</a:t>
                      </a:r>
                      <a:endParaRPr lang="en-US" sz="1800" baseline="3000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&lt;500 cells/mm</a:t>
                      </a:r>
                      <a:r>
                        <a:rPr lang="en-US" sz="1800" baseline="3000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rrespective of CD4 count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1471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Average time to adopt the WHO guidelines</a:t>
                      </a:r>
                      <a:endParaRPr lang="en-US" sz="1800" b="1" dirty="0">
                        <a:solidFill>
                          <a:srgbClr val="FFFF00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25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[3-68]</a:t>
                      </a:r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months</a:t>
                      </a:r>
                    </a:p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= 49)</a:t>
                      </a:r>
                      <a:endParaRPr lang="en-US" sz="1800" b="1" dirty="0" smtClean="0">
                        <a:solidFill>
                          <a:srgbClr val="FFFF00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14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[0-39]</a:t>
                      </a:r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months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= 53)</a:t>
                      </a:r>
                      <a:endParaRPr lang="en-US" sz="1800" b="1" dirty="0" smtClean="0">
                        <a:solidFill>
                          <a:srgbClr val="FFFF00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11 [1-20] months</a:t>
                      </a:r>
                    </a:p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(n</a:t>
                      </a:r>
                      <a:r>
                        <a:rPr lang="en-US" sz="1800" b="1" baseline="0" dirty="0" smtClean="0">
                          <a:solidFill>
                            <a:srgbClr val="FFFF00"/>
                          </a:solidFill>
                          <a:latin typeface="Arial"/>
                          <a:cs typeface="Arial"/>
                        </a:rPr>
                        <a:t> = 23)</a:t>
                      </a:r>
                      <a:endParaRPr lang="en-US" sz="1800" b="1" dirty="0" smtClean="0">
                        <a:solidFill>
                          <a:srgbClr val="FFFF00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4214">
                <a:tc>
                  <a:txBody>
                    <a:bodyPr/>
                    <a:lstStyle/>
                    <a:p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Countries yet to adopt the recommendation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0</a:t>
                      </a:r>
                      <a:endParaRPr lang="en-US" sz="1800" b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22</a:t>
                      </a: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6% burden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54</a:t>
                      </a:r>
                    </a:p>
                    <a:p>
                      <a:pPr algn="ctr"/>
                      <a:r>
                        <a:rPr lang="en-US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(33% burden)</a:t>
                      </a:r>
                    </a:p>
                  </a:txBody>
                  <a:tcPr marL="91446" marR="91446" marT="45730" marB="45730" anchor="ctr">
                    <a:lnL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whit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0" y="186673"/>
            <a:ext cx="914400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>
                <a:solidFill>
                  <a:srgbClr val="FFFF00"/>
                </a:solidFill>
                <a:latin typeface="Arial"/>
                <a:cs typeface="Arial"/>
              </a:rPr>
              <a:t>Policy Lag in </a:t>
            </a:r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LMICs (84 </a:t>
            </a:r>
            <a:r>
              <a:rPr lang="en-US" sz="4400" dirty="0">
                <a:solidFill>
                  <a:srgbClr val="FFFF00"/>
                </a:solidFill>
                <a:latin typeface="Arial"/>
                <a:cs typeface="Arial"/>
              </a:rPr>
              <a:t>countries) </a:t>
            </a: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2573867" y="3270797"/>
            <a:ext cx="6570132" cy="1233467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>
              <a:solidFill>
                <a:schemeClr val="lt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4033" y="6319784"/>
            <a:ext cx="33619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  <a:latin typeface="Arial"/>
                <a:cs typeface="Arial"/>
              </a:rPr>
              <a:t>Data as of June, 2017</a:t>
            </a:r>
            <a:endParaRPr lang="en-US" sz="16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0417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732" y="6495934"/>
            <a:ext cx="948267" cy="362066"/>
          </a:xfrm>
          <a:prstGeom prst="rect">
            <a:avLst/>
          </a:prstGeom>
        </p:spPr>
      </p:pic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0" y="118941"/>
            <a:ext cx="9144000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4400" dirty="0" smtClean="0">
                <a:solidFill>
                  <a:srgbClr val="FFFF00"/>
                </a:solidFill>
                <a:latin typeface="Arial"/>
                <a:cs typeface="Arial"/>
              </a:rPr>
              <a:t>ART Eligibility Criteria </a:t>
            </a:r>
            <a:endParaRPr lang="en-US" sz="4400" dirty="0">
              <a:solidFill>
                <a:srgbClr val="FFFF00"/>
              </a:solidFill>
              <a:latin typeface="Arial"/>
              <a:cs typeface="Arial"/>
            </a:endParaRPr>
          </a:p>
          <a:p>
            <a:pPr algn="ctr"/>
            <a:r>
              <a:rPr lang="en-US" sz="3200" dirty="0" smtClean="0">
                <a:solidFill>
                  <a:srgbClr val="FFFF00"/>
                </a:solidFill>
                <a:latin typeface="Arial"/>
                <a:cs typeface="Arial"/>
              </a:rPr>
              <a:t>Sub-Saharan Africa (34 countries) </a:t>
            </a:r>
            <a:endParaRPr lang="en-US" sz="3200" dirty="0">
              <a:solidFill>
                <a:srgbClr val="FFFF00"/>
              </a:solidFill>
              <a:latin typeface="Arial"/>
              <a:cs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933" y="6184320"/>
            <a:ext cx="6097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Region accounts for 69% of the global HIV epidemic</a:t>
            </a:r>
            <a:endParaRPr lang="en-US" sz="1400" dirty="0">
              <a:solidFill>
                <a:schemeClr val="bg1"/>
              </a:solidFill>
              <a:latin typeface="Arial"/>
              <a:cs typeface="Arial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Arial"/>
                <a:cs typeface="Arial"/>
              </a:rPr>
              <a:t>Last updated: June, 2017</a:t>
            </a:r>
          </a:p>
        </p:txBody>
      </p:sp>
      <p:grpSp>
        <p:nvGrpSpPr>
          <p:cNvPr id="165" name="Group 164"/>
          <p:cNvGrpSpPr/>
          <p:nvPr/>
        </p:nvGrpSpPr>
        <p:grpSpPr>
          <a:xfrm>
            <a:off x="1111250" y="1395414"/>
            <a:ext cx="6858000" cy="4656643"/>
            <a:chOff x="1111250" y="1395414"/>
            <a:chExt cx="6858000" cy="4656643"/>
          </a:xfrm>
        </p:grpSpPr>
        <p:sp>
          <p:nvSpPr>
            <p:cNvPr id="5" name="Rectangle 4"/>
            <p:cNvSpPr/>
            <p:nvPr/>
          </p:nvSpPr>
          <p:spPr>
            <a:xfrm>
              <a:off x="1303864" y="1395865"/>
              <a:ext cx="6510867" cy="46561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Rectangle 204"/>
            <p:cNvSpPr/>
            <p:nvPr/>
          </p:nvSpPr>
          <p:spPr bwMode="auto">
            <a:xfrm>
              <a:off x="1477966" y="5528730"/>
              <a:ext cx="376237" cy="231775"/>
            </a:xfrm>
            <a:prstGeom prst="rect">
              <a:avLst/>
            </a:prstGeom>
            <a:solidFill>
              <a:srgbClr val="FFFFFF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206" name="TextBox 202"/>
            <p:cNvSpPr txBox="1">
              <a:spLocks noChangeArrowheads="1"/>
            </p:cNvSpPr>
            <p:nvPr/>
          </p:nvSpPr>
          <p:spPr bwMode="auto">
            <a:xfrm>
              <a:off x="1880664" y="5478038"/>
              <a:ext cx="2293939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ヒラギノ角ゴ Pro W3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ヒラギノ角ゴ Pro W3" charset="0"/>
                </a:defRPr>
              </a:lvl9pPr>
            </a:lstStyle>
            <a:p>
              <a:r>
                <a:rPr lang="en-US" sz="1400" dirty="0" smtClean="0"/>
                <a:t>Countries not included in the analysis</a:t>
              </a:r>
              <a:endParaRPr lang="en-US" sz="1400" dirty="0"/>
            </a:p>
          </p:txBody>
        </p:sp>
        <p:grpSp>
          <p:nvGrpSpPr>
            <p:cNvPr id="208" name="Group 207"/>
            <p:cNvGrpSpPr/>
            <p:nvPr/>
          </p:nvGrpSpPr>
          <p:grpSpPr>
            <a:xfrm>
              <a:off x="1111250" y="1395414"/>
              <a:ext cx="6858000" cy="4462462"/>
              <a:chOff x="1111250" y="1395414"/>
              <a:chExt cx="6858000" cy="4462462"/>
            </a:xfrm>
          </p:grpSpPr>
          <p:grpSp>
            <p:nvGrpSpPr>
              <p:cNvPr id="6" name="Group 1"/>
              <p:cNvGrpSpPr>
                <a:grpSpLocks/>
              </p:cNvGrpSpPr>
              <p:nvPr/>
            </p:nvGrpSpPr>
            <p:grpSpPr bwMode="auto">
              <a:xfrm>
                <a:off x="1111250" y="1395414"/>
                <a:ext cx="6858000" cy="4462462"/>
                <a:chOff x="1111255" y="1446218"/>
                <a:chExt cx="6858000" cy="4924427"/>
              </a:xfrm>
            </p:grpSpPr>
            <p:sp>
              <p:nvSpPr>
                <p:cNvPr id="7" name="Rectangle 6"/>
                <p:cNvSpPr/>
                <p:nvPr/>
              </p:nvSpPr>
              <p:spPr>
                <a:xfrm>
                  <a:off x="1111255" y="1446218"/>
                  <a:ext cx="6858000" cy="4924427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/>
                </a:p>
              </p:txBody>
            </p:sp>
            <p:grpSp>
              <p:nvGrpSpPr>
                <p:cNvPr id="8" name="Group 3"/>
                <p:cNvGrpSpPr>
                  <a:grpSpLocks/>
                </p:cNvGrpSpPr>
                <p:nvPr/>
              </p:nvGrpSpPr>
              <p:grpSpPr bwMode="auto">
                <a:xfrm>
                  <a:off x="1477968" y="4943292"/>
                  <a:ext cx="2679704" cy="998306"/>
                  <a:chOff x="6187754" y="3867267"/>
                  <a:chExt cx="2679704" cy="998306"/>
                </a:xfrm>
              </p:grpSpPr>
              <p:sp>
                <p:nvSpPr>
                  <p:cNvPr id="198" name="Rectangle 197"/>
                  <p:cNvSpPr/>
                  <p:nvPr/>
                </p:nvSpPr>
                <p:spPr>
                  <a:xfrm>
                    <a:off x="6187754" y="3917730"/>
                    <a:ext cx="376237" cy="255769"/>
                  </a:xfrm>
                  <a:prstGeom prst="rect">
                    <a:avLst/>
                  </a:prstGeom>
                  <a:solidFill>
                    <a:srgbClr val="C0504D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  <p:sp>
                <p:nvSpPr>
                  <p:cNvPr id="199" name="Rectangle 198"/>
                  <p:cNvSpPr/>
                  <p:nvPr/>
                </p:nvSpPr>
                <p:spPr>
                  <a:xfrm>
                    <a:off x="6187754" y="4595050"/>
                    <a:ext cx="376237" cy="255769"/>
                  </a:xfrm>
                  <a:prstGeom prst="rect">
                    <a:avLst/>
                  </a:prstGeom>
                  <a:solidFill>
                    <a:srgbClr val="243679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  <p:sp>
                <p:nvSpPr>
                  <p:cNvPr id="200" name="Rectangle 199"/>
                  <p:cNvSpPr/>
                  <p:nvPr/>
                </p:nvSpPr>
                <p:spPr>
                  <a:xfrm>
                    <a:off x="6187754" y="4259339"/>
                    <a:ext cx="376237" cy="255769"/>
                  </a:xfrm>
                  <a:prstGeom prst="rect">
                    <a:avLst/>
                  </a:prstGeom>
                  <a:solidFill>
                    <a:srgbClr val="9CBC5A"/>
                  </a:soli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/>
                  </a:p>
                </p:txBody>
              </p:sp>
              <p:sp>
                <p:nvSpPr>
                  <p:cNvPr id="202" name="TextBox 19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63359" y="3867267"/>
                    <a:ext cx="1598436" cy="3077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  <a:cs typeface="ヒラギノ角ゴ Pro W3" charset="0"/>
                      </a:defRPr>
                    </a:lvl1pPr>
                    <a:lvl2pPr marL="742950" indent="-28575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2pPr>
                    <a:lvl3pPr marL="11430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3pPr>
                    <a:lvl4pPr marL="16002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4pPr>
                    <a:lvl5pPr marL="20574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9pPr>
                  </a:lstStyle>
                  <a:p>
                    <a:r>
                      <a:rPr lang="en-US" sz="1400" dirty="0"/>
                      <a:t>&lt;350</a:t>
                    </a:r>
                  </a:p>
                </p:txBody>
              </p:sp>
              <p:sp>
                <p:nvSpPr>
                  <p:cNvPr id="203" name="TextBox 20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83679" y="4210142"/>
                    <a:ext cx="1598436" cy="3077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  <a:cs typeface="ヒラギノ角ゴ Pro W3" charset="0"/>
                      </a:defRPr>
                    </a:lvl1pPr>
                    <a:lvl2pPr marL="742950" indent="-28575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2pPr>
                    <a:lvl3pPr marL="11430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3pPr>
                    <a:lvl4pPr marL="16002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4pPr>
                    <a:lvl5pPr marL="20574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9pPr>
                  </a:lstStyle>
                  <a:p>
                    <a:r>
                      <a:rPr lang="en-US" sz="1400"/>
                      <a:t>&lt;500</a:t>
                    </a:r>
                  </a:p>
                </p:txBody>
              </p:sp>
              <p:sp>
                <p:nvSpPr>
                  <p:cNvPr id="204" name="TextBox 20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73519" y="4557796"/>
                    <a:ext cx="2293939" cy="30777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  <a:cs typeface="ヒラギノ角ゴ Pro W3" charset="0"/>
                      </a:defRPr>
                    </a:lvl1pPr>
                    <a:lvl2pPr marL="742950" indent="-28575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2pPr>
                    <a:lvl3pPr marL="11430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3pPr>
                    <a:lvl4pPr marL="16002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4pPr>
                    <a:lvl5pPr marL="2057400" indent="-228600"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ヒラギノ角ゴ Pro W3" charset="0"/>
                      </a:defRPr>
                    </a:lvl9pPr>
                  </a:lstStyle>
                  <a:p>
                    <a:r>
                      <a:rPr lang="en-US" sz="1400" dirty="0"/>
                      <a:t>Irrespective of CD4 count</a:t>
                    </a:r>
                  </a:p>
                </p:txBody>
              </p:sp>
            </p:grpSp>
            <p:grpSp>
              <p:nvGrpSpPr>
                <p:cNvPr id="9" name="Group 279"/>
                <p:cNvGrpSpPr>
                  <a:grpSpLocks/>
                </p:cNvGrpSpPr>
                <p:nvPr/>
              </p:nvGrpSpPr>
              <p:grpSpPr bwMode="auto">
                <a:xfrm>
                  <a:off x="1825633" y="1587505"/>
                  <a:ext cx="5421316" cy="4632344"/>
                  <a:chOff x="267" y="1010"/>
                  <a:chExt cx="3415" cy="2918"/>
                </a:xfrm>
              </p:grpSpPr>
              <p:sp>
                <p:nvSpPr>
                  <p:cNvPr id="10" name="Freeform 8"/>
                  <p:cNvSpPr>
                    <a:spLocks/>
                  </p:cNvSpPr>
                  <p:nvPr/>
                </p:nvSpPr>
                <p:spPr bwMode="auto">
                  <a:xfrm>
                    <a:off x="771" y="1506"/>
                    <a:ext cx="686" cy="614"/>
                  </a:xfrm>
                  <a:custGeom>
                    <a:avLst/>
                    <a:gdLst>
                      <a:gd name="T0" fmla="*/ 52227 w 641"/>
                      <a:gd name="T1" fmla="*/ 5251 h 584"/>
                      <a:gd name="T2" fmla="*/ 52473 w 641"/>
                      <a:gd name="T3" fmla="*/ 5227 h 584"/>
                      <a:gd name="T4" fmla="*/ 52913 w 641"/>
                      <a:gd name="T5" fmla="*/ 5322 h 584"/>
                      <a:gd name="T6" fmla="*/ 52940 w 641"/>
                      <a:gd name="T7" fmla="*/ 5490 h 584"/>
                      <a:gd name="T8" fmla="*/ 52940 w 641"/>
                      <a:gd name="T9" fmla="*/ 5632 h 584"/>
                      <a:gd name="T10" fmla="*/ 52888 w 641"/>
                      <a:gd name="T11" fmla="*/ 5778 h 584"/>
                      <a:gd name="T12" fmla="*/ 52545 w 641"/>
                      <a:gd name="T13" fmla="*/ 5875 h 584"/>
                      <a:gd name="T14" fmla="*/ 52416 w 641"/>
                      <a:gd name="T15" fmla="*/ 6001 h 584"/>
                      <a:gd name="T16" fmla="*/ 52473 w 641"/>
                      <a:gd name="T17" fmla="*/ 6103 h 584"/>
                      <a:gd name="T18" fmla="*/ 52888 w 641"/>
                      <a:gd name="T19" fmla="*/ 6225 h 584"/>
                      <a:gd name="T20" fmla="*/ 53303 w 641"/>
                      <a:gd name="T21" fmla="*/ 6353 h 584"/>
                      <a:gd name="T22" fmla="*/ 53657 w 641"/>
                      <a:gd name="T23" fmla="*/ 6406 h 584"/>
                      <a:gd name="T24" fmla="*/ 56157 w 641"/>
                      <a:gd name="T25" fmla="*/ 9528 h 584"/>
                      <a:gd name="T26" fmla="*/ 55664 w 641"/>
                      <a:gd name="T27" fmla="*/ 9480 h 584"/>
                      <a:gd name="T28" fmla="*/ 55220 w 641"/>
                      <a:gd name="T29" fmla="*/ 9447 h 584"/>
                      <a:gd name="T30" fmla="*/ 54877 w 641"/>
                      <a:gd name="T31" fmla="*/ 9528 h 584"/>
                      <a:gd name="T32" fmla="*/ 54822 w 641"/>
                      <a:gd name="T33" fmla="*/ 9682 h 584"/>
                      <a:gd name="T34" fmla="*/ 54877 w 641"/>
                      <a:gd name="T35" fmla="*/ 9749 h 584"/>
                      <a:gd name="T36" fmla="*/ 46239 w 641"/>
                      <a:gd name="T37" fmla="*/ 10205 h 584"/>
                      <a:gd name="T38" fmla="*/ 26847 w 641"/>
                      <a:gd name="T39" fmla="*/ 13577 h 584"/>
                      <a:gd name="T40" fmla="*/ 26592 w 641"/>
                      <a:gd name="T41" fmla="*/ 13578 h 584"/>
                      <a:gd name="T42" fmla="*/ 26161 w 641"/>
                      <a:gd name="T43" fmla="*/ 13603 h 584"/>
                      <a:gd name="T44" fmla="*/ 25632 w 641"/>
                      <a:gd name="T45" fmla="*/ 13664 h 584"/>
                      <a:gd name="T46" fmla="*/ 25383 w 641"/>
                      <a:gd name="T47" fmla="*/ 13781 h 584"/>
                      <a:gd name="T48" fmla="*/ 24933 w 641"/>
                      <a:gd name="T49" fmla="*/ 13871 h 584"/>
                      <a:gd name="T50" fmla="*/ 24848 w 641"/>
                      <a:gd name="T51" fmla="*/ 13986 h 584"/>
                      <a:gd name="T52" fmla="*/ 24555 w 641"/>
                      <a:gd name="T53" fmla="*/ 14154 h 584"/>
                      <a:gd name="T54" fmla="*/ 24459 w 641"/>
                      <a:gd name="T55" fmla="*/ 14274 h 584"/>
                      <a:gd name="T56" fmla="*/ 24310 w 641"/>
                      <a:gd name="T57" fmla="*/ 14459 h 584"/>
                      <a:gd name="T58" fmla="*/ 21893 w 641"/>
                      <a:gd name="T59" fmla="*/ 15459 h 584"/>
                      <a:gd name="T60" fmla="*/ 21356 w 641"/>
                      <a:gd name="T61" fmla="*/ 15457 h 584"/>
                      <a:gd name="T62" fmla="*/ 20912 w 641"/>
                      <a:gd name="T63" fmla="*/ 15511 h 584"/>
                      <a:gd name="T64" fmla="*/ 20708 w 641"/>
                      <a:gd name="T65" fmla="*/ 15583 h 584"/>
                      <a:gd name="T66" fmla="*/ 20622 w 641"/>
                      <a:gd name="T67" fmla="*/ 15733 h 584"/>
                      <a:gd name="T68" fmla="*/ 17491 w 641"/>
                      <a:gd name="T69" fmla="*/ 15979 h 584"/>
                      <a:gd name="T70" fmla="*/ 11007 w 641"/>
                      <a:gd name="T71" fmla="*/ 14973 h 584"/>
                      <a:gd name="T72" fmla="*/ 9136 w 641"/>
                      <a:gd name="T73" fmla="*/ 13467 h 584"/>
                      <a:gd name="T74" fmla="*/ 3718 w 641"/>
                      <a:gd name="T75" fmla="*/ 13603 h 584"/>
                      <a:gd name="T76" fmla="*/ 3433 w 641"/>
                      <a:gd name="T77" fmla="*/ 13749 h 584"/>
                      <a:gd name="T78" fmla="*/ 3033 w 641"/>
                      <a:gd name="T79" fmla="*/ 13796 h 584"/>
                      <a:gd name="T80" fmla="*/ 2648 w 641"/>
                      <a:gd name="T81" fmla="*/ 13844 h 584"/>
                      <a:gd name="T82" fmla="*/ 2312 w 641"/>
                      <a:gd name="T83" fmla="*/ 13796 h 584"/>
                      <a:gd name="T84" fmla="*/ 2160 w 641"/>
                      <a:gd name="T85" fmla="*/ 13664 h 584"/>
                      <a:gd name="T86" fmla="*/ 2285 w 641"/>
                      <a:gd name="T87" fmla="*/ 13538 h 584"/>
                      <a:gd name="T88" fmla="*/ 1 w 641"/>
                      <a:gd name="T89" fmla="*/ 11859 h 584"/>
                      <a:gd name="T90" fmla="*/ 1864 w 641"/>
                      <a:gd name="T91" fmla="*/ 10072 h 584"/>
                      <a:gd name="T92" fmla="*/ 1521 w 641"/>
                      <a:gd name="T93" fmla="*/ 9971 h 584"/>
                      <a:gd name="T94" fmla="*/ 1328 w 641"/>
                      <a:gd name="T95" fmla="*/ 9771 h 584"/>
                      <a:gd name="T96" fmla="*/ 1328 w 641"/>
                      <a:gd name="T97" fmla="*/ 9685 h 584"/>
                      <a:gd name="T98" fmla="*/ 1628 w 641"/>
                      <a:gd name="T99" fmla="*/ 9563 h 584"/>
                      <a:gd name="T100" fmla="*/ 2160 w 641"/>
                      <a:gd name="T101" fmla="*/ 9575 h 584"/>
                      <a:gd name="T102" fmla="*/ 2617 w 641"/>
                      <a:gd name="T103" fmla="*/ 9682 h 584"/>
                      <a:gd name="T104" fmla="*/ 3208 w 641"/>
                      <a:gd name="T105" fmla="*/ 9698 h 584"/>
                      <a:gd name="T106" fmla="*/ 4819 w 641"/>
                      <a:gd name="T107" fmla="*/ 10540 h 584"/>
                      <a:gd name="T108" fmla="*/ 4877 w 641"/>
                      <a:gd name="T109" fmla="*/ 10412 h 584"/>
                      <a:gd name="T110" fmla="*/ 5030 w 641"/>
                      <a:gd name="T111" fmla="*/ 10205 h 584"/>
                      <a:gd name="T112" fmla="*/ 5383 w 641"/>
                      <a:gd name="T113" fmla="*/ 10067 h 584"/>
                      <a:gd name="T114" fmla="*/ 5761 w 641"/>
                      <a:gd name="T115" fmla="*/ 10053 h 584"/>
                      <a:gd name="T116" fmla="*/ 6297 w 641"/>
                      <a:gd name="T117" fmla="*/ 10025 h 584"/>
                      <a:gd name="T118" fmla="*/ 22855 w 641"/>
                      <a:gd name="T119" fmla="*/ 10067 h 584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641"/>
                      <a:gd name="T181" fmla="*/ 0 h 584"/>
                      <a:gd name="T182" fmla="*/ 641 w 641"/>
                      <a:gd name="T183" fmla="*/ 584 h 584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641" h="584">
                        <a:moveTo>
                          <a:pt x="212" y="0"/>
                        </a:moveTo>
                        <a:lnTo>
                          <a:pt x="279" y="0"/>
                        </a:lnTo>
                        <a:lnTo>
                          <a:pt x="523" y="149"/>
                        </a:lnTo>
                        <a:lnTo>
                          <a:pt x="519" y="159"/>
                        </a:lnTo>
                        <a:lnTo>
                          <a:pt x="548" y="180"/>
                        </a:lnTo>
                        <a:lnTo>
                          <a:pt x="569" y="191"/>
                        </a:lnTo>
                        <a:lnTo>
                          <a:pt x="592" y="194"/>
                        </a:lnTo>
                        <a:lnTo>
                          <a:pt x="592" y="193"/>
                        </a:lnTo>
                        <a:lnTo>
                          <a:pt x="593" y="193"/>
                        </a:lnTo>
                        <a:lnTo>
                          <a:pt x="594" y="193"/>
                        </a:lnTo>
                        <a:lnTo>
                          <a:pt x="595" y="193"/>
                        </a:lnTo>
                        <a:lnTo>
                          <a:pt x="596" y="192"/>
                        </a:lnTo>
                        <a:lnTo>
                          <a:pt x="597" y="192"/>
                        </a:lnTo>
                        <a:lnTo>
                          <a:pt x="597" y="193"/>
                        </a:lnTo>
                        <a:lnTo>
                          <a:pt x="598" y="193"/>
                        </a:lnTo>
                        <a:lnTo>
                          <a:pt x="599" y="193"/>
                        </a:lnTo>
                        <a:lnTo>
                          <a:pt x="600" y="193"/>
                        </a:lnTo>
                        <a:lnTo>
                          <a:pt x="601" y="194"/>
                        </a:lnTo>
                        <a:lnTo>
                          <a:pt x="601" y="195"/>
                        </a:lnTo>
                        <a:lnTo>
                          <a:pt x="601" y="196"/>
                        </a:lnTo>
                        <a:lnTo>
                          <a:pt x="601" y="197"/>
                        </a:lnTo>
                        <a:lnTo>
                          <a:pt x="601" y="198"/>
                        </a:lnTo>
                        <a:lnTo>
                          <a:pt x="602" y="199"/>
                        </a:lnTo>
                        <a:lnTo>
                          <a:pt x="602" y="200"/>
                        </a:lnTo>
                        <a:lnTo>
                          <a:pt x="602" y="201"/>
                        </a:lnTo>
                        <a:lnTo>
                          <a:pt x="602" y="202"/>
                        </a:lnTo>
                        <a:lnTo>
                          <a:pt x="602" y="203"/>
                        </a:lnTo>
                        <a:lnTo>
                          <a:pt x="602" y="204"/>
                        </a:lnTo>
                        <a:lnTo>
                          <a:pt x="602" y="205"/>
                        </a:lnTo>
                        <a:lnTo>
                          <a:pt x="602" y="206"/>
                        </a:lnTo>
                        <a:lnTo>
                          <a:pt x="602" y="207"/>
                        </a:lnTo>
                        <a:lnTo>
                          <a:pt x="602" y="208"/>
                        </a:lnTo>
                        <a:lnTo>
                          <a:pt x="602" y="209"/>
                        </a:lnTo>
                        <a:lnTo>
                          <a:pt x="601" y="209"/>
                        </a:lnTo>
                        <a:lnTo>
                          <a:pt x="601" y="210"/>
                        </a:lnTo>
                        <a:lnTo>
                          <a:pt x="600" y="211"/>
                        </a:lnTo>
                        <a:lnTo>
                          <a:pt x="600" y="212"/>
                        </a:lnTo>
                        <a:lnTo>
                          <a:pt x="599" y="212"/>
                        </a:lnTo>
                        <a:lnTo>
                          <a:pt x="599" y="213"/>
                        </a:lnTo>
                        <a:lnTo>
                          <a:pt x="598" y="213"/>
                        </a:lnTo>
                        <a:lnTo>
                          <a:pt x="598" y="214"/>
                        </a:lnTo>
                        <a:lnTo>
                          <a:pt x="597" y="214"/>
                        </a:lnTo>
                        <a:lnTo>
                          <a:pt x="597" y="215"/>
                        </a:lnTo>
                        <a:lnTo>
                          <a:pt x="597" y="216"/>
                        </a:lnTo>
                        <a:lnTo>
                          <a:pt x="596" y="216"/>
                        </a:lnTo>
                        <a:lnTo>
                          <a:pt x="596" y="217"/>
                        </a:lnTo>
                        <a:lnTo>
                          <a:pt x="596" y="218"/>
                        </a:lnTo>
                        <a:lnTo>
                          <a:pt x="596" y="219"/>
                        </a:lnTo>
                        <a:lnTo>
                          <a:pt x="595" y="219"/>
                        </a:lnTo>
                        <a:lnTo>
                          <a:pt x="595" y="220"/>
                        </a:lnTo>
                        <a:lnTo>
                          <a:pt x="595" y="221"/>
                        </a:lnTo>
                        <a:lnTo>
                          <a:pt x="595" y="222"/>
                        </a:lnTo>
                        <a:lnTo>
                          <a:pt x="596" y="222"/>
                        </a:lnTo>
                        <a:lnTo>
                          <a:pt x="596" y="223"/>
                        </a:lnTo>
                        <a:lnTo>
                          <a:pt x="596" y="224"/>
                        </a:lnTo>
                        <a:lnTo>
                          <a:pt x="596" y="225"/>
                        </a:lnTo>
                        <a:lnTo>
                          <a:pt x="597" y="225"/>
                        </a:lnTo>
                        <a:lnTo>
                          <a:pt x="597" y="226"/>
                        </a:lnTo>
                        <a:lnTo>
                          <a:pt x="598" y="226"/>
                        </a:lnTo>
                        <a:lnTo>
                          <a:pt x="598" y="227"/>
                        </a:lnTo>
                        <a:lnTo>
                          <a:pt x="599" y="228"/>
                        </a:lnTo>
                        <a:lnTo>
                          <a:pt x="600" y="228"/>
                        </a:lnTo>
                        <a:lnTo>
                          <a:pt x="600" y="229"/>
                        </a:lnTo>
                        <a:lnTo>
                          <a:pt x="601" y="230"/>
                        </a:lnTo>
                        <a:lnTo>
                          <a:pt x="602" y="230"/>
                        </a:lnTo>
                        <a:lnTo>
                          <a:pt x="602" y="231"/>
                        </a:lnTo>
                        <a:lnTo>
                          <a:pt x="603" y="231"/>
                        </a:lnTo>
                        <a:lnTo>
                          <a:pt x="604" y="232"/>
                        </a:lnTo>
                        <a:lnTo>
                          <a:pt x="605" y="232"/>
                        </a:lnTo>
                        <a:lnTo>
                          <a:pt x="605" y="233"/>
                        </a:lnTo>
                        <a:lnTo>
                          <a:pt x="606" y="233"/>
                        </a:lnTo>
                        <a:lnTo>
                          <a:pt x="606" y="234"/>
                        </a:lnTo>
                        <a:lnTo>
                          <a:pt x="607" y="234"/>
                        </a:lnTo>
                        <a:lnTo>
                          <a:pt x="608" y="235"/>
                        </a:lnTo>
                        <a:lnTo>
                          <a:pt x="609" y="235"/>
                        </a:lnTo>
                        <a:lnTo>
                          <a:pt x="610" y="235"/>
                        </a:lnTo>
                        <a:lnTo>
                          <a:pt x="636" y="225"/>
                        </a:lnTo>
                        <a:lnTo>
                          <a:pt x="641" y="349"/>
                        </a:lnTo>
                        <a:lnTo>
                          <a:pt x="639" y="348"/>
                        </a:lnTo>
                        <a:lnTo>
                          <a:pt x="638" y="348"/>
                        </a:lnTo>
                        <a:lnTo>
                          <a:pt x="638" y="347"/>
                        </a:lnTo>
                        <a:lnTo>
                          <a:pt x="637" y="347"/>
                        </a:lnTo>
                        <a:lnTo>
                          <a:pt x="636" y="347"/>
                        </a:lnTo>
                        <a:lnTo>
                          <a:pt x="635" y="346"/>
                        </a:lnTo>
                        <a:lnTo>
                          <a:pt x="634" y="346"/>
                        </a:lnTo>
                        <a:lnTo>
                          <a:pt x="633" y="346"/>
                        </a:lnTo>
                        <a:lnTo>
                          <a:pt x="633" y="345"/>
                        </a:lnTo>
                        <a:lnTo>
                          <a:pt x="632" y="345"/>
                        </a:lnTo>
                        <a:lnTo>
                          <a:pt x="631" y="345"/>
                        </a:lnTo>
                        <a:lnTo>
                          <a:pt x="630" y="345"/>
                        </a:lnTo>
                        <a:lnTo>
                          <a:pt x="629" y="345"/>
                        </a:lnTo>
                        <a:lnTo>
                          <a:pt x="628" y="345"/>
                        </a:lnTo>
                        <a:lnTo>
                          <a:pt x="627" y="345"/>
                        </a:lnTo>
                        <a:lnTo>
                          <a:pt x="626" y="345"/>
                        </a:lnTo>
                        <a:lnTo>
                          <a:pt x="626" y="346"/>
                        </a:lnTo>
                        <a:lnTo>
                          <a:pt x="625" y="346"/>
                        </a:lnTo>
                        <a:lnTo>
                          <a:pt x="624" y="347"/>
                        </a:lnTo>
                        <a:lnTo>
                          <a:pt x="624" y="348"/>
                        </a:lnTo>
                        <a:lnTo>
                          <a:pt x="623" y="348"/>
                        </a:lnTo>
                        <a:lnTo>
                          <a:pt x="623" y="349"/>
                        </a:lnTo>
                        <a:lnTo>
                          <a:pt x="623" y="350"/>
                        </a:lnTo>
                        <a:lnTo>
                          <a:pt x="622" y="350"/>
                        </a:lnTo>
                        <a:lnTo>
                          <a:pt x="622" y="351"/>
                        </a:lnTo>
                        <a:lnTo>
                          <a:pt x="622" y="352"/>
                        </a:lnTo>
                        <a:lnTo>
                          <a:pt x="622" y="353"/>
                        </a:lnTo>
                        <a:lnTo>
                          <a:pt x="622" y="354"/>
                        </a:lnTo>
                        <a:lnTo>
                          <a:pt x="622" y="355"/>
                        </a:lnTo>
                        <a:lnTo>
                          <a:pt x="623" y="355"/>
                        </a:lnTo>
                        <a:lnTo>
                          <a:pt x="623" y="356"/>
                        </a:lnTo>
                        <a:lnTo>
                          <a:pt x="623" y="357"/>
                        </a:lnTo>
                        <a:lnTo>
                          <a:pt x="623" y="358"/>
                        </a:lnTo>
                        <a:lnTo>
                          <a:pt x="623" y="359"/>
                        </a:lnTo>
                        <a:lnTo>
                          <a:pt x="624" y="359"/>
                        </a:lnTo>
                        <a:lnTo>
                          <a:pt x="624" y="360"/>
                        </a:lnTo>
                        <a:lnTo>
                          <a:pt x="624" y="361"/>
                        </a:lnTo>
                        <a:lnTo>
                          <a:pt x="625" y="362"/>
                        </a:lnTo>
                        <a:lnTo>
                          <a:pt x="599" y="376"/>
                        </a:lnTo>
                        <a:lnTo>
                          <a:pt x="526" y="375"/>
                        </a:lnTo>
                        <a:lnTo>
                          <a:pt x="516" y="388"/>
                        </a:lnTo>
                        <a:lnTo>
                          <a:pt x="455" y="390"/>
                        </a:lnTo>
                        <a:lnTo>
                          <a:pt x="413" y="416"/>
                        </a:lnTo>
                        <a:lnTo>
                          <a:pt x="393" y="430"/>
                        </a:lnTo>
                        <a:lnTo>
                          <a:pt x="340" y="457"/>
                        </a:lnTo>
                        <a:lnTo>
                          <a:pt x="323" y="457"/>
                        </a:lnTo>
                        <a:lnTo>
                          <a:pt x="306" y="497"/>
                        </a:lnTo>
                        <a:lnTo>
                          <a:pt x="305" y="497"/>
                        </a:lnTo>
                        <a:lnTo>
                          <a:pt x="304" y="497"/>
                        </a:lnTo>
                        <a:lnTo>
                          <a:pt x="303" y="497"/>
                        </a:lnTo>
                        <a:lnTo>
                          <a:pt x="302" y="497"/>
                        </a:lnTo>
                        <a:lnTo>
                          <a:pt x="302" y="498"/>
                        </a:lnTo>
                        <a:lnTo>
                          <a:pt x="301" y="498"/>
                        </a:lnTo>
                        <a:lnTo>
                          <a:pt x="300" y="498"/>
                        </a:lnTo>
                        <a:lnTo>
                          <a:pt x="300" y="499"/>
                        </a:lnTo>
                        <a:lnTo>
                          <a:pt x="299" y="499"/>
                        </a:lnTo>
                        <a:lnTo>
                          <a:pt x="298" y="499"/>
                        </a:lnTo>
                        <a:lnTo>
                          <a:pt x="297" y="499"/>
                        </a:lnTo>
                        <a:lnTo>
                          <a:pt x="297" y="500"/>
                        </a:lnTo>
                        <a:lnTo>
                          <a:pt x="296" y="500"/>
                        </a:lnTo>
                        <a:lnTo>
                          <a:pt x="295" y="500"/>
                        </a:lnTo>
                        <a:lnTo>
                          <a:pt x="295" y="501"/>
                        </a:lnTo>
                        <a:lnTo>
                          <a:pt x="294" y="501"/>
                        </a:lnTo>
                        <a:lnTo>
                          <a:pt x="293" y="501"/>
                        </a:lnTo>
                        <a:lnTo>
                          <a:pt x="292" y="501"/>
                        </a:lnTo>
                        <a:lnTo>
                          <a:pt x="292" y="502"/>
                        </a:lnTo>
                        <a:lnTo>
                          <a:pt x="291" y="502"/>
                        </a:lnTo>
                        <a:lnTo>
                          <a:pt x="290" y="503"/>
                        </a:lnTo>
                        <a:lnTo>
                          <a:pt x="290" y="504"/>
                        </a:lnTo>
                        <a:lnTo>
                          <a:pt x="289" y="504"/>
                        </a:lnTo>
                        <a:lnTo>
                          <a:pt x="288" y="505"/>
                        </a:lnTo>
                        <a:lnTo>
                          <a:pt x="287" y="506"/>
                        </a:lnTo>
                        <a:lnTo>
                          <a:pt x="286" y="506"/>
                        </a:lnTo>
                        <a:lnTo>
                          <a:pt x="285" y="507"/>
                        </a:lnTo>
                        <a:lnTo>
                          <a:pt x="284" y="507"/>
                        </a:lnTo>
                        <a:lnTo>
                          <a:pt x="284" y="508"/>
                        </a:lnTo>
                        <a:lnTo>
                          <a:pt x="284" y="509"/>
                        </a:lnTo>
                        <a:lnTo>
                          <a:pt x="284" y="510"/>
                        </a:lnTo>
                        <a:lnTo>
                          <a:pt x="283" y="510"/>
                        </a:lnTo>
                        <a:lnTo>
                          <a:pt x="283" y="511"/>
                        </a:lnTo>
                        <a:lnTo>
                          <a:pt x="282" y="511"/>
                        </a:lnTo>
                        <a:lnTo>
                          <a:pt x="281" y="512"/>
                        </a:lnTo>
                        <a:lnTo>
                          <a:pt x="281" y="513"/>
                        </a:lnTo>
                        <a:lnTo>
                          <a:pt x="280" y="514"/>
                        </a:lnTo>
                        <a:lnTo>
                          <a:pt x="280" y="515"/>
                        </a:lnTo>
                        <a:lnTo>
                          <a:pt x="279" y="516"/>
                        </a:lnTo>
                        <a:lnTo>
                          <a:pt x="279" y="517"/>
                        </a:lnTo>
                        <a:lnTo>
                          <a:pt x="279" y="518"/>
                        </a:lnTo>
                        <a:lnTo>
                          <a:pt x="279" y="519"/>
                        </a:lnTo>
                        <a:lnTo>
                          <a:pt x="279" y="520"/>
                        </a:lnTo>
                        <a:lnTo>
                          <a:pt x="278" y="520"/>
                        </a:lnTo>
                        <a:lnTo>
                          <a:pt x="278" y="521"/>
                        </a:lnTo>
                        <a:lnTo>
                          <a:pt x="278" y="522"/>
                        </a:lnTo>
                        <a:lnTo>
                          <a:pt x="278" y="523"/>
                        </a:lnTo>
                        <a:lnTo>
                          <a:pt x="277" y="524"/>
                        </a:lnTo>
                        <a:lnTo>
                          <a:pt x="277" y="525"/>
                        </a:lnTo>
                        <a:lnTo>
                          <a:pt x="277" y="526"/>
                        </a:lnTo>
                        <a:lnTo>
                          <a:pt x="277" y="527"/>
                        </a:lnTo>
                        <a:lnTo>
                          <a:pt x="277" y="528"/>
                        </a:lnTo>
                        <a:lnTo>
                          <a:pt x="277" y="529"/>
                        </a:lnTo>
                        <a:lnTo>
                          <a:pt x="277" y="530"/>
                        </a:lnTo>
                        <a:lnTo>
                          <a:pt x="277" y="531"/>
                        </a:lnTo>
                        <a:lnTo>
                          <a:pt x="277" y="532"/>
                        </a:lnTo>
                        <a:lnTo>
                          <a:pt x="269" y="547"/>
                        </a:lnTo>
                        <a:lnTo>
                          <a:pt x="269" y="570"/>
                        </a:lnTo>
                        <a:lnTo>
                          <a:pt x="249" y="567"/>
                        </a:lnTo>
                        <a:lnTo>
                          <a:pt x="248" y="566"/>
                        </a:lnTo>
                        <a:lnTo>
                          <a:pt x="247" y="566"/>
                        </a:lnTo>
                        <a:lnTo>
                          <a:pt x="246" y="566"/>
                        </a:lnTo>
                        <a:lnTo>
                          <a:pt x="245" y="566"/>
                        </a:lnTo>
                        <a:lnTo>
                          <a:pt x="244" y="566"/>
                        </a:lnTo>
                        <a:lnTo>
                          <a:pt x="243" y="566"/>
                        </a:lnTo>
                        <a:lnTo>
                          <a:pt x="242" y="566"/>
                        </a:lnTo>
                        <a:lnTo>
                          <a:pt x="241" y="566"/>
                        </a:lnTo>
                        <a:lnTo>
                          <a:pt x="241" y="567"/>
                        </a:lnTo>
                        <a:lnTo>
                          <a:pt x="240" y="567"/>
                        </a:lnTo>
                        <a:lnTo>
                          <a:pt x="239" y="567"/>
                        </a:lnTo>
                        <a:lnTo>
                          <a:pt x="239" y="568"/>
                        </a:lnTo>
                        <a:lnTo>
                          <a:pt x="238" y="568"/>
                        </a:lnTo>
                        <a:lnTo>
                          <a:pt x="237" y="568"/>
                        </a:lnTo>
                        <a:lnTo>
                          <a:pt x="236" y="568"/>
                        </a:lnTo>
                        <a:lnTo>
                          <a:pt x="236" y="569"/>
                        </a:lnTo>
                        <a:lnTo>
                          <a:pt x="236" y="570"/>
                        </a:lnTo>
                        <a:lnTo>
                          <a:pt x="236" y="571"/>
                        </a:lnTo>
                        <a:lnTo>
                          <a:pt x="235" y="571"/>
                        </a:lnTo>
                        <a:lnTo>
                          <a:pt x="235" y="572"/>
                        </a:lnTo>
                        <a:lnTo>
                          <a:pt x="235" y="573"/>
                        </a:lnTo>
                        <a:lnTo>
                          <a:pt x="235" y="574"/>
                        </a:lnTo>
                        <a:lnTo>
                          <a:pt x="234" y="574"/>
                        </a:lnTo>
                        <a:lnTo>
                          <a:pt x="234" y="575"/>
                        </a:lnTo>
                        <a:lnTo>
                          <a:pt x="234" y="576"/>
                        </a:lnTo>
                        <a:lnTo>
                          <a:pt x="234" y="577"/>
                        </a:lnTo>
                        <a:lnTo>
                          <a:pt x="234" y="578"/>
                        </a:lnTo>
                        <a:lnTo>
                          <a:pt x="234" y="579"/>
                        </a:lnTo>
                        <a:lnTo>
                          <a:pt x="226" y="558"/>
                        </a:lnTo>
                        <a:lnTo>
                          <a:pt x="217" y="563"/>
                        </a:lnTo>
                        <a:lnTo>
                          <a:pt x="212" y="572"/>
                        </a:lnTo>
                        <a:lnTo>
                          <a:pt x="199" y="584"/>
                        </a:lnTo>
                        <a:lnTo>
                          <a:pt x="183" y="578"/>
                        </a:lnTo>
                        <a:lnTo>
                          <a:pt x="174" y="565"/>
                        </a:lnTo>
                        <a:lnTo>
                          <a:pt x="156" y="580"/>
                        </a:lnTo>
                        <a:lnTo>
                          <a:pt x="149" y="565"/>
                        </a:lnTo>
                        <a:lnTo>
                          <a:pt x="141" y="549"/>
                        </a:lnTo>
                        <a:lnTo>
                          <a:pt x="145" y="546"/>
                        </a:lnTo>
                        <a:lnTo>
                          <a:pt x="125" y="549"/>
                        </a:lnTo>
                        <a:lnTo>
                          <a:pt x="141" y="529"/>
                        </a:lnTo>
                        <a:lnTo>
                          <a:pt x="132" y="525"/>
                        </a:lnTo>
                        <a:lnTo>
                          <a:pt x="124" y="522"/>
                        </a:lnTo>
                        <a:lnTo>
                          <a:pt x="123" y="490"/>
                        </a:lnTo>
                        <a:lnTo>
                          <a:pt x="107" y="490"/>
                        </a:lnTo>
                        <a:lnTo>
                          <a:pt x="103" y="480"/>
                        </a:lnTo>
                        <a:lnTo>
                          <a:pt x="104" y="494"/>
                        </a:lnTo>
                        <a:lnTo>
                          <a:pt x="91" y="508"/>
                        </a:lnTo>
                        <a:lnTo>
                          <a:pt x="65" y="494"/>
                        </a:lnTo>
                        <a:lnTo>
                          <a:pt x="51" y="515"/>
                        </a:lnTo>
                        <a:lnTo>
                          <a:pt x="44" y="499"/>
                        </a:lnTo>
                        <a:lnTo>
                          <a:pt x="43" y="499"/>
                        </a:lnTo>
                        <a:lnTo>
                          <a:pt x="43" y="500"/>
                        </a:lnTo>
                        <a:lnTo>
                          <a:pt x="42" y="500"/>
                        </a:lnTo>
                        <a:lnTo>
                          <a:pt x="42" y="501"/>
                        </a:lnTo>
                        <a:lnTo>
                          <a:pt x="41" y="501"/>
                        </a:lnTo>
                        <a:lnTo>
                          <a:pt x="40" y="501"/>
                        </a:lnTo>
                        <a:lnTo>
                          <a:pt x="40" y="502"/>
                        </a:lnTo>
                        <a:lnTo>
                          <a:pt x="39" y="502"/>
                        </a:lnTo>
                        <a:lnTo>
                          <a:pt x="38" y="503"/>
                        </a:lnTo>
                        <a:lnTo>
                          <a:pt x="38" y="504"/>
                        </a:lnTo>
                        <a:lnTo>
                          <a:pt x="37" y="504"/>
                        </a:lnTo>
                        <a:lnTo>
                          <a:pt x="37" y="505"/>
                        </a:lnTo>
                        <a:lnTo>
                          <a:pt x="36" y="505"/>
                        </a:lnTo>
                        <a:lnTo>
                          <a:pt x="36" y="506"/>
                        </a:lnTo>
                        <a:lnTo>
                          <a:pt x="35" y="506"/>
                        </a:lnTo>
                        <a:lnTo>
                          <a:pt x="34" y="506"/>
                        </a:lnTo>
                        <a:lnTo>
                          <a:pt x="33" y="506"/>
                        </a:lnTo>
                        <a:lnTo>
                          <a:pt x="32" y="507"/>
                        </a:lnTo>
                        <a:lnTo>
                          <a:pt x="31" y="507"/>
                        </a:lnTo>
                        <a:lnTo>
                          <a:pt x="31" y="508"/>
                        </a:lnTo>
                        <a:lnTo>
                          <a:pt x="30" y="508"/>
                        </a:lnTo>
                        <a:lnTo>
                          <a:pt x="29" y="508"/>
                        </a:lnTo>
                        <a:lnTo>
                          <a:pt x="28" y="508"/>
                        </a:lnTo>
                        <a:lnTo>
                          <a:pt x="28" y="507"/>
                        </a:lnTo>
                        <a:lnTo>
                          <a:pt x="27" y="507"/>
                        </a:lnTo>
                        <a:lnTo>
                          <a:pt x="27" y="506"/>
                        </a:lnTo>
                        <a:lnTo>
                          <a:pt x="26" y="506"/>
                        </a:lnTo>
                        <a:lnTo>
                          <a:pt x="26" y="505"/>
                        </a:lnTo>
                        <a:lnTo>
                          <a:pt x="26" y="504"/>
                        </a:lnTo>
                        <a:lnTo>
                          <a:pt x="26" y="503"/>
                        </a:lnTo>
                        <a:lnTo>
                          <a:pt x="25" y="502"/>
                        </a:lnTo>
                        <a:lnTo>
                          <a:pt x="25" y="501"/>
                        </a:lnTo>
                        <a:lnTo>
                          <a:pt x="25" y="500"/>
                        </a:lnTo>
                        <a:lnTo>
                          <a:pt x="26" y="500"/>
                        </a:lnTo>
                        <a:lnTo>
                          <a:pt x="26" y="499"/>
                        </a:lnTo>
                        <a:lnTo>
                          <a:pt x="26" y="498"/>
                        </a:lnTo>
                        <a:lnTo>
                          <a:pt x="26" y="497"/>
                        </a:lnTo>
                        <a:lnTo>
                          <a:pt x="26" y="496"/>
                        </a:lnTo>
                        <a:lnTo>
                          <a:pt x="26" y="495"/>
                        </a:lnTo>
                        <a:lnTo>
                          <a:pt x="26" y="494"/>
                        </a:lnTo>
                        <a:lnTo>
                          <a:pt x="27" y="494"/>
                        </a:lnTo>
                        <a:lnTo>
                          <a:pt x="24" y="457"/>
                        </a:lnTo>
                        <a:lnTo>
                          <a:pt x="11" y="453"/>
                        </a:lnTo>
                        <a:lnTo>
                          <a:pt x="1" y="435"/>
                        </a:lnTo>
                        <a:lnTo>
                          <a:pt x="0" y="396"/>
                        </a:lnTo>
                        <a:lnTo>
                          <a:pt x="9" y="382"/>
                        </a:lnTo>
                        <a:lnTo>
                          <a:pt x="22" y="375"/>
                        </a:lnTo>
                        <a:lnTo>
                          <a:pt x="22" y="374"/>
                        </a:lnTo>
                        <a:lnTo>
                          <a:pt x="22" y="373"/>
                        </a:lnTo>
                        <a:lnTo>
                          <a:pt x="21" y="372"/>
                        </a:lnTo>
                        <a:lnTo>
                          <a:pt x="21" y="371"/>
                        </a:lnTo>
                        <a:lnTo>
                          <a:pt x="20" y="370"/>
                        </a:lnTo>
                        <a:lnTo>
                          <a:pt x="19" y="369"/>
                        </a:lnTo>
                        <a:lnTo>
                          <a:pt x="19" y="368"/>
                        </a:lnTo>
                        <a:lnTo>
                          <a:pt x="18" y="367"/>
                        </a:lnTo>
                        <a:lnTo>
                          <a:pt x="18" y="366"/>
                        </a:lnTo>
                        <a:lnTo>
                          <a:pt x="18" y="365"/>
                        </a:lnTo>
                        <a:lnTo>
                          <a:pt x="17" y="365"/>
                        </a:lnTo>
                        <a:lnTo>
                          <a:pt x="17" y="364"/>
                        </a:lnTo>
                        <a:lnTo>
                          <a:pt x="17" y="363"/>
                        </a:lnTo>
                        <a:lnTo>
                          <a:pt x="16" y="363"/>
                        </a:lnTo>
                        <a:lnTo>
                          <a:pt x="16" y="362"/>
                        </a:lnTo>
                        <a:lnTo>
                          <a:pt x="16" y="361"/>
                        </a:lnTo>
                        <a:lnTo>
                          <a:pt x="16" y="360"/>
                        </a:lnTo>
                        <a:lnTo>
                          <a:pt x="16" y="359"/>
                        </a:lnTo>
                        <a:lnTo>
                          <a:pt x="16" y="358"/>
                        </a:lnTo>
                        <a:lnTo>
                          <a:pt x="16" y="357"/>
                        </a:lnTo>
                        <a:lnTo>
                          <a:pt x="16" y="356"/>
                        </a:lnTo>
                        <a:lnTo>
                          <a:pt x="16" y="355"/>
                        </a:lnTo>
                        <a:lnTo>
                          <a:pt x="16" y="354"/>
                        </a:lnTo>
                        <a:lnTo>
                          <a:pt x="16" y="353"/>
                        </a:lnTo>
                        <a:lnTo>
                          <a:pt x="17" y="352"/>
                        </a:lnTo>
                        <a:lnTo>
                          <a:pt x="18" y="352"/>
                        </a:lnTo>
                        <a:lnTo>
                          <a:pt x="18" y="351"/>
                        </a:lnTo>
                        <a:lnTo>
                          <a:pt x="19" y="351"/>
                        </a:lnTo>
                        <a:lnTo>
                          <a:pt x="20" y="351"/>
                        </a:lnTo>
                        <a:lnTo>
                          <a:pt x="21" y="351"/>
                        </a:lnTo>
                        <a:lnTo>
                          <a:pt x="22" y="351"/>
                        </a:lnTo>
                        <a:lnTo>
                          <a:pt x="23" y="351"/>
                        </a:lnTo>
                        <a:lnTo>
                          <a:pt x="24" y="351"/>
                        </a:lnTo>
                        <a:lnTo>
                          <a:pt x="25" y="352"/>
                        </a:lnTo>
                        <a:lnTo>
                          <a:pt x="26" y="352"/>
                        </a:lnTo>
                        <a:lnTo>
                          <a:pt x="27" y="352"/>
                        </a:lnTo>
                        <a:lnTo>
                          <a:pt x="27" y="353"/>
                        </a:lnTo>
                        <a:lnTo>
                          <a:pt x="28" y="353"/>
                        </a:lnTo>
                        <a:lnTo>
                          <a:pt x="29" y="353"/>
                        </a:lnTo>
                        <a:lnTo>
                          <a:pt x="30" y="354"/>
                        </a:lnTo>
                        <a:lnTo>
                          <a:pt x="31" y="354"/>
                        </a:lnTo>
                        <a:lnTo>
                          <a:pt x="32" y="354"/>
                        </a:lnTo>
                        <a:lnTo>
                          <a:pt x="32" y="355"/>
                        </a:lnTo>
                        <a:lnTo>
                          <a:pt x="33" y="355"/>
                        </a:lnTo>
                        <a:lnTo>
                          <a:pt x="34" y="355"/>
                        </a:lnTo>
                        <a:lnTo>
                          <a:pt x="35" y="355"/>
                        </a:lnTo>
                        <a:lnTo>
                          <a:pt x="36" y="356"/>
                        </a:lnTo>
                        <a:lnTo>
                          <a:pt x="37" y="356"/>
                        </a:lnTo>
                        <a:lnTo>
                          <a:pt x="38" y="357"/>
                        </a:lnTo>
                        <a:lnTo>
                          <a:pt x="39" y="358"/>
                        </a:lnTo>
                        <a:lnTo>
                          <a:pt x="42" y="370"/>
                        </a:lnTo>
                        <a:lnTo>
                          <a:pt x="56" y="386"/>
                        </a:lnTo>
                        <a:lnTo>
                          <a:pt x="55" y="386"/>
                        </a:lnTo>
                        <a:lnTo>
                          <a:pt x="55" y="385"/>
                        </a:lnTo>
                        <a:lnTo>
                          <a:pt x="55" y="384"/>
                        </a:lnTo>
                        <a:lnTo>
                          <a:pt x="55" y="383"/>
                        </a:lnTo>
                        <a:lnTo>
                          <a:pt x="55" y="382"/>
                        </a:lnTo>
                        <a:lnTo>
                          <a:pt x="55" y="381"/>
                        </a:lnTo>
                        <a:lnTo>
                          <a:pt x="56" y="381"/>
                        </a:lnTo>
                        <a:lnTo>
                          <a:pt x="56" y="380"/>
                        </a:lnTo>
                        <a:lnTo>
                          <a:pt x="56" y="379"/>
                        </a:lnTo>
                        <a:lnTo>
                          <a:pt x="56" y="378"/>
                        </a:lnTo>
                        <a:lnTo>
                          <a:pt x="56" y="377"/>
                        </a:lnTo>
                        <a:lnTo>
                          <a:pt x="56" y="376"/>
                        </a:lnTo>
                        <a:lnTo>
                          <a:pt x="57" y="376"/>
                        </a:lnTo>
                        <a:lnTo>
                          <a:pt x="57" y="375"/>
                        </a:lnTo>
                        <a:lnTo>
                          <a:pt x="58" y="374"/>
                        </a:lnTo>
                        <a:lnTo>
                          <a:pt x="58" y="373"/>
                        </a:lnTo>
                        <a:lnTo>
                          <a:pt x="59" y="373"/>
                        </a:lnTo>
                        <a:lnTo>
                          <a:pt x="59" y="372"/>
                        </a:lnTo>
                        <a:lnTo>
                          <a:pt x="59" y="371"/>
                        </a:lnTo>
                        <a:lnTo>
                          <a:pt x="60" y="370"/>
                        </a:lnTo>
                        <a:lnTo>
                          <a:pt x="61" y="370"/>
                        </a:lnTo>
                        <a:lnTo>
                          <a:pt x="62" y="370"/>
                        </a:lnTo>
                        <a:lnTo>
                          <a:pt x="62" y="369"/>
                        </a:lnTo>
                        <a:lnTo>
                          <a:pt x="63" y="369"/>
                        </a:lnTo>
                        <a:lnTo>
                          <a:pt x="64" y="369"/>
                        </a:lnTo>
                        <a:lnTo>
                          <a:pt x="64" y="368"/>
                        </a:lnTo>
                        <a:lnTo>
                          <a:pt x="65" y="368"/>
                        </a:lnTo>
                        <a:lnTo>
                          <a:pt x="66" y="367"/>
                        </a:lnTo>
                        <a:lnTo>
                          <a:pt x="67" y="367"/>
                        </a:lnTo>
                        <a:lnTo>
                          <a:pt x="68" y="367"/>
                        </a:lnTo>
                        <a:lnTo>
                          <a:pt x="69" y="367"/>
                        </a:lnTo>
                        <a:lnTo>
                          <a:pt x="70" y="367"/>
                        </a:lnTo>
                        <a:lnTo>
                          <a:pt x="71" y="367"/>
                        </a:lnTo>
                        <a:lnTo>
                          <a:pt x="72" y="367"/>
                        </a:lnTo>
                        <a:lnTo>
                          <a:pt x="72" y="366"/>
                        </a:lnTo>
                        <a:lnTo>
                          <a:pt x="73" y="366"/>
                        </a:lnTo>
                        <a:lnTo>
                          <a:pt x="74" y="366"/>
                        </a:lnTo>
                        <a:lnTo>
                          <a:pt x="74" y="367"/>
                        </a:lnTo>
                        <a:lnTo>
                          <a:pt x="75" y="367"/>
                        </a:lnTo>
                        <a:lnTo>
                          <a:pt x="260" y="370"/>
                        </a:lnTo>
                        <a:lnTo>
                          <a:pt x="262" y="338"/>
                        </a:lnTo>
                        <a:lnTo>
                          <a:pt x="252" y="335"/>
                        </a:lnTo>
                        <a:lnTo>
                          <a:pt x="229" y="148"/>
                        </a:lnTo>
                        <a:lnTo>
                          <a:pt x="220" y="56"/>
                        </a:lnTo>
                        <a:lnTo>
                          <a:pt x="212" y="0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" name="Freeform 9"/>
                  <p:cNvSpPr>
                    <a:spLocks/>
                  </p:cNvSpPr>
                  <p:nvPr/>
                </p:nvSpPr>
                <p:spPr bwMode="auto">
                  <a:xfrm>
                    <a:off x="771" y="1506"/>
                    <a:ext cx="686" cy="614"/>
                  </a:xfrm>
                  <a:custGeom>
                    <a:avLst/>
                    <a:gdLst>
                      <a:gd name="T0" fmla="*/ 52227 w 641"/>
                      <a:gd name="T1" fmla="*/ 5251 h 584"/>
                      <a:gd name="T2" fmla="*/ 52473 w 641"/>
                      <a:gd name="T3" fmla="*/ 5227 h 584"/>
                      <a:gd name="T4" fmla="*/ 52913 w 641"/>
                      <a:gd name="T5" fmla="*/ 5322 h 584"/>
                      <a:gd name="T6" fmla="*/ 52940 w 641"/>
                      <a:gd name="T7" fmla="*/ 5490 h 584"/>
                      <a:gd name="T8" fmla="*/ 52940 w 641"/>
                      <a:gd name="T9" fmla="*/ 5632 h 584"/>
                      <a:gd name="T10" fmla="*/ 52888 w 641"/>
                      <a:gd name="T11" fmla="*/ 5778 h 584"/>
                      <a:gd name="T12" fmla="*/ 52545 w 641"/>
                      <a:gd name="T13" fmla="*/ 5875 h 584"/>
                      <a:gd name="T14" fmla="*/ 52416 w 641"/>
                      <a:gd name="T15" fmla="*/ 6001 h 584"/>
                      <a:gd name="T16" fmla="*/ 52473 w 641"/>
                      <a:gd name="T17" fmla="*/ 6103 h 584"/>
                      <a:gd name="T18" fmla="*/ 52888 w 641"/>
                      <a:gd name="T19" fmla="*/ 6225 h 584"/>
                      <a:gd name="T20" fmla="*/ 53303 w 641"/>
                      <a:gd name="T21" fmla="*/ 6353 h 584"/>
                      <a:gd name="T22" fmla="*/ 53657 w 641"/>
                      <a:gd name="T23" fmla="*/ 6406 h 584"/>
                      <a:gd name="T24" fmla="*/ 56157 w 641"/>
                      <a:gd name="T25" fmla="*/ 9528 h 584"/>
                      <a:gd name="T26" fmla="*/ 55664 w 641"/>
                      <a:gd name="T27" fmla="*/ 9480 h 584"/>
                      <a:gd name="T28" fmla="*/ 55220 w 641"/>
                      <a:gd name="T29" fmla="*/ 9447 h 584"/>
                      <a:gd name="T30" fmla="*/ 54877 w 641"/>
                      <a:gd name="T31" fmla="*/ 9528 h 584"/>
                      <a:gd name="T32" fmla="*/ 54822 w 641"/>
                      <a:gd name="T33" fmla="*/ 9682 h 584"/>
                      <a:gd name="T34" fmla="*/ 54877 w 641"/>
                      <a:gd name="T35" fmla="*/ 9749 h 584"/>
                      <a:gd name="T36" fmla="*/ 46239 w 641"/>
                      <a:gd name="T37" fmla="*/ 10205 h 584"/>
                      <a:gd name="T38" fmla="*/ 26847 w 641"/>
                      <a:gd name="T39" fmla="*/ 13577 h 584"/>
                      <a:gd name="T40" fmla="*/ 26592 w 641"/>
                      <a:gd name="T41" fmla="*/ 13578 h 584"/>
                      <a:gd name="T42" fmla="*/ 26161 w 641"/>
                      <a:gd name="T43" fmla="*/ 13603 h 584"/>
                      <a:gd name="T44" fmla="*/ 25632 w 641"/>
                      <a:gd name="T45" fmla="*/ 13664 h 584"/>
                      <a:gd name="T46" fmla="*/ 25383 w 641"/>
                      <a:gd name="T47" fmla="*/ 13781 h 584"/>
                      <a:gd name="T48" fmla="*/ 24933 w 641"/>
                      <a:gd name="T49" fmla="*/ 13871 h 584"/>
                      <a:gd name="T50" fmla="*/ 24848 w 641"/>
                      <a:gd name="T51" fmla="*/ 13986 h 584"/>
                      <a:gd name="T52" fmla="*/ 24555 w 641"/>
                      <a:gd name="T53" fmla="*/ 14154 h 584"/>
                      <a:gd name="T54" fmla="*/ 24459 w 641"/>
                      <a:gd name="T55" fmla="*/ 14274 h 584"/>
                      <a:gd name="T56" fmla="*/ 24310 w 641"/>
                      <a:gd name="T57" fmla="*/ 14459 h 584"/>
                      <a:gd name="T58" fmla="*/ 21893 w 641"/>
                      <a:gd name="T59" fmla="*/ 15459 h 584"/>
                      <a:gd name="T60" fmla="*/ 21356 w 641"/>
                      <a:gd name="T61" fmla="*/ 15457 h 584"/>
                      <a:gd name="T62" fmla="*/ 20912 w 641"/>
                      <a:gd name="T63" fmla="*/ 15511 h 584"/>
                      <a:gd name="T64" fmla="*/ 20708 w 641"/>
                      <a:gd name="T65" fmla="*/ 15583 h 584"/>
                      <a:gd name="T66" fmla="*/ 20622 w 641"/>
                      <a:gd name="T67" fmla="*/ 15733 h 584"/>
                      <a:gd name="T68" fmla="*/ 17491 w 641"/>
                      <a:gd name="T69" fmla="*/ 15979 h 584"/>
                      <a:gd name="T70" fmla="*/ 11007 w 641"/>
                      <a:gd name="T71" fmla="*/ 14973 h 584"/>
                      <a:gd name="T72" fmla="*/ 9136 w 641"/>
                      <a:gd name="T73" fmla="*/ 13467 h 584"/>
                      <a:gd name="T74" fmla="*/ 3718 w 641"/>
                      <a:gd name="T75" fmla="*/ 13603 h 584"/>
                      <a:gd name="T76" fmla="*/ 3433 w 641"/>
                      <a:gd name="T77" fmla="*/ 13749 h 584"/>
                      <a:gd name="T78" fmla="*/ 3033 w 641"/>
                      <a:gd name="T79" fmla="*/ 13796 h 584"/>
                      <a:gd name="T80" fmla="*/ 2648 w 641"/>
                      <a:gd name="T81" fmla="*/ 13844 h 584"/>
                      <a:gd name="T82" fmla="*/ 2312 w 641"/>
                      <a:gd name="T83" fmla="*/ 13796 h 584"/>
                      <a:gd name="T84" fmla="*/ 2160 w 641"/>
                      <a:gd name="T85" fmla="*/ 13664 h 584"/>
                      <a:gd name="T86" fmla="*/ 2285 w 641"/>
                      <a:gd name="T87" fmla="*/ 13538 h 584"/>
                      <a:gd name="T88" fmla="*/ 1 w 641"/>
                      <a:gd name="T89" fmla="*/ 11859 h 584"/>
                      <a:gd name="T90" fmla="*/ 1864 w 641"/>
                      <a:gd name="T91" fmla="*/ 10072 h 584"/>
                      <a:gd name="T92" fmla="*/ 1521 w 641"/>
                      <a:gd name="T93" fmla="*/ 9971 h 584"/>
                      <a:gd name="T94" fmla="*/ 1328 w 641"/>
                      <a:gd name="T95" fmla="*/ 9771 h 584"/>
                      <a:gd name="T96" fmla="*/ 1328 w 641"/>
                      <a:gd name="T97" fmla="*/ 9685 h 584"/>
                      <a:gd name="T98" fmla="*/ 1628 w 641"/>
                      <a:gd name="T99" fmla="*/ 9563 h 584"/>
                      <a:gd name="T100" fmla="*/ 2160 w 641"/>
                      <a:gd name="T101" fmla="*/ 9575 h 584"/>
                      <a:gd name="T102" fmla="*/ 2617 w 641"/>
                      <a:gd name="T103" fmla="*/ 9682 h 584"/>
                      <a:gd name="T104" fmla="*/ 3208 w 641"/>
                      <a:gd name="T105" fmla="*/ 9698 h 584"/>
                      <a:gd name="T106" fmla="*/ 4819 w 641"/>
                      <a:gd name="T107" fmla="*/ 10540 h 584"/>
                      <a:gd name="T108" fmla="*/ 4877 w 641"/>
                      <a:gd name="T109" fmla="*/ 10412 h 584"/>
                      <a:gd name="T110" fmla="*/ 5030 w 641"/>
                      <a:gd name="T111" fmla="*/ 10205 h 584"/>
                      <a:gd name="T112" fmla="*/ 5383 w 641"/>
                      <a:gd name="T113" fmla="*/ 10067 h 584"/>
                      <a:gd name="T114" fmla="*/ 5761 w 641"/>
                      <a:gd name="T115" fmla="*/ 10053 h 584"/>
                      <a:gd name="T116" fmla="*/ 6297 w 641"/>
                      <a:gd name="T117" fmla="*/ 10025 h 584"/>
                      <a:gd name="T118" fmla="*/ 22855 w 641"/>
                      <a:gd name="T119" fmla="*/ 10067 h 584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w 641"/>
                      <a:gd name="T181" fmla="*/ 0 h 584"/>
                      <a:gd name="T182" fmla="*/ 641 w 641"/>
                      <a:gd name="T183" fmla="*/ 584 h 584"/>
                    </a:gdLst>
                    <a:ahLst/>
                    <a:cxnLst>
                      <a:cxn ang="T120">
                        <a:pos x="T0" y="T1"/>
                      </a:cxn>
                      <a:cxn ang="T121">
                        <a:pos x="T2" y="T3"/>
                      </a:cxn>
                      <a:cxn ang="T122">
                        <a:pos x="T4" y="T5"/>
                      </a:cxn>
                      <a:cxn ang="T123">
                        <a:pos x="T6" y="T7"/>
                      </a:cxn>
                      <a:cxn ang="T124">
                        <a:pos x="T8" y="T9"/>
                      </a:cxn>
                      <a:cxn ang="T125">
                        <a:pos x="T10" y="T11"/>
                      </a:cxn>
                      <a:cxn ang="T126">
                        <a:pos x="T12" y="T13"/>
                      </a:cxn>
                      <a:cxn ang="T127">
                        <a:pos x="T14" y="T15"/>
                      </a:cxn>
                      <a:cxn ang="T128">
                        <a:pos x="T16" y="T17"/>
                      </a:cxn>
                      <a:cxn ang="T129">
                        <a:pos x="T18" y="T19"/>
                      </a:cxn>
                      <a:cxn ang="T130">
                        <a:pos x="T20" y="T21"/>
                      </a:cxn>
                      <a:cxn ang="T131">
                        <a:pos x="T22" y="T23"/>
                      </a:cxn>
                      <a:cxn ang="T132">
                        <a:pos x="T24" y="T25"/>
                      </a:cxn>
                      <a:cxn ang="T133">
                        <a:pos x="T26" y="T27"/>
                      </a:cxn>
                      <a:cxn ang="T134">
                        <a:pos x="T28" y="T29"/>
                      </a:cxn>
                      <a:cxn ang="T135">
                        <a:pos x="T30" y="T31"/>
                      </a:cxn>
                      <a:cxn ang="T136">
                        <a:pos x="T32" y="T33"/>
                      </a:cxn>
                      <a:cxn ang="T137">
                        <a:pos x="T34" y="T35"/>
                      </a:cxn>
                      <a:cxn ang="T138">
                        <a:pos x="T36" y="T37"/>
                      </a:cxn>
                      <a:cxn ang="T139">
                        <a:pos x="T38" y="T39"/>
                      </a:cxn>
                      <a:cxn ang="T140">
                        <a:pos x="T40" y="T41"/>
                      </a:cxn>
                      <a:cxn ang="T141">
                        <a:pos x="T42" y="T43"/>
                      </a:cxn>
                      <a:cxn ang="T142">
                        <a:pos x="T44" y="T45"/>
                      </a:cxn>
                      <a:cxn ang="T143">
                        <a:pos x="T46" y="T47"/>
                      </a:cxn>
                      <a:cxn ang="T144">
                        <a:pos x="T48" y="T49"/>
                      </a:cxn>
                      <a:cxn ang="T145">
                        <a:pos x="T50" y="T51"/>
                      </a:cxn>
                      <a:cxn ang="T146">
                        <a:pos x="T52" y="T53"/>
                      </a:cxn>
                      <a:cxn ang="T147">
                        <a:pos x="T54" y="T55"/>
                      </a:cxn>
                      <a:cxn ang="T148">
                        <a:pos x="T56" y="T57"/>
                      </a:cxn>
                      <a:cxn ang="T149">
                        <a:pos x="T58" y="T59"/>
                      </a:cxn>
                      <a:cxn ang="T150">
                        <a:pos x="T60" y="T61"/>
                      </a:cxn>
                      <a:cxn ang="T151">
                        <a:pos x="T62" y="T63"/>
                      </a:cxn>
                      <a:cxn ang="T152">
                        <a:pos x="T64" y="T65"/>
                      </a:cxn>
                      <a:cxn ang="T153">
                        <a:pos x="T66" y="T67"/>
                      </a:cxn>
                      <a:cxn ang="T154">
                        <a:pos x="T68" y="T69"/>
                      </a:cxn>
                      <a:cxn ang="T155">
                        <a:pos x="T70" y="T71"/>
                      </a:cxn>
                      <a:cxn ang="T156">
                        <a:pos x="T72" y="T73"/>
                      </a:cxn>
                      <a:cxn ang="T157">
                        <a:pos x="T74" y="T75"/>
                      </a:cxn>
                      <a:cxn ang="T158">
                        <a:pos x="T76" y="T77"/>
                      </a:cxn>
                      <a:cxn ang="T159">
                        <a:pos x="T78" y="T79"/>
                      </a:cxn>
                      <a:cxn ang="T160">
                        <a:pos x="T80" y="T81"/>
                      </a:cxn>
                      <a:cxn ang="T161">
                        <a:pos x="T82" y="T83"/>
                      </a:cxn>
                      <a:cxn ang="T162">
                        <a:pos x="T84" y="T85"/>
                      </a:cxn>
                      <a:cxn ang="T163">
                        <a:pos x="T86" y="T87"/>
                      </a:cxn>
                      <a:cxn ang="T164">
                        <a:pos x="T88" y="T89"/>
                      </a:cxn>
                      <a:cxn ang="T165">
                        <a:pos x="T90" y="T91"/>
                      </a:cxn>
                      <a:cxn ang="T166">
                        <a:pos x="T92" y="T93"/>
                      </a:cxn>
                      <a:cxn ang="T167">
                        <a:pos x="T94" y="T95"/>
                      </a:cxn>
                      <a:cxn ang="T168">
                        <a:pos x="T96" y="T97"/>
                      </a:cxn>
                      <a:cxn ang="T169">
                        <a:pos x="T98" y="T99"/>
                      </a:cxn>
                      <a:cxn ang="T170">
                        <a:pos x="T100" y="T101"/>
                      </a:cxn>
                      <a:cxn ang="T171">
                        <a:pos x="T102" y="T103"/>
                      </a:cxn>
                      <a:cxn ang="T172">
                        <a:pos x="T104" y="T105"/>
                      </a:cxn>
                      <a:cxn ang="T173">
                        <a:pos x="T106" y="T107"/>
                      </a:cxn>
                      <a:cxn ang="T174">
                        <a:pos x="T108" y="T109"/>
                      </a:cxn>
                      <a:cxn ang="T175">
                        <a:pos x="T110" y="T111"/>
                      </a:cxn>
                      <a:cxn ang="T176">
                        <a:pos x="T112" y="T113"/>
                      </a:cxn>
                      <a:cxn ang="T177">
                        <a:pos x="T114" y="T115"/>
                      </a:cxn>
                      <a:cxn ang="T178">
                        <a:pos x="T116" y="T117"/>
                      </a:cxn>
                      <a:cxn ang="T179">
                        <a:pos x="T118" y="T119"/>
                      </a:cxn>
                    </a:cxnLst>
                    <a:rect l="T180" t="T181" r="T182" b="T183"/>
                    <a:pathLst>
                      <a:path w="641" h="584">
                        <a:moveTo>
                          <a:pt x="212" y="0"/>
                        </a:moveTo>
                        <a:lnTo>
                          <a:pt x="279" y="0"/>
                        </a:lnTo>
                        <a:lnTo>
                          <a:pt x="523" y="149"/>
                        </a:lnTo>
                        <a:lnTo>
                          <a:pt x="519" y="159"/>
                        </a:lnTo>
                        <a:lnTo>
                          <a:pt x="548" y="180"/>
                        </a:lnTo>
                        <a:lnTo>
                          <a:pt x="569" y="191"/>
                        </a:lnTo>
                        <a:lnTo>
                          <a:pt x="592" y="194"/>
                        </a:lnTo>
                        <a:lnTo>
                          <a:pt x="592" y="193"/>
                        </a:lnTo>
                        <a:lnTo>
                          <a:pt x="593" y="193"/>
                        </a:lnTo>
                        <a:lnTo>
                          <a:pt x="594" y="193"/>
                        </a:lnTo>
                        <a:lnTo>
                          <a:pt x="595" y="193"/>
                        </a:lnTo>
                        <a:lnTo>
                          <a:pt x="596" y="192"/>
                        </a:lnTo>
                        <a:lnTo>
                          <a:pt x="597" y="192"/>
                        </a:lnTo>
                        <a:lnTo>
                          <a:pt x="597" y="193"/>
                        </a:lnTo>
                        <a:lnTo>
                          <a:pt x="598" y="193"/>
                        </a:lnTo>
                        <a:lnTo>
                          <a:pt x="599" y="193"/>
                        </a:lnTo>
                        <a:lnTo>
                          <a:pt x="600" y="193"/>
                        </a:lnTo>
                        <a:lnTo>
                          <a:pt x="601" y="194"/>
                        </a:lnTo>
                        <a:lnTo>
                          <a:pt x="601" y="195"/>
                        </a:lnTo>
                        <a:lnTo>
                          <a:pt x="601" y="196"/>
                        </a:lnTo>
                        <a:lnTo>
                          <a:pt x="601" y="197"/>
                        </a:lnTo>
                        <a:lnTo>
                          <a:pt x="601" y="198"/>
                        </a:lnTo>
                        <a:lnTo>
                          <a:pt x="602" y="199"/>
                        </a:lnTo>
                        <a:lnTo>
                          <a:pt x="602" y="200"/>
                        </a:lnTo>
                        <a:lnTo>
                          <a:pt x="602" y="201"/>
                        </a:lnTo>
                        <a:lnTo>
                          <a:pt x="602" y="202"/>
                        </a:lnTo>
                        <a:lnTo>
                          <a:pt x="602" y="203"/>
                        </a:lnTo>
                        <a:lnTo>
                          <a:pt x="602" y="204"/>
                        </a:lnTo>
                        <a:lnTo>
                          <a:pt x="602" y="205"/>
                        </a:lnTo>
                        <a:lnTo>
                          <a:pt x="602" y="206"/>
                        </a:lnTo>
                        <a:lnTo>
                          <a:pt x="602" y="207"/>
                        </a:lnTo>
                        <a:lnTo>
                          <a:pt x="602" y="208"/>
                        </a:lnTo>
                        <a:lnTo>
                          <a:pt x="602" y="209"/>
                        </a:lnTo>
                        <a:lnTo>
                          <a:pt x="601" y="209"/>
                        </a:lnTo>
                        <a:lnTo>
                          <a:pt x="601" y="210"/>
                        </a:lnTo>
                        <a:lnTo>
                          <a:pt x="600" y="211"/>
                        </a:lnTo>
                        <a:lnTo>
                          <a:pt x="600" y="212"/>
                        </a:lnTo>
                        <a:lnTo>
                          <a:pt x="599" y="212"/>
                        </a:lnTo>
                        <a:lnTo>
                          <a:pt x="599" y="213"/>
                        </a:lnTo>
                        <a:lnTo>
                          <a:pt x="598" y="213"/>
                        </a:lnTo>
                        <a:lnTo>
                          <a:pt x="598" y="214"/>
                        </a:lnTo>
                        <a:lnTo>
                          <a:pt x="597" y="214"/>
                        </a:lnTo>
                        <a:lnTo>
                          <a:pt x="597" y="215"/>
                        </a:lnTo>
                        <a:lnTo>
                          <a:pt x="597" y="216"/>
                        </a:lnTo>
                        <a:lnTo>
                          <a:pt x="596" y="216"/>
                        </a:lnTo>
                        <a:lnTo>
                          <a:pt x="596" y="217"/>
                        </a:lnTo>
                        <a:lnTo>
                          <a:pt x="596" y="218"/>
                        </a:lnTo>
                        <a:lnTo>
                          <a:pt x="596" y="219"/>
                        </a:lnTo>
                        <a:lnTo>
                          <a:pt x="595" y="219"/>
                        </a:lnTo>
                        <a:lnTo>
                          <a:pt x="595" y="220"/>
                        </a:lnTo>
                        <a:lnTo>
                          <a:pt x="595" y="221"/>
                        </a:lnTo>
                        <a:lnTo>
                          <a:pt x="595" y="222"/>
                        </a:lnTo>
                        <a:lnTo>
                          <a:pt x="596" y="222"/>
                        </a:lnTo>
                        <a:lnTo>
                          <a:pt x="596" y="223"/>
                        </a:lnTo>
                        <a:lnTo>
                          <a:pt x="596" y="224"/>
                        </a:lnTo>
                        <a:lnTo>
                          <a:pt x="596" y="225"/>
                        </a:lnTo>
                        <a:lnTo>
                          <a:pt x="597" y="225"/>
                        </a:lnTo>
                        <a:lnTo>
                          <a:pt x="597" y="226"/>
                        </a:lnTo>
                        <a:lnTo>
                          <a:pt x="598" y="226"/>
                        </a:lnTo>
                        <a:lnTo>
                          <a:pt x="598" y="227"/>
                        </a:lnTo>
                        <a:lnTo>
                          <a:pt x="599" y="228"/>
                        </a:lnTo>
                        <a:lnTo>
                          <a:pt x="600" y="228"/>
                        </a:lnTo>
                        <a:lnTo>
                          <a:pt x="600" y="229"/>
                        </a:lnTo>
                        <a:lnTo>
                          <a:pt x="601" y="230"/>
                        </a:lnTo>
                        <a:lnTo>
                          <a:pt x="602" y="230"/>
                        </a:lnTo>
                        <a:lnTo>
                          <a:pt x="602" y="231"/>
                        </a:lnTo>
                        <a:lnTo>
                          <a:pt x="603" y="231"/>
                        </a:lnTo>
                        <a:lnTo>
                          <a:pt x="604" y="232"/>
                        </a:lnTo>
                        <a:lnTo>
                          <a:pt x="605" y="232"/>
                        </a:lnTo>
                        <a:lnTo>
                          <a:pt x="605" y="233"/>
                        </a:lnTo>
                        <a:lnTo>
                          <a:pt x="606" y="233"/>
                        </a:lnTo>
                        <a:lnTo>
                          <a:pt x="606" y="234"/>
                        </a:lnTo>
                        <a:lnTo>
                          <a:pt x="607" y="234"/>
                        </a:lnTo>
                        <a:lnTo>
                          <a:pt x="608" y="235"/>
                        </a:lnTo>
                        <a:lnTo>
                          <a:pt x="609" y="235"/>
                        </a:lnTo>
                        <a:lnTo>
                          <a:pt x="610" y="235"/>
                        </a:lnTo>
                        <a:lnTo>
                          <a:pt x="636" y="225"/>
                        </a:lnTo>
                        <a:lnTo>
                          <a:pt x="641" y="349"/>
                        </a:lnTo>
                        <a:lnTo>
                          <a:pt x="639" y="348"/>
                        </a:lnTo>
                        <a:lnTo>
                          <a:pt x="638" y="348"/>
                        </a:lnTo>
                        <a:lnTo>
                          <a:pt x="638" y="347"/>
                        </a:lnTo>
                        <a:lnTo>
                          <a:pt x="637" y="347"/>
                        </a:lnTo>
                        <a:lnTo>
                          <a:pt x="636" y="347"/>
                        </a:lnTo>
                        <a:lnTo>
                          <a:pt x="635" y="346"/>
                        </a:lnTo>
                        <a:lnTo>
                          <a:pt x="634" y="346"/>
                        </a:lnTo>
                        <a:lnTo>
                          <a:pt x="633" y="346"/>
                        </a:lnTo>
                        <a:lnTo>
                          <a:pt x="633" y="345"/>
                        </a:lnTo>
                        <a:lnTo>
                          <a:pt x="632" y="345"/>
                        </a:lnTo>
                        <a:lnTo>
                          <a:pt x="631" y="345"/>
                        </a:lnTo>
                        <a:lnTo>
                          <a:pt x="630" y="345"/>
                        </a:lnTo>
                        <a:lnTo>
                          <a:pt x="629" y="345"/>
                        </a:lnTo>
                        <a:lnTo>
                          <a:pt x="628" y="345"/>
                        </a:lnTo>
                        <a:lnTo>
                          <a:pt x="627" y="345"/>
                        </a:lnTo>
                        <a:lnTo>
                          <a:pt x="626" y="345"/>
                        </a:lnTo>
                        <a:lnTo>
                          <a:pt x="626" y="346"/>
                        </a:lnTo>
                        <a:lnTo>
                          <a:pt x="625" y="346"/>
                        </a:lnTo>
                        <a:lnTo>
                          <a:pt x="624" y="347"/>
                        </a:lnTo>
                        <a:lnTo>
                          <a:pt x="624" y="348"/>
                        </a:lnTo>
                        <a:lnTo>
                          <a:pt x="623" y="348"/>
                        </a:lnTo>
                        <a:lnTo>
                          <a:pt x="623" y="349"/>
                        </a:lnTo>
                        <a:lnTo>
                          <a:pt x="623" y="350"/>
                        </a:lnTo>
                        <a:lnTo>
                          <a:pt x="622" y="350"/>
                        </a:lnTo>
                        <a:lnTo>
                          <a:pt x="622" y="351"/>
                        </a:lnTo>
                        <a:lnTo>
                          <a:pt x="622" y="352"/>
                        </a:lnTo>
                        <a:lnTo>
                          <a:pt x="622" y="353"/>
                        </a:lnTo>
                        <a:lnTo>
                          <a:pt x="622" y="354"/>
                        </a:lnTo>
                        <a:lnTo>
                          <a:pt x="622" y="355"/>
                        </a:lnTo>
                        <a:lnTo>
                          <a:pt x="623" y="355"/>
                        </a:lnTo>
                        <a:lnTo>
                          <a:pt x="623" y="356"/>
                        </a:lnTo>
                        <a:lnTo>
                          <a:pt x="623" y="357"/>
                        </a:lnTo>
                        <a:lnTo>
                          <a:pt x="623" y="358"/>
                        </a:lnTo>
                        <a:lnTo>
                          <a:pt x="623" y="359"/>
                        </a:lnTo>
                        <a:lnTo>
                          <a:pt x="624" y="359"/>
                        </a:lnTo>
                        <a:lnTo>
                          <a:pt x="624" y="360"/>
                        </a:lnTo>
                        <a:lnTo>
                          <a:pt x="624" y="361"/>
                        </a:lnTo>
                        <a:lnTo>
                          <a:pt x="625" y="362"/>
                        </a:lnTo>
                        <a:lnTo>
                          <a:pt x="599" y="376"/>
                        </a:lnTo>
                        <a:lnTo>
                          <a:pt x="526" y="375"/>
                        </a:lnTo>
                        <a:lnTo>
                          <a:pt x="516" y="388"/>
                        </a:lnTo>
                        <a:lnTo>
                          <a:pt x="455" y="390"/>
                        </a:lnTo>
                        <a:lnTo>
                          <a:pt x="413" y="416"/>
                        </a:lnTo>
                        <a:lnTo>
                          <a:pt x="393" y="430"/>
                        </a:lnTo>
                        <a:lnTo>
                          <a:pt x="340" y="457"/>
                        </a:lnTo>
                        <a:lnTo>
                          <a:pt x="323" y="457"/>
                        </a:lnTo>
                        <a:lnTo>
                          <a:pt x="306" y="497"/>
                        </a:lnTo>
                        <a:lnTo>
                          <a:pt x="305" y="497"/>
                        </a:lnTo>
                        <a:lnTo>
                          <a:pt x="304" y="497"/>
                        </a:lnTo>
                        <a:lnTo>
                          <a:pt x="303" y="497"/>
                        </a:lnTo>
                        <a:lnTo>
                          <a:pt x="302" y="497"/>
                        </a:lnTo>
                        <a:lnTo>
                          <a:pt x="302" y="498"/>
                        </a:lnTo>
                        <a:lnTo>
                          <a:pt x="301" y="498"/>
                        </a:lnTo>
                        <a:lnTo>
                          <a:pt x="300" y="498"/>
                        </a:lnTo>
                        <a:lnTo>
                          <a:pt x="300" y="499"/>
                        </a:lnTo>
                        <a:lnTo>
                          <a:pt x="299" y="499"/>
                        </a:lnTo>
                        <a:lnTo>
                          <a:pt x="298" y="499"/>
                        </a:lnTo>
                        <a:lnTo>
                          <a:pt x="297" y="499"/>
                        </a:lnTo>
                        <a:lnTo>
                          <a:pt x="297" y="500"/>
                        </a:lnTo>
                        <a:lnTo>
                          <a:pt x="296" y="500"/>
                        </a:lnTo>
                        <a:lnTo>
                          <a:pt x="295" y="500"/>
                        </a:lnTo>
                        <a:lnTo>
                          <a:pt x="295" y="501"/>
                        </a:lnTo>
                        <a:lnTo>
                          <a:pt x="294" y="501"/>
                        </a:lnTo>
                        <a:lnTo>
                          <a:pt x="293" y="501"/>
                        </a:lnTo>
                        <a:lnTo>
                          <a:pt x="292" y="501"/>
                        </a:lnTo>
                        <a:lnTo>
                          <a:pt x="292" y="502"/>
                        </a:lnTo>
                        <a:lnTo>
                          <a:pt x="291" y="502"/>
                        </a:lnTo>
                        <a:lnTo>
                          <a:pt x="290" y="503"/>
                        </a:lnTo>
                        <a:lnTo>
                          <a:pt x="290" y="504"/>
                        </a:lnTo>
                        <a:lnTo>
                          <a:pt x="289" y="504"/>
                        </a:lnTo>
                        <a:lnTo>
                          <a:pt x="288" y="505"/>
                        </a:lnTo>
                        <a:lnTo>
                          <a:pt x="287" y="506"/>
                        </a:lnTo>
                        <a:lnTo>
                          <a:pt x="286" y="506"/>
                        </a:lnTo>
                        <a:lnTo>
                          <a:pt x="285" y="507"/>
                        </a:lnTo>
                        <a:lnTo>
                          <a:pt x="284" y="507"/>
                        </a:lnTo>
                        <a:lnTo>
                          <a:pt x="284" y="508"/>
                        </a:lnTo>
                        <a:lnTo>
                          <a:pt x="284" y="509"/>
                        </a:lnTo>
                        <a:lnTo>
                          <a:pt x="284" y="510"/>
                        </a:lnTo>
                        <a:lnTo>
                          <a:pt x="283" y="510"/>
                        </a:lnTo>
                        <a:lnTo>
                          <a:pt x="283" y="511"/>
                        </a:lnTo>
                        <a:lnTo>
                          <a:pt x="282" y="511"/>
                        </a:lnTo>
                        <a:lnTo>
                          <a:pt x="281" y="512"/>
                        </a:lnTo>
                        <a:lnTo>
                          <a:pt x="281" y="513"/>
                        </a:lnTo>
                        <a:lnTo>
                          <a:pt x="280" y="514"/>
                        </a:lnTo>
                        <a:lnTo>
                          <a:pt x="280" y="515"/>
                        </a:lnTo>
                        <a:lnTo>
                          <a:pt x="279" y="516"/>
                        </a:lnTo>
                        <a:lnTo>
                          <a:pt x="279" y="517"/>
                        </a:lnTo>
                        <a:lnTo>
                          <a:pt x="279" y="518"/>
                        </a:lnTo>
                        <a:lnTo>
                          <a:pt x="279" y="519"/>
                        </a:lnTo>
                        <a:lnTo>
                          <a:pt x="279" y="520"/>
                        </a:lnTo>
                        <a:lnTo>
                          <a:pt x="278" y="520"/>
                        </a:lnTo>
                        <a:lnTo>
                          <a:pt x="278" y="521"/>
                        </a:lnTo>
                        <a:lnTo>
                          <a:pt x="278" y="522"/>
                        </a:lnTo>
                        <a:lnTo>
                          <a:pt x="278" y="523"/>
                        </a:lnTo>
                        <a:lnTo>
                          <a:pt x="277" y="524"/>
                        </a:lnTo>
                        <a:lnTo>
                          <a:pt x="277" y="525"/>
                        </a:lnTo>
                        <a:lnTo>
                          <a:pt x="277" y="526"/>
                        </a:lnTo>
                        <a:lnTo>
                          <a:pt x="277" y="527"/>
                        </a:lnTo>
                        <a:lnTo>
                          <a:pt x="277" y="528"/>
                        </a:lnTo>
                        <a:lnTo>
                          <a:pt x="277" y="529"/>
                        </a:lnTo>
                        <a:lnTo>
                          <a:pt x="277" y="530"/>
                        </a:lnTo>
                        <a:lnTo>
                          <a:pt x="277" y="531"/>
                        </a:lnTo>
                        <a:lnTo>
                          <a:pt x="277" y="532"/>
                        </a:lnTo>
                        <a:lnTo>
                          <a:pt x="269" y="547"/>
                        </a:lnTo>
                        <a:lnTo>
                          <a:pt x="269" y="570"/>
                        </a:lnTo>
                        <a:lnTo>
                          <a:pt x="249" y="567"/>
                        </a:lnTo>
                        <a:lnTo>
                          <a:pt x="248" y="566"/>
                        </a:lnTo>
                        <a:lnTo>
                          <a:pt x="247" y="566"/>
                        </a:lnTo>
                        <a:lnTo>
                          <a:pt x="246" y="566"/>
                        </a:lnTo>
                        <a:lnTo>
                          <a:pt x="245" y="566"/>
                        </a:lnTo>
                        <a:lnTo>
                          <a:pt x="244" y="566"/>
                        </a:lnTo>
                        <a:lnTo>
                          <a:pt x="243" y="566"/>
                        </a:lnTo>
                        <a:lnTo>
                          <a:pt x="242" y="566"/>
                        </a:lnTo>
                        <a:lnTo>
                          <a:pt x="241" y="566"/>
                        </a:lnTo>
                        <a:lnTo>
                          <a:pt x="241" y="567"/>
                        </a:lnTo>
                        <a:lnTo>
                          <a:pt x="240" y="567"/>
                        </a:lnTo>
                        <a:lnTo>
                          <a:pt x="239" y="567"/>
                        </a:lnTo>
                        <a:lnTo>
                          <a:pt x="239" y="568"/>
                        </a:lnTo>
                        <a:lnTo>
                          <a:pt x="238" y="568"/>
                        </a:lnTo>
                        <a:lnTo>
                          <a:pt x="237" y="568"/>
                        </a:lnTo>
                        <a:lnTo>
                          <a:pt x="236" y="568"/>
                        </a:lnTo>
                        <a:lnTo>
                          <a:pt x="236" y="569"/>
                        </a:lnTo>
                        <a:lnTo>
                          <a:pt x="236" y="570"/>
                        </a:lnTo>
                        <a:lnTo>
                          <a:pt x="236" y="571"/>
                        </a:lnTo>
                        <a:lnTo>
                          <a:pt x="235" y="571"/>
                        </a:lnTo>
                        <a:lnTo>
                          <a:pt x="235" y="572"/>
                        </a:lnTo>
                        <a:lnTo>
                          <a:pt x="235" y="573"/>
                        </a:lnTo>
                        <a:lnTo>
                          <a:pt x="235" y="574"/>
                        </a:lnTo>
                        <a:lnTo>
                          <a:pt x="234" y="574"/>
                        </a:lnTo>
                        <a:lnTo>
                          <a:pt x="234" y="575"/>
                        </a:lnTo>
                        <a:lnTo>
                          <a:pt x="234" y="576"/>
                        </a:lnTo>
                        <a:lnTo>
                          <a:pt x="234" y="577"/>
                        </a:lnTo>
                        <a:lnTo>
                          <a:pt x="234" y="578"/>
                        </a:lnTo>
                        <a:lnTo>
                          <a:pt x="234" y="579"/>
                        </a:lnTo>
                        <a:lnTo>
                          <a:pt x="226" y="558"/>
                        </a:lnTo>
                        <a:lnTo>
                          <a:pt x="217" y="563"/>
                        </a:lnTo>
                        <a:lnTo>
                          <a:pt x="212" y="572"/>
                        </a:lnTo>
                        <a:lnTo>
                          <a:pt x="199" y="584"/>
                        </a:lnTo>
                        <a:lnTo>
                          <a:pt x="183" y="578"/>
                        </a:lnTo>
                        <a:lnTo>
                          <a:pt x="174" y="565"/>
                        </a:lnTo>
                        <a:lnTo>
                          <a:pt x="156" y="580"/>
                        </a:lnTo>
                        <a:lnTo>
                          <a:pt x="149" y="565"/>
                        </a:lnTo>
                        <a:lnTo>
                          <a:pt x="141" y="549"/>
                        </a:lnTo>
                        <a:lnTo>
                          <a:pt x="145" y="546"/>
                        </a:lnTo>
                        <a:lnTo>
                          <a:pt x="125" y="549"/>
                        </a:lnTo>
                        <a:lnTo>
                          <a:pt x="141" y="529"/>
                        </a:lnTo>
                        <a:lnTo>
                          <a:pt x="132" y="525"/>
                        </a:lnTo>
                        <a:lnTo>
                          <a:pt x="124" y="522"/>
                        </a:lnTo>
                        <a:lnTo>
                          <a:pt x="123" y="490"/>
                        </a:lnTo>
                        <a:lnTo>
                          <a:pt x="107" y="490"/>
                        </a:lnTo>
                        <a:lnTo>
                          <a:pt x="103" y="480"/>
                        </a:lnTo>
                        <a:lnTo>
                          <a:pt x="104" y="494"/>
                        </a:lnTo>
                        <a:lnTo>
                          <a:pt x="91" y="508"/>
                        </a:lnTo>
                        <a:lnTo>
                          <a:pt x="65" y="494"/>
                        </a:lnTo>
                        <a:lnTo>
                          <a:pt x="51" y="515"/>
                        </a:lnTo>
                        <a:lnTo>
                          <a:pt x="44" y="499"/>
                        </a:lnTo>
                        <a:lnTo>
                          <a:pt x="43" y="499"/>
                        </a:lnTo>
                        <a:lnTo>
                          <a:pt x="43" y="500"/>
                        </a:lnTo>
                        <a:lnTo>
                          <a:pt x="42" y="500"/>
                        </a:lnTo>
                        <a:lnTo>
                          <a:pt x="42" y="501"/>
                        </a:lnTo>
                        <a:lnTo>
                          <a:pt x="41" y="501"/>
                        </a:lnTo>
                        <a:lnTo>
                          <a:pt x="40" y="501"/>
                        </a:lnTo>
                        <a:lnTo>
                          <a:pt x="40" y="502"/>
                        </a:lnTo>
                        <a:lnTo>
                          <a:pt x="39" y="502"/>
                        </a:lnTo>
                        <a:lnTo>
                          <a:pt x="38" y="503"/>
                        </a:lnTo>
                        <a:lnTo>
                          <a:pt x="38" y="504"/>
                        </a:lnTo>
                        <a:lnTo>
                          <a:pt x="37" y="504"/>
                        </a:lnTo>
                        <a:lnTo>
                          <a:pt x="37" y="505"/>
                        </a:lnTo>
                        <a:lnTo>
                          <a:pt x="36" y="505"/>
                        </a:lnTo>
                        <a:lnTo>
                          <a:pt x="36" y="506"/>
                        </a:lnTo>
                        <a:lnTo>
                          <a:pt x="35" y="506"/>
                        </a:lnTo>
                        <a:lnTo>
                          <a:pt x="34" y="506"/>
                        </a:lnTo>
                        <a:lnTo>
                          <a:pt x="33" y="506"/>
                        </a:lnTo>
                        <a:lnTo>
                          <a:pt x="32" y="507"/>
                        </a:lnTo>
                        <a:lnTo>
                          <a:pt x="31" y="507"/>
                        </a:lnTo>
                        <a:lnTo>
                          <a:pt x="31" y="508"/>
                        </a:lnTo>
                        <a:lnTo>
                          <a:pt x="30" y="508"/>
                        </a:lnTo>
                        <a:lnTo>
                          <a:pt x="29" y="508"/>
                        </a:lnTo>
                        <a:lnTo>
                          <a:pt x="28" y="508"/>
                        </a:lnTo>
                        <a:lnTo>
                          <a:pt x="28" y="507"/>
                        </a:lnTo>
                        <a:lnTo>
                          <a:pt x="27" y="507"/>
                        </a:lnTo>
                        <a:lnTo>
                          <a:pt x="27" y="506"/>
                        </a:lnTo>
                        <a:lnTo>
                          <a:pt x="26" y="506"/>
                        </a:lnTo>
                        <a:lnTo>
                          <a:pt x="26" y="505"/>
                        </a:lnTo>
                        <a:lnTo>
                          <a:pt x="26" y="504"/>
                        </a:lnTo>
                        <a:lnTo>
                          <a:pt x="26" y="503"/>
                        </a:lnTo>
                        <a:lnTo>
                          <a:pt x="25" y="502"/>
                        </a:lnTo>
                        <a:lnTo>
                          <a:pt x="25" y="501"/>
                        </a:lnTo>
                        <a:lnTo>
                          <a:pt x="25" y="500"/>
                        </a:lnTo>
                        <a:lnTo>
                          <a:pt x="26" y="500"/>
                        </a:lnTo>
                        <a:lnTo>
                          <a:pt x="26" y="499"/>
                        </a:lnTo>
                        <a:lnTo>
                          <a:pt x="26" y="498"/>
                        </a:lnTo>
                        <a:lnTo>
                          <a:pt x="26" y="497"/>
                        </a:lnTo>
                        <a:lnTo>
                          <a:pt x="26" y="496"/>
                        </a:lnTo>
                        <a:lnTo>
                          <a:pt x="26" y="495"/>
                        </a:lnTo>
                        <a:lnTo>
                          <a:pt x="26" y="494"/>
                        </a:lnTo>
                        <a:lnTo>
                          <a:pt x="27" y="494"/>
                        </a:lnTo>
                        <a:lnTo>
                          <a:pt x="24" y="457"/>
                        </a:lnTo>
                        <a:lnTo>
                          <a:pt x="11" y="453"/>
                        </a:lnTo>
                        <a:lnTo>
                          <a:pt x="1" y="435"/>
                        </a:lnTo>
                        <a:lnTo>
                          <a:pt x="0" y="396"/>
                        </a:lnTo>
                        <a:lnTo>
                          <a:pt x="9" y="382"/>
                        </a:lnTo>
                        <a:lnTo>
                          <a:pt x="22" y="375"/>
                        </a:lnTo>
                        <a:lnTo>
                          <a:pt x="22" y="374"/>
                        </a:lnTo>
                        <a:lnTo>
                          <a:pt x="22" y="373"/>
                        </a:lnTo>
                        <a:lnTo>
                          <a:pt x="21" y="372"/>
                        </a:lnTo>
                        <a:lnTo>
                          <a:pt x="21" y="371"/>
                        </a:lnTo>
                        <a:lnTo>
                          <a:pt x="20" y="370"/>
                        </a:lnTo>
                        <a:lnTo>
                          <a:pt x="19" y="369"/>
                        </a:lnTo>
                        <a:lnTo>
                          <a:pt x="19" y="368"/>
                        </a:lnTo>
                        <a:lnTo>
                          <a:pt x="18" y="367"/>
                        </a:lnTo>
                        <a:lnTo>
                          <a:pt x="18" y="366"/>
                        </a:lnTo>
                        <a:lnTo>
                          <a:pt x="18" y="365"/>
                        </a:lnTo>
                        <a:lnTo>
                          <a:pt x="17" y="365"/>
                        </a:lnTo>
                        <a:lnTo>
                          <a:pt x="17" y="364"/>
                        </a:lnTo>
                        <a:lnTo>
                          <a:pt x="17" y="363"/>
                        </a:lnTo>
                        <a:lnTo>
                          <a:pt x="16" y="363"/>
                        </a:lnTo>
                        <a:lnTo>
                          <a:pt x="16" y="362"/>
                        </a:lnTo>
                        <a:lnTo>
                          <a:pt x="16" y="361"/>
                        </a:lnTo>
                        <a:lnTo>
                          <a:pt x="16" y="360"/>
                        </a:lnTo>
                        <a:lnTo>
                          <a:pt x="16" y="359"/>
                        </a:lnTo>
                        <a:lnTo>
                          <a:pt x="16" y="358"/>
                        </a:lnTo>
                        <a:lnTo>
                          <a:pt x="16" y="357"/>
                        </a:lnTo>
                        <a:lnTo>
                          <a:pt x="16" y="356"/>
                        </a:lnTo>
                        <a:lnTo>
                          <a:pt x="16" y="355"/>
                        </a:lnTo>
                        <a:lnTo>
                          <a:pt x="16" y="354"/>
                        </a:lnTo>
                        <a:lnTo>
                          <a:pt x="16" y="353"/>
                        </a:lnTo>
                        <a:lnTo>
                          <a:pt x="17" y="352"/>
                        </a:lnTo>
                        <a:lnTo>
                          <a:pt x="18" y="352"/>
                        </a:lnTo>
                        <a:lnTo>
                          <a:pt x="18" y="351"/>
                        </a:lnTo>
                        <a:lnTo>
                          <a:pt x="19" y="351"/>
                        </a:lnTo>
                        <a:lnTo>
                          <a:pt x="20" y="351"/>
                        </a:lnTo>
                        <a:lnTo>
                          <a:pt x="21" y="351"/>
                        </a:lnTo>
                        <a:lnTo>
                          <a:pt x="22" y="351"/>
                        </a:lnTo>
                        <a:lnTo>
                          <a:pt x="23" y="351"/>
                        </a:lnTo>
                        <a:lnTo>
                          <a:pt x="24" y="351"/>
                        </a:lnTo>
                        <a:lnTo>
                          <a:pt x="25" y="352"/>
                        </a:lnTo>
                        <a:lnTo>
                          <a:pt x="26" y="352"/>
                        </a:lnTo>
                        <a:lnTo>
                          <a:pt x="27" y="352"/>
                        </a:lnTo>
                        <a:lnTo>
                          <a:pt x="27" y="353"/>
                        </a:lnTo>
                        <a:lnTo>
                          <a:pt x="28" y="353"/>
                        </a:lnTo>
                        <a:lnTo>
                          <a:pt x="29" y="353"/>
                        </a:lnTo>
                        <a:lnTo>
                          <a:pt x="30" y="354"/>
                        </a:lnTo>
                        <a:lnTo>
                          <a:pt x="31" y="354"/>
                        </a:lnTo>
                        <a:lnTo>
                          <a:pt x="32" y="354"/>
                        </a:lnTo>
                        <a:lnTo>
                          <a:pt x="32" y="355"/>
                        </a:lnTo>
                        <a:lnTo>
                          <a:pt x="33" y="355"/>
                        </a:lnTo>
                        <a:lnTo>
                          <a:pt x="34" y="355"/>
                        </a:lnTo>
                        <a:lnTo>
                          <a:pt x="35" y="355"/>
                        </a:lnTo>
                        <a:lnTo>
                          <a:pt x="36" y="356"/>
                        </a:lnTo>
                        <a:lnTo>
                          <a:pt x="37" y="356"/>
                        </a:lnTo>
                        <a:lnTo>
                          <a:pt x="38" y="357"/>
                        </a:lnTo>
                        <a:lnTo>
                          <a:pt x="39" y="358"/>
                        </a:lnTo>
                        <a:lnTo>
                          <a:pt x="42" y="370"/>
                        </a:lnTo>
                        <a:lnTo>
                          <a:pt x="56" y="386"/>
                        </a:lnTo>
                        <a:lnTo>
                          <a:pt x="55" y="386"/>
                        </a:lnTo>
                        <a:lnTo>
                          <a:pt x="55" y="385"/>
                        </a:lnTo>
                        <a:lnTo>
                          <a:pt x="55" y="384"/>
                        </a:lnTo>
                        <a:lnTo>
                          <a:pt x="55" y="383"/>
                        </a:lnTo>
                        <a:lnTo>
                          <a:pt x="55" y="382"/>
                        </a:lnTo>
                        <a:lnTo>
                          <a:pt x="55" y="381"/>
                        </a:lnTo>
                        <a:lnTo>
                          <a:pt x="56" y="381"/>
                        </a:lnTo>
                        <a:lnTo>
                          <a:pt x="56" y="380"/>
                        </a:lnTo>
                        <a:lnTo>
                          <a:pt x="56" y="379"/>
                        </a:lnTo>
                        <a:lnTo>
                          <a:pt x="56" y="378"/>
                        </a:lnTo>
                        <a:lnTo>
                          <a:pt x="56" y="377"/>
                        </a:lnTo>
                        <a:lnTo>
                          <a:pt x="56" y="376"/>
                        </a:lnTo>
                        <a:lnTo>
                          <a:pt x="57" y="376"/>
                        </a:lnTo>
                        <a:lnTo>
                          <a:pt x="57" y="375"/>
                        </a:lnTo>
                        <a:lnTo>
                          <a:pt x="58" y="374"/>
                        </a:lnTo>
                        <a:lnTo>
                          <a:pt x="58" y="373"/>
                        </a:lnTo>
                        <a:lnTo>
                          <a:pt x="59" y="373"/>
                        </a:lnTo>
                        <a:lnTo>
                          <a:pt x="59" y="372"/>
                        </a:lnTo>
                        <a:lnTo>
                          <a:pt x="59" y="371"/>
                        </a:lnTo>
                        <a:lnTo>
                          <a:pt x="60" y="370"/>
                        </a:lnTo>
                        <a:lnTo>
                          <a:pt x="61" y="370"/>
                        </a:lnTo>
                        <a:lnTo>
                          <a:pt x="62" y="370"/>
                        </a:lnTo>
                        <a:lnTo>
                          <a:pt x="62" y="369"/>
                        </a:lnTo>
                        <a:lnTo>
                          <a:pt x="63" y="369"/>
                        </a:lnTo>
                        <a:lnTo>
                          <a:pt x="64" y="369"/>
                        </a:lnTo>
                        <a:lnTo>
                          <a:pt x="64" y="368"/>
                        </a:lnTo>
                        <a:lnTo>
                          <a:pt x="65" y="368"/>
                        </a:lnTo>
                        <a:lnTo>
                          <a:pt x="66" y="367"/>
                        </a:lnTo>
                        <a:lnTo>
                          <a:pt x="67" y="367"/>
                        </a:lnTo>
                        <a:lnTo>
                          <a:pt x="68" y="367"/>
                        </a:lnTo>
                        <a:lnTo>
                          <a:pt x="69" y="367"/>
                        </a:lnTo>
                        <a:lnTo>
                          <a:pt x="70" y="367"/>
                        </a:lnTo>
                        <a:lnTo>
                          <a:pt x="71" y="367"/>
                        </a:lnTo>
                        <a:lnTo>
                          <a:pt x="72" y="367"/>
                        </a:lnTo>
                        <a:lnTo>
                          <a:pt x="72" y="366"/>
                        </a:lnTo>
                        <a:lnTo>
                          <a:pt x="73" y="366"/>
                        </a:lnTo>
                        <a:lnTo>
                          <a:pt x="74" y="366"/>
                        </a:lnTo>
                        <a:lnTo>
                          <a:pt x="74" y="367"/>
                        </a:lnTo>
                        <a:lnTo>
                          <a:pt x="75" y="367"/>
                        </a:lnTo>
                        <a:lnTo>
                          <a:pt x="260" y="370"/>
                        </a:lnTo>
                        <a:lnTo>
                          <a:pt x="262" y="338"/>
                        </a:lnTo>
                        <a:lnTo>
                          <a:pt x="252" y="335"/>
                        </a:lnTo>
                        <a:lnTo>
                          <a:pt x="229" y="148"/>
                        </a:lnTo>
                        <a:lnTo>
                          <a:pt x="220" y="56"/>
                        </a:lnTo>
                        <a:lnTo>
                          <a:pt x="212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12" name="Picture 10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77" y="2907"/>
                    <a:ext cx="73" cy="21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3" name="Picture 11"/>
                  <p:cNvPicPr>
                    <a:picLocks noChangeAspect="1" noChangeArrowheads="1"/>
                  </p:cNvPicPr>
                  <p:nvPr/>
                </p:nvPicPr>
                <p:blipFill>
                  <a:blip r:embed="rId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677" y="2907"/>
                    <a:ext cx="73" cy="21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4" name="Freeform 12"/>
                  <p:cNvSpPr>
                    <a:spLocks/>
                  </p:cNvSpPr>
                  <p:nvPr/>
                </p:nvSpPr>
                <p:spPr bwMode="auto">
                  <a:xfrm>
                    <a:off x="2683" y="2913"/>
                    <a:ext cx="55" cy="195"/>
                  </a:xfrm>
                  <a:custGeom>
                    <a:avLst/>
                    <a:gdLst>
                      <a:gd name="T0" fmla="*/ 0 w 52"/>
                      <a:gd name="T1" fmla="*/ 10 h 186"/>
                      <a:gd name="T2" fmla="*/ 5 w 52"/>
                      <a:gd name="T3" fmla="*/ 0 h 186"/>
                      <a:gd name="T4" fmla="*/ 877 w 52"/>
                      <a:gd name="T5" fmla="*/ 10 h 186"/>
                      <a:gd name="T6" fmla="*/ 1113 w 52"/>
                      <a:gd name="T7" fmla="*/ 570 h 186"/>
                      <a:gd name="T8" fmla="*/ 1300 w 52"/>
                      <a:gd name="T9" fmla="*/ 1004 h 186"/>
                      <a:gd name="T10" fmla="*/ 1300 w 52"/>
                      <a:gd name="T11" fmla="*/ 1334 h 186"/>
                      <a:gd name="T12" fmla="*/ 1558 w 52"/>
                      <a:gd name="T13" fmla="*/ 1473 h 186"/>
                      <a:gd name="T14" fmla="*/ 1743 w 52"/>
                      <a:gd name="T15" fmla="*/ 1708 h 186"/>
                      <a:gd name="T16" fmla="*/ 1375 w 52"/>
                      <a:gd name="T17" fmla="*/ 2245 h 186"/>
                      <a:gd name="T18" fmla="*/ 1300 w 52"/>
                      <a:gd name="T19" fmla="*/ 2596 h 186"/>
                      <a:gd name="T20" fmla="*/ 1375 w 52"/>
                      <a:gd name="T21" fmla="*/ 2980 h 186"/>
                      <a:gd name="T22" fmla="*/ 1454 w 52"/>
                      <a:gd name="T23" fmla="*/ 3275 h 186"/>
                      <a:gd name="T24" fmla="*/ 1473 w 52"/>
                      <a:gd name="T25" fmla="*/ 3435 h 186"/>
                      <a:gd name="T26" fmla="*/ 1473 w 52"/>
                      <a:gd name="T27" fmla="*/ 3615 h 186"/>
                      <a:gd name="T28" fmla="*/ 1743 w 52"/>
                      <a:gd name="T29" fmla="*/ 3646 h 186"/>
                      <a:gd name="T30" fmla="*/ 2107 w 52"/>
                      <a:gd name="T31" fmla="*/ 4113 h 186"/>
                      <a:gd name="T32" fmla="*/ 2036 w 52"/>
                      <a:gd name="T33" fmla="*/ 4196 h 186"/>
                      <a:gd name="T34" fmla="*/ 1820 w 52"/>
                      <a:gd name="T35" fmla="*/ 4007 h 186"/>
                      <a:gd name="T36" fmla="*/ 1558 w 52"/>
                      <a:gd name="T37" fmla="*/ 3923 h 186"/>
                      <a:gd name="T38" fmla="*/ 1375 w 52"/>
                      <a:gd name="T39" fmla="*/ 4007 h 186"/>
                      <a:gd name="T40" fmla="*/ 1177 w 52"/>
                      <a:gd name="T41" fmla="*/ 4007 h 186"/>
                      <a:gd name="T42" fmla="*/ 1099 w 52"/>
                      <a:gd name="T43" fmla="*/ 3956 h 186"/>
                      <a:gd name="T44" fmla="*/ 1099 w 52"/>
                      <a:gd name="T45" fmla="*/ 3790 h 186"/>
                      <a:gd name="T46" fmla="*/ 1099 w 52"/>
                      <a:gd name="T47" fmla="*/ 3641 h 186"/>
                      <a:gd name="T48" fmla="*/ 829 w 52"/>
                      <a:gd name="T49" fmla="*/ 3473 h 186"/>
                      <a:gd name="T50" fmla="*/ 663 w 52"/>
                      <a:gd name="T51" fmla="*/ 3276 h 186"/>
                      <a:gd name="T52" fmla="*/ 627 w 52"/>
                      <a:gd name="T53" fmla="*/ 3098 h 186"/>
                      <a:gd name="T54" fmla="*/ 4 w 52"/>
                      <a:gd name="T55" fmla="*/ 2362 h 186"/>
                      <a:gd name="T56" fmla="*/ 5 w 52"/>
                      <a:gd name="T57" fmla="*/ 2226 h 186"/>
                      <a:gd name="T58" fmla="*/ 474 w 52"/>
                      <a:gd name="T59" fmla="*/ 2025 h 186"/>
                      <a:gd name="T60" fmla="*/ 561 w 52"/>
                      <a:gd name="T61" fmla="*/ 1272 h 186"/>
                      <a:gd name="T62" fmla="*/ 561 w 52"/>
                      <a:gd name="T63" fmla="*/ 826 h 186"/>
                      <a:gd name="T64" fmla="*/ 474 w 52"/>
                      <a:gd name="T65" fmla="*/ 570 h 186"/>
                      <a:gd name="T66" fmla="*/ 5 w 52"/>
                      <a:gd name="T67" fmla="*/ 495 h 18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52"/>
                      <a:gd name="T103" fmla="*/ 0 h 186"/>
                      <a:gd name="T104" fmla="*/ 52 w 52"/>
                      <a:gd name="T105" fmla="*/ 186 h 18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52" h="186">
                        <a:moveTo>
                          <a:pt x="0" y="14"/>
                        </a:moveTo>
                        <a:lnTo>
                          <a:pt x="0" y="10"/>
                        </a:lnTo>
                        <a:lnTo>
                          <a:pt x="1" y="4"/>
                        </a:lnTo>
                        <a:lnTo>
                          <a:pt x="5" y="0"/>
                        </a:lnTo>
                        <a:lnTo>
                          <a:pt x="14" y="1"/>
                        </a:lnTo>
                        <a:lnTo>
                          <a:pt x="22" y="10"/>
                        </a:lnTo>
                        <a:lnTo>
                          <a:pt x="24" y="14"/>
                        </a:lnTo>
                        <a:lnTo>
                          <a:pt x="27" y="26"/>
                        </a:lnTo>
                        <a:lnTo>
                          <a:pt x="29" y="39"/>
                        </a:lnTo>
                        <a:lnTo>
                          <a:pt x="32" y="45"/>
                        </a:lnTo>
                        <a:lnTo>
                          <a:pt x="31" y="58"/>
                        </a:lnTo>
                        <a:lnTo>
                          <a:pt x="32" y="59"/>
                        </a:lnTo>
                        <a:lnTo>
                          <a:pt x="36" y="64"/>
                        </a:lnTo>
                        <a:lnTo>
                          <a:pt x="39" y="66"/>
                        </a:lnTo>
                        <a:lnTo>
                          <a:pt x="43" y="73"/>
                        </a:lnTo>
                        <a:lnTo>
                          <a:pt x="43" y="76"/>
                        </a:lnTo>
                        <a:lnTo>
                          <a:pt x="40" y="88"/>
                        </a:lnTo>
                        <a:lnTo>
                          <a:pt x="34" y="99"/>
                        </a:lnTo>
                        <a:lnTo>
                          <a:pt x="32" y="110"/>
                        </a:lnTo>
                        <a:lnTo>
                          <a:pt x="32" y="115"/>
                        </a:lnTo>
                        <a:lnTo>
                          <a:pt x="34" y="120"/>
                        </a:lnTo>
                        <a:lnTo>
                          <a:pt x="34" y="131"/>
                        </a:lnTo>
                        <a:lnTo>
                          <a:pt x="36" y="137"/>
                        </a:lnTo>
                        <a:lnTo>
                          <a:pt x="36" y="144"/>
                        </a:lnTo>
                        <a:lnTo>
                          <a:pt x="37" y="151"/>
                        </a:lnTo>
                        <a:lnTo>
                          <a:pt x="37" y="152"/>
                        </a:lnTo>
                        <a:lnTo>
                          <a:pt x="37" y="157"/>
                        </a:lnTo>
                        <a:lnTo>
                          <a:pt x="37" y="160"/>
                        </a:lnTo>
                        <a:lnTo>
                          <a:pt x="39" y="161"/>
                        </a:lnTo>
                        <a:lnTo>
                          <a:pt x="43" y="162"/>
                        </a:lnTo>
                        <a:lnTo>
                          <a:pt x="44" y="164"/>
                        </a:lnTo>
                        <a:lnTo>
                          <a:pt x="52" y="180"/>
                        </a:lnTo>
                        <a:lnTo>
                          <a:pt x="52" y="185"/>
                        </a:lnTo>
                        <a:lnTo>
                          <a:pt x="50" y="186"/>
                        </a:lnTo>
                        <a:lnTo>
                          <a:pt x="49" y="185"/>
                        </a:lnTo>
                        <a:lnTo>
                          <a:pt x="44" y="178"/>
                        </a:lnTo>
                        <a:lnTo>
                          <a:pt x="41" y="178"/>
                        </a:lnTo>
                        <a:lnTo>
                          <a:pt x="39" y="172"/>
                        </a:lnTo>
                        <a:lnTo>
                          <a:pt x="37" y="172"/>
                        </a:lnTo>
                        <a:lnTo>
                          <a:pt x="34" y="178"/>
                        </a:lnTo>
                        <a:lnTo>
                          <a:pt x="32" y="178"/>
                        </a:lnTo>
                        <a:lnTo>
                          <a:pt x="29" y="178"/>
                        </a:lnTo>
                        <a:lnTo>
                          <a:pt x="27" y="178"/>
                        </a:lnTo>
                        <a:lnTo>
                          <a:pt x="26" y="174"/>
                        </a:lnTo>
                        <a:lnTo>
                          <a:pt x="26" y="171"/>
                        </a:lnTo>
                        <a:lnTo>
                          <a:pt x="26" y="168"/>
                        </a:lnTo>
                        <a:lnTo>
                          <a:pt x="26" y="163"/>
                        </a:lnTo>
                        <a:lnTo>
                          <a:pt x="26" y="161"/>
                        </a:lnTo>
                        <a:lnTo>
                          <a:pt x="26" y="158"/>
                        </a:lnTo>
                        <a:lnTo>
                          <a:pt x="21" y="154"/>
                        </a:lnTo>
                        <a:lnTo>
                          <a:pt x="19" y="152"/>
                        </a:lnTo>
                        <a:lnTo>
                          <a:pt x="17" y="145"/>
                        </a:lnTo>
                        <a:lnTo>
                          <a:pt x="17" y="136"/>
                        </a:lnTo>
                        <a:lnTo>
                          <a:pt x="16" y="136"/>
                        </a:lnTo>
                        <a:lnTo>
                          <a:pt x="12" y="120"/>
                        </a:lnTo>
                        <a:lnTo>
                          <a:pt x="4" y="105"/>
                        </a:lnTo>
                        <a:lnTo>
                          <a:pt x="4" y="101"/>
                        </a:lnTo>
                        <a:lnTo>
                          <a:pt x="5" y="98"/>
                        </a:lnTo>
                        <a:lnTo>
                          <a:pt x="8" y="93"/>
                        </a:lnTo>
                        <a:lnTo>
                          <a:pt x="11" y="89"/>
                        </a:lnTo>
                        <a:lnTo>
                          <a:pt x="15" y="81"/>
                        </a:lnTo>
                        <a:lnTo>
                          <a:pt x="14" y="56"/>
                        </a:lnTo>
                        <a:lnTo>
                          <a:pt x="11" y="40"/>
                        </a:lnTo>
                        <a:lnTo>
                          <a:pt x="14" y="36"/>
                        </a:lnTo>
                        <a:lnTo>
                          <a:pt x="14" y="32"/>
                        </a:lnTo>
                        <a:lnTo>
                          <a:pt x="11" y="26"/>
                        </a:lnTo>
                        <a:lnTo>
                          <a:pt x="7" y="25"/>
                        </a:lnTo>
                        <a:lnTo>
                          <a:pt x="5" y="23"/>
                        </a:lnTo>
                        <a:lnTo>
                          <a:pt x="0" y="1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" name="Freeform 13"/>
                  <p:cNvSpPr>
                    <a:spLocks/>
                  </p:cNvSpPr>
                  <p:nvPr/>
                </p:nvSpPr>
                <p:spPr bwMode="auto">
                  <a:xfrm>
                    <a:off x="2683" y="2913"/>
                    <a:ext cx="55" cy="195"/>
                  </a:xfrm>
                  <a:custGeom>
                    <a:avLst/>
                    <a:gdLst>
                      <a:gd name="T0" fmla="*/ 0 w 52"/>
                      <a:gd name="T1" fmla="*/ 10 h 186"/>
                      <a:gd name="T2" fmla="*/ 5 w 52"/>
                      <a:gd name="T3" fmla="*/ 0 h 186"/>
                      <a:gd name="T4" fmla="*/ 877 w 52"/>
                      <a:gd name="T5" fmla="*/ 10 h 186"/>
                      <a:gd name="T6" fmla="*/ 1113 w 52"/>
                      <a:gd name="T7" fmla="*/ 570 h 186"/>
                      <a:gd name="T8" fmla="*/ 1300 w 52"/>
                      <a:gd name="T9" fmla="*/ 1004 h 186"/>
                      <a:gd name="T10" fmla="*/ 1300 w 52"/>
                      <a:gd name="T11" fmla="*/ 1334 h 186"/>
                      <a:gd name="T12" fmla="*/ 1558 w 52"/>
                      <a:gd name="T13" fmla="*/ 1473 h 186"/>
                      <a:gd name="T14" fmla="*/ 1743 w 52"/>
                      <a:gd name="T15" fmla="*/ 1708 h 186"/>
                      <a:gd name="T16" fmla="*/ 1375 w 52"/>
                      <a:gd name="T17" fmla="*/ 2245 h 186"/>
                      <a:gd name="T18" fmla="*/ 1300 w 52"/>
                      <a:gd name="T19" fmla="*/ 2596 h 186"/>
                      <a:gd name="T20" fmla="*/ 1375 w 52"/>
                      <a:gd name="T21" fmla="*/ 2980 h 186"/>
                      <a:gd name="T22" fmla="*/ 1454 w 52"/>
                      <a:gd name="T23" fmla="*/ 3275 h 186"/>
                      <a:gd name="T24" fmla="*/ 1473 w 52"/>
                      <a:gd name="T25" fmla="*/ 3435 h 186"/>
                      <a:gd name="T26" fmla="*/ 1473 w 52"/>
                      <a:gd name="T27" fmla="*/ 3615 h 186"/>
                      <a:gd name="T28" fmla="*/ 1743 w 52"/>
                      <a:gd name="T29" fmla="*/ 3646 h 186"/>
                      <a:gd name="T30" fmla="*/ 2107 w 52"/>
                      <a:gd name="T31" fmla="*/ 4113 h 186"/>
                      <a:gd name="T32" fmla="*/ 2036 w 52"/>
                      <a:gd name="T33" fmla="*/ 4196 h 186"/>
                      <a:gd name="T34" fmla="*/ 1820 w 52"/>
                      <a:gd name="T35" fmla="*/ 4007 h 186"/>
                      <a:gd name="T36" fmla="*/ 1558 w 52"/>
                      <a:gd name="T37" fmla="*/ 3923 h 186"/>
                      <a:gd name="T38" fmla="*/ 1375 w 52"/>
                      <a:gd name="T39" fmla="*/ 4007 h 186"/>
                      <a:gd name="T40" fmla="*/ 1177 w 52"/>
                      <a:gd name="T41" fmla="*/ 4007 h 186"/>
                      <a:gd name="T42" fmla="*/ 1099 w 52"/>
                      <a:gd name="T43" fmla="*/ 3956 h 186"/>
                      <a:gd name="T44" fmla="*/ 1099 w 52"/>
                      <a:gd name="T45" fmla="*/ 3790 h 186"/>
                      <a:gd name="T46" fmla="*/ 1099 w 52"/>
                      <a:gd name="T47" fmla="*/ 3641 h 186"/>
                      <a:gd name="T48" fmla="*/ 829 w 52"/>
                      <a:gd name="T49" fmla="*/ 3473 h 186"/>
                      <a:gd name="T50" fmla="*/ 663 w 52"/>
                      <a:gd name="T51" fmla="*/ 3276 h 186"/>
                      <a:gd name="T52" fmla="*/ 627 w 52"/>
                      <a:gd name="T53" fmla="*/ 3098 h 186"/>
                      <a:gd name="T54" fmla="*/ 4 w 52"/>
                      <a:gd name="T55" fmla="*/ 2362 h 186"/>
                      <a:gd name="T56" fmla="*/ 5 w 52"/>
                      <a:gd name="T57" fmla="*/ 2226 h 186"/>
                      <a:gd name="T58" fmla="*/ 474 w 52"/>
                      <a:gd name="T59" fmla="*/ 2025 h 186"/>
                      <a:gd name="T60" fmla="*/ 561 w 52"/>
                      <a:gd name="T61" fmla="*/ 1272 h 186"/>
                      <a:gd name="T62" fmla="*/ 561 w 52"/>
                      <a:gd name="T63" fmla="*/ 826 h 186"/>
                      <a:gd name="T64" fmla="*/ 474 w 52"/>
                      <a:gd name="T65" fmla="*/ 570 h 186"/>
                      <a:gd name="T66" fmla="*/ 5 w 52"/>
                      <a:gd name="T67" fmla="*/ 495 h 18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52"/>
                      <a:gd name="T103" fmla="*/ 0 h 186"/>
                      <a:gd name="T104" fmla="*/ 52 w 52"/>
                      <a:gd name="T105" fmla="*/ 186 h 186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52" h="186">
                        <a:moveTo>
                          <a:pt x="0" y="14"/>
                        </a:moveTo>
                        <a:lnTo>
                          <a:pt x="0" y="10"/>
                        </a:lnTo>
                        <a:lnTo>
                          <a:pt x="1" y="4"/>
                        </a:lnTo>
                        <a:lnTo>
                          <a:pt x="5" y="0"/>
                        </a:lnTo>
                        <a:lnTo>
                          <a:pt x="14" y="1"/>
                        </a:lnTo>
                        <a:lnTo>
                          <a:pt x="22" y="10"/>
                        </a:lnTo>
                        <a:lnTo>
                          <a:pt x="24" y="14"/>
                        </a:lnTo>
                        <a:lnTo>
                          <a:pt x="27" y="26"/>
                        </a:lnTo>
                        <a:lnTo>
                          <a:pt x="29" y="39"/>
                        </a:lnTo>
                        <a:lnTo>
                          <a:pt x="32" y="45"/>
                        </a:lnTo>
                        <a:lnTo>
                          <a:pt x="31" y="58"/>
                        </a:lnTo>
                        <a:lnTo>
                          <a:pt x="32" y="59"/>
                        </a:lnTo>
                        <a:lnTo>
                          <a:pt x="36" y="64"/>
                        </a:lnTo>
                        <a:lnTo>
                          <a:pt x="39" y="66"/>
                        </a:lnTo>
                        <a:lnTo>
                          <a:pt x="43" y="73"/>
                        </a:lnTo>
                        <a:lnTo>
                          <a:pt x="43" y="76"/>
                        </a:lnTo>
                        <a:lnTo>
                          <a:pt x="40" y="88"/>
                        </a:lnTo>
                        <a:lnTo>
                          <a:pt x="34" y="99"/>
                        </a:lnTo>
                        <a:lnTo>
                          <a:pt x="32" y="110"/>
                        </a:lnTo>
                        <a:lnTo>
                          <a:pt x="32" y="115"/>
                        </a:lnTo>
                        <a:lnTo>
                          <a:pt x="34" y="120"/>
                        </a:lnTo>
                        <a:lnTo>
                          <a:pt x="34" y="131"/>
                        </a:lnTo>
                        <a:lnTo>
                          <a:pt x="36" y="137"/>
                        </a:lnTo>
                        <a:lnTo>
                          <a:pt x="36" y="144"/>
                        </a:lnTo>
                        <a:lnTo>
                          <a:pt x="37" y="151"/>
                        </a:lnTo>
                        <a:lnTo>
                          <a:pt x="37" y="152"/>
                        </a:lnTo>
                        <a:lnTo>
                          <a:pt x="37" y="157"/>
                        </a:lnTo>
                        <a:lnTo>
                          <a:pt x="37" y="160"/>
                        </a:lnTo>
                        <a:lnTo>
                          <a:pt x="39" y="161"/>
                        </a:lnTo>
                        <a:lnTo>
                          <a:pt x="43" y="162"/>
                        </a:lnTo>
                        <a:lnTo>
                          <a:pt x="44" y="164"/>
                        </a:lnTo>
                        <a:lnTo>
                          <a:pt x="52" y="180"/>
                        </a:lnTo>
                        <a:lnTo>
                          <a:pt x="52" y="185"/>
                        </a:lnTo>
                        <a:lnTo>
                          <a:pt x="50" y="186"/>
                        </a:lnTo>
                        <a:lnTo>
                          <a:pt x="49" y="185"/>
                        </a:lnTo>
                        <a:lnTo>
                          <a:pt x="44" y="178"/>
                        </a:lnTo>
                        <a:lnTo>
                          <a:pt x="41" y="178"/>
                        </a:lnTo>
                        <a:lnTo>
                          <a:pt x="39" y="172"/>
                        </a:lnTo>
                        <a:lnTo>
                          <a:pt x="37" y="172"/>
                        </a:lnTo>
                        <a:lnTo>
                          <a:pt x="34" y="178"/>
                        </a:lnTo>
                        <a:lnTo>
                          <a:pt x="32" y="178"/>
                        </a:lnTo>
                        <a:lnTo>
                          <a:pt x="29" y="178"/>
                        </a:lnTo>
                        <a:lnTo>
                          <a:pt x="27" y="178"/>
                        </a:lnTo>
                        <a:lnTo>
                          <a:pt x="26" y="174"/>
                        </a:lnTo>
                        <a:lnTo>
                          <a:pt x="26" y="171"/>
                        </a:lnTo>
                        <a:lnTo>
                          <a:pt x="26" y="168"/>
                        </a:lnTo>
                        <a:lnTo>
                          <a:pt x="26" y="163"/>
                        </a:lnTo>
                        <a:lnTo>
                          <a:pt x="26" y="161"/>
                        </a:lnTo>
                        <a:lnTo>
                          <a:pt x="26" y="158"/>
                        </a:lnTo>
                        <a:lnTo>
                          <a:pt x="21" y="154"/>
                        </a:lnTo>
                        <a:lnTo>
                          <a:pt x="19" y="152"/>
                        </a:lnTo>
                        <a:lnTo>
                          <a:pt x="17" y="145"/>
                        </a:lnTo>
                        <a:lnTo>
                          <a:pt x="17" y="136"/>
                        </a:lnTo>
                        <a:lnTo>
                          <a:pt x="16" y="136"/>
                        </a:lnTo>
                        <a:lnTo>
                          <a:pt x="12" y="120"/>
                        </a:lnTo>
                        <a:lnTo>
                          <a:pt x="4" y="105"/>
                        </a:lnTo>
                        <a:lnTo>
                          <a:pt x="4" y="101"/>
                        </a:lnTo>
                        <a:lnTo>
                          <a:pt x="5" y="98"/>
                        </a:lnTo>
                        <a:lnTo>
                          <a:pt x="8" y="93"/>
                        </a:lnTo>
                        <a:lnTo>
                          <a:pt x="11" y="89"/>
                        </a:lnTo>
                        <a:lnTo>
                          <a:pt x="15" y="81"/>
                        </a:lnTo>
                        <a:lnTo>
                          <a:pt x="14" y="56"/>
                        </a:lnTo>
                        <a:lnTo>
                          <a:pt x="11" y="40"/>
                        </a:lnTo>
                        <a:lnTo>
                          <a:pt x="14" y="36"/>
                        </a:lnTo>
                        <a:lnTo>
                          <a:pt x="14" y="32"/>
                        </a:lnTo>
                        <a:lnTo>
                          <a:pt x="11" y="26"/>
                        </a:lnTo>
                        <a:lnTo>
                          <a:pt x="7" y="25"/>
                        </a:lnTo>
                        <a:lnTo>
                          <a:pt x="5" y="23"/>
                        </a:lnTo>
                        <a:lnTo>
                          <a:pt x="0" y="1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16" name="Picture 14"/>
                  <p:cNvPicPr>
                    <a:picLocks noChangeAspect="1" noChangeArrowheads="1"/>
                  </p:cNvPicPr>
                  <p:nvPr/>
                </p:nvPicPr>
                <p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89" y="2504"/>
                    <a:ext cx="150" cy="15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7" name="Picture 15"/>
                  <p:cNvPicPr>
                    <a:picLocks noChangeAspect="1" noChangeArrowheads="1"/>
                  </p:cNvPicPr>
                  <p:nvPr/>
                </p:nvPicPr>
                <p:blipFill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89" y="2504"/>
                    <a:ext cx="150" cy="15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8" name="Freeform 16"/>
                  <p:cNvSpPr>
                    <a:spLocks/>
                  </p:cNvSpPr>
                  <p:nvPr/>
                </p:nvSpPr>
                <p:spPr bwMode="auto">
                  <a:xfrm>
                    <a:off x="2595" y="2509"/>
                    <a:ext cx="126" cy="132"/>
                  </a:xfrm>
                  <a:custGeom>
                    <a:avLst/>
                    <a:gdLst>
                      <a:gd name="T0" fmla="*/ 6563 w 118"/>
                      <a:gd name="T1" fmla="*/ 5 h 125"/>
                      <a:gd name="T2" fmla="*/ 6631 w 118"/>
                      <a:gd name="T3" fmla="*/ 525 h 125"/>
                      <a:gd name="T4" fmla="*/ 7081 w 118"/>
                      <a:gd name="T5" fmla="*/ 1012 h 125"/>
                      <a:gd name="T6" fmla="*/ 7787 w 118"/>
                      <a:gd name="T7" fmla="*/ 859 h 125"/>
                      <a:gd name="T8" fmla="*/ 9071 w 118"/>
                      <a:gd name="T9" fmla="*/ 770 h 125"/>
                      <a:gd name="T10" fmla="*/ 8203 w 118"/>
                      <a:gd name="T11" fmla="*/ 1102 h 125"/>
                      <a:gd name="T12" fmla="*/ 7134 w 118"/>
                      <a:gd name="T13" fmla="*/ 1229 h 125"/>
                      <a:gd name="T14" fmla="*/ 7483 w 118"/>
                      <a:gd name="T15" fmla="*/ 1811 h 125"/>
                      <a:gd name="T16" fmla="*/ 6631 w 118"/>
                      <a:gd name="T17" fmla="*/ 2119 h 125"/>
                      <a:gd name="T18" fmla="*/ 6631 w 118"/>
                      <a:gd name="T19" fmla="*/ 2377 h 125"/>
                      <a:gd name="T20" fmla="*/ 6257 w 118"/>
                      <a:gd name="T21" fmla="*/ 2534 h 125"/>
                      <a:gd name="T22" fmla="*/ 5860 w 118"/>
                      <a:gd name="T23" fmla="*/ 2651 h 125"/>
                      <a:gd name="T24" fmla="*/ 5488 w 118"/>
                      <a:gd name="T25" fmla="*/ 2984 h 125"/>
                      <a:gd name="T26" fmla="*/ 5049 w 118"/>
                      <a:gd name="T27" fmla="*/ 3104 h 125"/>
                      <a:gd name="T28" fmla="*/ 4728 w 118"/>
                      <a:gd name="T29" fmla="*/ 3297 h 125"/>
                      <a:gd name="T30" fmla="*/ 5049 w 118"/>
                      <a:gd name="T31" fmla="*/ 3477 h 125"/>
                      <a:gd name="T32" fmla="*/ 5860 w 118"/>
                      <a:gd name="T33" fmla="*/ 3547 h 125"/>
                      <a:gd name="T34" fmla="*/ 5391 w 118"/>
                      <a:gd name="T35" fmla="*/ 3878 h 125"/>
                      <a:gd name="T36" fmla="*/ 4608 w 118"/>
                      <a:gd name="T37" fmla="*/ 3918 h 125"/>
                      <a:gd name="T38" fmla="*/ 3784 w 118"/>
                      <a:gd name="T39" fmla="*/ 3956 h 125"/>
                      <a:gd name="T40" fmla="*/ 3703 w 118"/>
                      <a:gd name="T41" fmla="*/ 4369 h 125"/>
                      <a:gd name="T42" fmla="*/ 3190 w 118"/>
                      <a:gd name="T43" fmla="*/ 4077 h 125"/>
                      <a:gd name="T44" fmla="*/ 2668 w 118"/>
                      <a:gd name="T45" fmla="*/ 4100 h 125"/>
                      <a:gd name="T46" fmla="*/ 1800 w 118"/>
                      <a:gd name="T47" fmla="*/ 3746 h 125"/>
                      <a:gd name="T48" fmla="*/ 1215 w 118"/>
                      <a:gd name="T49" fmla="*/ 3801 h 125"/>
                      <a:gd name="T50" fmla="*/ 935 w 118"/>
                      <a:gd name="T51" fmla="*/ 4077 h 125"/>
                      <a:gd name="T52" fmla="*/ 5 w 118"/>
                      <a:gd name="T53" fmla="*/ 4330 h 125"/>
                      <a:gd name="T54" fmla="*/ 3 w 118"/>
                      <a:gd name="T55" fmla="*/ 3918 h 125"/>
                      <a:gd name="T56" fmla="*/ 1 w 118"/>
                      <a:gd name="T57" fmla="*/ 2799 h 125"/>
                      <a:gd name="T58" fmla="*/ 4 w 118"/>
                      <a:gd name="T59" fmla="*/ 2007 h 125"/>
                      <a:gd name="T60" fmla="*/ 0 w 118"/>
                      <a:gd name="T61" fmla="*/ 1705 h 125"/>
                      <a:gd name="T62" fmla="*/ 7 w 118"/>
                      <a:gd name="T63" fmla="*/ 770 h 125"/>
                      <a:gd name="T64" fmla="*/ 1066 w 118"/>
                      <a:gd name="T65" fmla="*/ 585 h 125"/>
                      <a:gd name="T66" fmla="*/ 1922 w 118"/>
                      <a:gd name="T67" fmla="*/ 400 h 125"/>
                      <a:gd name="T68" fmla="*/ 2499 w 118"/>
                      <a:gd name="T69" fmla="*/ 400 h 125"/>
                      <a:gd name="T70" fmla="*/ 2849 w 118"/>
                      <a:gd name="T71" fmla="*/ 7 h 125"/>
                      <a:gd name="T72" fmla="*/ 3884 w 118"/>
                      <a:gd name="T73" fmla="*/ 422 h 125"/>
                      <a:gd name="T74" fmla="*/ 4805 w 118"/>
                      <a:gd name="T75" fmla="*/ 4 h 125"/>
                      <a:gd name="T76" fmla="*/ 5860 w 118"/>
                      <a:gd name="T77" fmla="*/ 4 h 125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118"/>
                      <a:gd name="T118" fmla="*/ 0 h 125"/>
                      <a:gd name="T119" fmla="*/ 118 w 118"/>
                      <a:gd name="T120" fmla="*/ 125 h 125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118" h="125">
                        <a:moveTo>
                          <a:pt x="78" y="4"/>
                        </a:moveTo>
                        <a:lnTo>
                          <a:pt x="85" y="5"/>
                        </a:lnTo>
                        <a:lnTo>
                          <a:pt x="87" y="4"/>
                        </a:lnTo>
                        <a:lnTo>
                          <a:pt x="87" y="15"/>
                        </a:lnTo>
                        <a:lnTo>
                          <a:pt x="91" y="21"/>
                        </a:lnTo>
                        <a:lnTo>
                          <a:pt x="93" y="27"/>
                        </a:lnTo>
                        <a:lnTo>
                          <a:pt x="98" y="25"/>
                        </a:lnTo>
                        <a:lnTo>
                          <a:pt x="103" y="24"/>
                        </a:lnTo>
                        <a:lnTo>
                          <a:pt x="110" y="22"/>
                        </a:lnTo>
                        <a:lnTo>
                          <a:pt x="118" y="22"/>
                        </a:lnTo>
                        <a:lnTo>
                          <a:pt x="118" y="25"/>
                        </a:lnTo>
                        <a:lnTo>
                          <a:pt x="109" y="30"/>
                        </a:lnTo>
                        <a:lnTo>
                          <a:pt x="103" y="34"/>
                        </a:lnTo>
                        <a:lnTo>
                          <a:pt x="95" y="34"/>
                        </a:lnTo>
                        <a:lnTo>
                          <a:pt x="90" y="44"/>
                        </a:lnTo>
                        <a:lnTo>
                          <a:pt x="97" y="50"/>
                        </a:lnTo>
                        <a:lnTo>
                          <a:pt x="88" y="53"/>
                        </a:lnTo>
                        <a:lnTo>
                          <a:pt x="87" y="58"/>
                        </a:lnTo>
                        <a:lnTo>
                          <a:pt x="88" y="62"/>
                        </a:lnTo>
                        <a:lnTo>
                          <a:pt x="87" y="65"/>
                        </a:lnTo>
                        <a:lnTo>
                          <a:pt x="84" y="63"/>
                        </a:lnTo>
                        <a:lnTo>
                          <a:pt x="83" y="70"/>
                        </a:lnTo>
                        <a:lnTo>
                          <a:pt x="78" y="70"/>
                        </a:lnTo>
                        <a:lnTo>
                          <a:pt x="78" y="73"/>
                        </a:lnTo>
                        <a:lnTo>
                          <a:pt x="75" y="78"/>
                        </a:lnTo>
                        <a:lnTo>
                          <a:pt x="73" y="82"/>
                        </a:lnTo>
                        <a:lnTo>
                          <a:pt x="70" y="82"/>
                        </a:lnTo>
                        <a:lnTo>
                          <a:pt x="66" y="84"/>
                        </a:lnTo>
                        <a:lnTo>
                          <a:pt x="70" y="86"/>
                        </a:lnTo>
                        <a:lnTo>
                          <a:pt x="62" y="91"/>
                        </a:lnTo>
                        <a:lnTo>
                          <a:pt x="61" y="93"/>
                        </a:lnTo>
                        <a:lnTo>
                          <a:pt x="66" y="95"/>
                        </a:lnTo>
                        <a:lnTo>
                          <a:pt x="76" y="95"/>
                        </a:lnTo>
                        <a:lnTo>
                          <a:pt x="78" y="98"/>
                        </a:lnTo>
                        <a:lnTo>
                          <a:pt x="78" y="99"/>
                        </a:lnTo>
                        <a:lnTo>
                          <a:pt x="70" y="106"/>
                        </a:lnTo>
                        <a:lnTo>
                          <a:pt x="65" y="108"/>
                        </a:lnTo>
                        <a:lnTo>
                          <a:pt x="61" y="108"/>
                        </a:lnTo>
                        <a:lnTo>
                          <a:pt x="53" y="108"/>
                        </a:lnTo>
                        <a:lnTo>
                          <a:pt x="50" y="109"/>
                        </a:lnTo>
                        <a:lnTo>
                          <a:pt x="49" y="116"/>
                        </a:lnTo>
                        <a:lnTo>
                          <a:pt x="49" y="120"/>
                        </a:lnTo>
                        <a:lnTo>
                          <a:pt x="44" y="125"/>
                        </a:lnTo>
                        <a:lnTo>
                          <a:pt x="42" y="111"/>
                        </a:lnTo>
                        <a:lnTo>
                          <a:pt x="39" y="110"/>
                        </a:lnTo>
                        <a:lnTo>
                          <a:pt x="35" y="113"/>
                        </a:lnTo>
                        <a:lnTo>
                          <a:pt x="30" y="110"/>
                        </a:lnTo>
                        <a:lnTo>
                          <a:pt x="23" y="103"/>
                        </a:lnTo>
                        <a:lnTo>
                          <a:pt x="20" y="99"/>
                        </a:lnTo>
                        <a:lnTo>
                          <a:pt x="17" y="104"/>
                        </a:lnTo>
                        <a:lnTo>
                          <a:pt x="18" y="111"/>
                        </a:lnTo>
                        <a:lnTo>
                          <a:pt x="13" y="111"/>
                        </a:lnTo>
                        <a:lnTo>
                          <a:pt x="11" y="116"/>
                        </a:lnTo>
                        <a:lnTo>
                          <a:pt x="5" y="119"/>
                        </a:lnTo>
                        <a:lnTo>
                          <a:pt x="1" y="113"/>
                        </a:lnTo>
                        <a:lnTo>
                          <a:pt x="3" y="108"/>
                        </a:lnTo>
                        <a:lnTo>
                          <a:pt x="0" y="92"/>
                        </a:lnTo>
                        <a:lnTo>
                          <a:pt x="1" y="77"/>
                        </a:lnTo>
                        <a:lnTo>
                          <a:pt x="3" y="68"/>
                        </a:lnTo>
                        <a:lnTo>
                          <a:pt x="4" y="55"/>
                        </a:lnTo>
                        <a:lnTo>
                          <a:pt x="3" y="50"/>
                        </a:lnTo>
                        <a:lnTo>
                          <a:pt x="0" y="46"/>
                        </a:lnTo>
                        <a:lnTo>
                          <a:pt x="8" y="27"/>
                        </a:lnTo>
                        <a:lnTo>
                          <a:pt x="7" y="22"/>
                        </a:lnTo>
                        <a:lnTo>
                          <a:pt x="7" y="19"/>
                        </a:lnTo>
                        <a:lnTo>
                          <a:pt x="15" y="17"/>
                        </a:lnTo>
                        <a:lnTo>
                          <a:pt x="22" y="15"/>
                        </a:lnTo>
                        <a:lnTo>
                          <a:pt x="25" y="10"/>
                        </a:lnTo>
                        <a:lnTo>
                          <a:pt x="29" y="11"/>
                        </a:lnTo>
                        <a:lnTo>
                          <a:pt x="33" y="10"/>
                        </a:lnTo>
                        <a:lnTo>
                          <a:pt x="34" y="5"/>
                        </a:lnTo>
                        <a:lnTo>
                          <a:pt x="37" y="7"/>
                        </a:lnTo>
                        <a:lnTo>
                          <a:pt x="45" y="9"/>
                        </a:lnTo>
                        <a:lnTo>
                          <a:pt x="51" y="11"/>
                        </a:lnTo>
                        <a:lnTo>
                          <a:pt x="59" y="0"/>
                        </a:lnTo>
                        <a:lnTo>
                          <a:pt x="63" y="4"/>
                        </a:lnTo>
                        <a:lnTo>
                          <a:pt x="73" y="7"/>
                        </a:lnTo>
                        <a:lnTo>
                          <a:pt x="78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" name="Freeform 17"/>
                  <p:cNvSpPr>
                    <a:spLocks/>
                  </p:cNvSpPr>
                  <p:nvPr/>
                </p:nvSpPr>
                <p:spPr bwMode="auto">
                  <a:xfrm>
                    <a:off x="2595" y="2509"/>
                    <a:ext cx="126" cy="132"/>
                  </a:xfrm>
                  <a:custGeom>
                    <a:avLst/>
                    <a:gdLst>
                      <a:gd name="T0" fmla="*/ 6563 w 118"/>
                      <a:gd name="T1" fmla="*/ 5 h 125"/>
                      <a:gd name="T2" fmla="*/ 6631 w 118"/>
                      <a:gd name="T3" fmla="*/ 525 h 125"/>
                      <a:gd name="T4" fmla="*/ 7081 w 118"/>
                      <a:gd name="T5" fmla="*/ 1012 h 125"/>
                      <a:gd name="T6" fmla="*/ 7787 w 118"/>
                      <a:gd name="T7" fmla="*/ 859 h 125"/>
                      <a:gd name="T8" fmla="*/ 9071 w 118"/>
                      <a:gd name="T9" fmla="*/ 770 h 125"/>
                      <a:gd name="T10" fmla="*/ 8203 w 118"/>
                      <a:gd name="T11" fmla="*/ 1102 h 125"/>
                      <a:gd name="T12" fmla="*/ 7134 w 118"/>
                      <a:gd name="T13" fmla="*/ 1229 h 125"/>
                      <a:gd name="T14" fmla="*/ 7483 w 118"/>
                      <a:gd name="T15" fmla="*/ 1811 h 125"/>
                      <a:gd name="T16" fmla="*/ 6631 w 118"/>
                      <a:gd name="T17" fmla="*/ 2119 h 125"/>
                      <a:gd name="T18" fmla="*/ 6631 w 118"/>
                      <a:gd name="T19" fmla="*/ 2377 h 125"/>
                      <a:gd name="T20" fmla="*/ 6257 w 118"/>
                      <a:gd name="T21" fmla="*/ 2534 h 125"/>
                      <a:gd name="T22" fmla="*/ 5860 w 118"/>
                      <a:gd name="T23" fmla="*/ 2651 h 125"/>
                      <a:gd name="T24" fmla="*/ 5488 w 118"/>
                      <a:gd name="T25" fmla="*/ 2984 h 125"/>
                      <a:gd name="T26" fmla="*/ 5049 w 118"/>
                      <a:gd name="T27" fmla="*/ 3104 h 125"/>
                      <a:gd name="T28" fmla="*/ 4728 w 118"/>
                      <a:gd name="T29" fmla="*/ 3297 h 125"/>
                      <a:gd name="T30" fmla="*/ 5049 w 118"/>
                      <a:gd name="T31" fmla="*/ 3477 h 125"/>
                      <a:gd name="T32" fmla="*/ 5860 w 118"/>
                      <a:gd name="T33" fmla="*/ 3547 h 125"/>
                      <a:gd name="T34" fmla="*/ 5391 w 118"/>
                      <a:gd name="T35" fmla="*/ 3878 h 125"/>
                      <a:gd name="T36" fmla="*/ 4608 w 118"/>
                      <a:gd name="T37" fmla="*/ 3918 h 125"/>
                      <a:gd name="T38" fmla="*/ 3784 w 118"/>
                      <a:gd name="T39" fmla="*/ 3956 h 125"/>
                      <a:gd name="T40" fmla="*/ 3703 w 118"/>
                      <a:gd name="T41" fmla="*/ 4369 h 125"/>
                      <a:gd name="T42" fmla="*/ 3190 w 118"/>
                      <a:gd name="T43" fmla="*/ 4077 h 125"/>
                      <a:gd name="T44" fmla="*/ 2668 w 118"/>
                      <a:gd name="T45" fmla="*/ 4100 h 125"/>
                      <a:gd name="T46" fmla="*/ 1800 w 118"/>
                      <a:gd name="T47" fmla="*/ 3746 h 125"/>
                      <a:gd name="T48" fmla="*/ 1215 w 118"/>
                      <a:gd name="T49" fmla="*/ 3801 h 125"/>
                      <a:gd name="T50" fmla="*/ 935 w 118"/>
                      <a:gd name="T51" fmla="*/ 4077 h 125"/>
                      <a:gd name="T52" fmla="*/ 5 w 118"/>
                      <a:gd name="T53" fmla="*/ 4330 h 125"/>
                      <a:gd name="T54" fmla="*/ 3 w 118"/>
                      <a:gd name="T55" fmla="*/ 3918 h 125"/>
                      <a:gd name="T56" fmla="*/ 1 w 118"/>
                      <a:gd name="T57" fmla="*/ 2799 h 125"/>
                      <a:gd name="T58" fmla="*/ 4 w 118"/>
                      <a:gd name="T59" fmla="*/ 2007 h 125"/>
                      <a:gd name="T60" fmla="*/ 0 w 118"/>
                      <a:gd name="T61" fmla="*/ 1705 h 125"/>
                      <a:gd name="T62" fmla="*/ 7 w 118"/>
                      <a:gd name="T63" fmla="*/ 770 h 125"/>
                      <a:gd name="T64" fmla="*/ 1066 w 118"/>
                      <a:gd name="T65" fmla="*/ 585 h 125"/>
                      <a:gd name="T66" fmla="*/ 1922 w 118"/>
                      <a:gd name="T67" fmla="*/ 400 h 125"/>
                      <a:gd name="T68" fmla="*/ 2499 w 118"/>
                      <a:gd name="T69" fmla="*/ 400 h 125"/>
                      <a:gd name="T70" fmla="*/ 2849 w 118"/>
                      <a:gd name="T71" fmla="*/ 7 h 125"/>
                      <a:gd name="T72" fmla="*/ 3884 w 118"/>
                      <a:gd name="T73" fmla="*/ 422 h 125"/>
                      <a:gd name="T74" fmla="*/ 4805 w 118"/>
                      <a:gd name="T75" fmla="*/ 4 h 125"/>
                      <a:gd name="T76" fmla="*/ 5860 w 118"/>
                      <a:gd name="T77" fmla="*/ 4 h 125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118"/>
                      <a:gd name="T118" fmla="*/ 0 h 125"/>
                      <a:gd name="T119" fmla="*/ 118 w 118"/>
                      <a:gd name="T120" fmla="*/ 125 h 125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118" h="125">
                        <a:moveTo>
                          <a:pt x="78" y="4"/>
                        </a:moveTo>
                        <a:lnTo>
                          <a:pt x="85" y="5"/>
                        </a:lnTo>
                        <a:lnTo>
                          <a:pt x="87" y="4"/>
                        </a:lnTo>
                        <a:lnTo>
                          <a:pt x="87" y="15"/>
                        </a:lnTo>
                        <a:lnTo>
                          <a:pt x="91" y="21"/>
                        </a:lnTo>
                        <a:lnTo>
                          <a:pt x="93" y="27"/>
                        </a:lnTo>
                        <a:lnTo>
                          <a:pt x="98" y="25"/>
                        </a:lnTo>
                        <a:lnTo>
                          <a:pt x="103" y="24"/>
                        </a:lnTo>
                        <a:lnTo>
                          <a:pt x="110" y="22"/>
                        </a:lnTo>
                        <a:lnTo>
                          <a:pt x="118" y="22"/>
                        </a:lnTo>
                        <a:lnTo>
                          <a:pt x="118" y="25"/>
                        </a:lnTo>
                        <a:lnTo>
                          <a:pt x="109" y="30"/>
                        </a:lnTo>
                        <a:lnTo>
                          <a:pt x="103" y="34"/>
                        </a:lnTo>
                        <a:lnTo>
                          <a:pt x="95" y="34"/>
                        </a:lnTo>
                        <a:lnTo>
                          <a:pt x="90" y="44"/>
                        </a:lnTo>
                        <a:lnTo>
                          <a:pt x="97" y="50"/>
                        </a:lnTo>
                        <a:lnTo>
                          <a:pt x="88" y="53"/>
                        </a:lnTo>
                        <a:lnTo>
                          <a:pt x="87" y="58"/>
                        </a:lnTo>
                        <a:lnTo>
                          <a:pt x="88" y="62"/>
                        </a:lnTo>
                        <a:lnTo>
                          <a:pt x="87" y="65"/>
                        </a:lnTo>
                        <a:lnTo>
                          <a:pt x="84" y="63"/>
                        </a:lnTo>
                        <a:lnTo>
                          <a:pt x="83" y="70"/>
                        </a:lnTo>
                        <a:lnTo>
                          <a:pt x="78" y="70"/>
                        </a:lnTo>
                        <a:lnTo>
                          <a:pt x="78" y="73"/>
                        </a:lnTo>
                        <a:lnTo>
                          <a:pt x="75" y="78"/>
                        </a:lnTo>
                        <a:lnTo>
                          <a:pt x="73" y="82"/>
                        </a:lnTo>
                        <a:lnTo>
                          <a:pt x="70" y="82"/>
                        </a:lnTo>
                        <a:lnTo>
                          <a:pt x="66" y="84"/>
                        </a:lnTo>
                        <a:lnTo>
                          <a:pt x="70" y="86"/>
                        </a:lnTo>
                        <a:lnTo>
                          <a:pt x="62" y="91"/>
                        </a:lnTo>
                        <a:lnTo>
                          <a:pt x="61" y="93"/>
                        </a:lnTo>
                        <a:lnTo>
                          <a:pt x="66" y="95"/>
                        </a:lnTo>
                        <a:lnTo>
                          <a:pt x="76" y="95"/>
                        </a:lnTo>
                        <a:lnTo>
                          <a:pt x="78" y="98"/>
                        </a:lnTo>
                        <a:lnTo>
                          <a:pt x="78" y="99"/>
                        </a:lnTo>
                        <a:lnTo>
                          <a:pt x="70" y="106"/>
                        </a:lnTo>
                        <a:lnTo>
                          <a:pt x="65" y="108"/>
                        </a:lnTo>
                        <a:lnTo>
                          <a:pt x="61" y="108"/>
                        </a:lnTo>
                        <a:lnTo>
                          <a:pt x="53" y="108"/>
                        </a:lnTo>
                        <a:lnTo>
                          <a:pt x="50" y="109"/>
                        </a:lnTo>
                        <a:lnTo>
                          <a:pt x="49" y="116"/>
                        </a:lnTo>
                        <a:lnTo>
                          <a:pt x="49" y="120"/>
                        </a:lnTo>
                        <a:lnTo>
                          <a:pt x="44" y="125"/>
                        </a:lnTo>
                        <a:lnTo>
                          <a:pt x="42" y="111"/>
                        </a:lnTo>
                        <a:lnTo>
                          <a:pt x="39" y="110"/>
                        </a:lnTo>
                        <a:lnTo>
                          <a:pt x="35" y="113"/>
                        </a:lnTo>
                        <a:lnTo>
                          <a:pt x="30" y="110"/>
                        </a:lnTo>
                        <a:lnTo>
                          <a:pt x="23" y="103"/>
                        </a:lnTo>
                        <a:lnTo>
                          <a:pt x="20" y="99"/>
                        </a:lnTo>
                        <a:lnTo>
                          <a:pt x="17" y="104"/>
                        </a:lnTo>
                        <a:lnTo>
                          <a:pt x="18" y="111"/>
                        </a:lnTo>
                        <a:lnTo>
                          <a:pt x="13" y="111"/>
                        </a:lnTo>
                        <a:lnTo>
                          <a:pt x="11" y="116"/>
                        </a:lnTo>
                        <a:lnTo>
                          <a:pt x="5" y="119"/>
                        </a:lnTo>
                        <a:lnTo>
                          <a:pt x="1" y="113"/>
                        </a:lnTo>
                        <a:lnTo>
                          <a:pt x="3" y="108"/>
                        </a:lnTo>
                        <a:lnTo>
                          <a:pt x="0" y="92"/>
                        </a:lnTo>
                        <a:lnTo>
                          <a:pt x="1" y="77"/>
                        </a:lnTo>
                        <a:lnTo>
                          <a:pt x="3" y="68"/>
                        </a:lnTo>
                        <a:lnTo>
                          <a:pt x="4" y="55"/>
                        </a:lnTo>
                        <a:lnTo>
                          <a:pt x="3" y="50"/>
                        </a:lnTo>
                        <a:lnTo>
                          <a:pt x="0" y="46"/>
                        </a:lnTo>
                        <a:lnTo>
                          <a:pt x="8" y="27"/>
                        </a:lnTo>
                        <a:lnTo>
                          <a:pt x="7" y="22"/>
                        </a:lnTo>
                        <a:lnTo>
                          <a:pt x="7" y="19"/>
                        </a:lnTo>
                        <a:lnTo>
                          <a:pt x="15" y="17"/>
                        </a:lnTo>
                        <a:lnTo>
                          <a:pt x="22" y="15"/>
                        </a:lnTo>
                        <a:lnTo>
                          <a:pt x="25" y="10"/>
                        </a:lnTo>
                        <a:lnTo>
                          <a:pt x="29" y="11"/>
                        </a:lnTo>
                        <a:lnTo>
                          <a:pt x="33" y="10"/>
                        </a:lnTo>
                        <a:lnTo>
                          <a:pt x="34" y="5"/>
                        </a:lnTo>
                        <a:lnTo>
                          <a:pt x="37" y="7"/>
                        </a:lnTo>
                        <a:lnTo>
                          <a:pt x="45" y="9"/>
                        </a:lnTo>
                        <a:lnTo>
                          <a:pt x="51" y="11"/>
                        </a:lnTo>
                        <a:lnTo>
                          <a:pt x="59" y="0"/>
                        </a:lnTo>
                        <a:lnTo>
                          <a:pt x="63" y="4"/>
                        </a:lnTo>
                        <a:lnTo>
                          <a:pt x="73" y="7"/>
                        </a:lnTo>
                        <a:lnTo>
                          <a:pt x="78" y="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20" name="Picture 18"/>
                  <p:cNvPicPr>
                    <a:picLocks noChangeAspect="1" noChangeArrowheads="1"/>
                  </p:cNvPicPr>
                  <p:nvPr/>
                </p:nvPicPr>
                <p:blipFill>
                  <a:blip r:embed="rId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12" y="1935"/>
                    <a:ext cx="105" cy="9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" name="Picture 19"/>
                  <p:cNvPicPr>
                    <a:picLocks noChangeAspect="1" noChangeArrowheads="1"/>
                  </p:cNvPicPr>
                  <p:nvPr/>
                </p:nvPicPr>
                <p:blipFill>
                  <a:blip r:embed="rId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812" y="1935"/>
                    <a:ext cx="105" cy="9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2" name="Freeform 20"/>
                  <p:cNvSpPr>
                    <a:spLocks/>
                  </p:cNvSpPr>
                  <p:nvPr/>
                </p:nvSpPr>
                <p:spPr bwMode="auto">
                  <a:xfrm>
                    <a:off x="1818" y="1940"/>
                    <a:ext cx="85" cy="75"/>
                  </a:xfrm>
                  <a:custGeom>
                    <a:avLst/>
                    <a:gdLst>
                      <a:gd name="T0" fmla="*/ 4153 w 80"/>
                      <a:gd name="T1" fmla="*/ 1914 h 71"/>
                      <a:gd name="T2" fmla="*/ 3865 w 80"/>
                      <a:gd name="T3" fmla="*/ 2136 h 71"/>
                      <a:gd name="T4" fmla="*/ 3230 w 80"/>
                      <a:gd name="T5" fmla="*/ 2272 h 71"/>
                      <a:gd name="T6" fmla="*/ 3033 w 80"/>
                      <a:gd name="T7" fmla="*/ 2272 h 71"/>
                      <a:gd name="T8" fmla="*/ 2687 w 80"/>
                      <a:gd name="T9" fmla="*/ 2272 h 71"/>
                      <a:gd name="T10" fmla="*/ 2380 w 80"/>
                      <a:gd name="T11" fmla="*/ 2659 h 71"/>
                      <a:gd name="T12" fmla="*/ 2161 w 80"/>
                      <a:gd name="T13" fmla="*/ 2659 h 71"/>
                      <a:gd name="T14" fmla="*/ 1758 w 80"/>
                      <a:gd name="T15" fmla="*/ 2432 h 71"/>
                      <a:gd name="T16" fmla="*/ 1501 w 80"/>
                      <a:gd name="T17" fmla="*/ 1914 h 71"/>
                      <a:gd name="T18" fmla="*/ 1380 w 80"/>
                      <a:gd name="T19" fmla="*/ 1635 h 71"/>
                      <a:gd name="T20" fmla="*/ 800 w 80"/>
                      <a:gd name="T21" fmla="*/ 1537 h 71"/>
                      <a:gd name="T22" fmla="*/ 591 w 80"/>
                      <a:gd name="T23" fmla="*/ 1243 h 71"/>
                      <a:gd name="T24" fmla="*/ 7 w 80"/>
                      <a:gd name="T25" fmla="*/ 1106 h 71"/>
                      <a:gd name="T26" fmla="*/ 5 w 80"/>
                      <a:gd name="T27" fmla="*/ 714 h 71"/>
                      <a:gd name="T28" fmla="*/ 2 w 80"/>
                      <a:gd name="T29" fmla="*/ 606 h 71"/>
                      <a:gd name="T30" fmla="*/ 0 w 80"/>
                      <a:gd name="T31" fmla="*/ 514 h 71"/>
                      <a:gd name="T32" fmla="*/ 0 w 80"/>
                      <a:gd name="T33" fmla="*/ 413 h 71"/>
                      <a:gd name="T34" fmla="*/ 3 w 80"/>
                      <a:gd name="T35" fmla="*/ 5 h 71"/>
                      <a:gd name="T36" fmla="*/ 7 w 80"/>
                      <a:gd name="T37" fmla="*/ 4 h 71"/>
                      <a:gd name="T38" fmla="*/ 591 w 80"/>
                      <a:gd name="T39" fmla="*/ 2 h 71"/>
                      <a:gd name="T40" fmla="*/ 753 w 80"/>
                      <a:gd name="T41" fmla="*/ 0 h 71"/>
                      <a:gd name="T42" fmla="*/ 1380 w 80"/>
                      <a:gd name="T43" fmla="*/ 4 h 71"/>
                      <a:gd name="T44" fmla="*/ 1558 w 80"/>
                      <a:gd name="T45" fmla="*/ 7 h 71"/>
                      <a:gd name="T46" fmla="*/ 1758 w 80"/>
                      <a:gd name="T47" fmla="*/ 413 h 71"/>
                      <a:gd name="T48" fmla="*/ 2034 w 80"/>
                      <a:gd name="T49" fmla="*/ 543 h 71"/>
                      <a:gd name="T50" fmla="*/ 2161 w 80"/>
                      <a:gd name="T51" fmla="*/ 1114 h 71"/>
                      <a:gd name="T52" fmla="*/ 2856 w 80"/>
                      <a:gd name="T53" fmla="*/ 1177 h 71"/>
                      <a:gd name="T54" fmla="*/ 3230 w 80"/>
                      <a:gd name="T55" fmla="*/ 1114 h 71"/>
                      <a:gd name="T56" fmla="*/ 3511 w 80"/>
                      <a:gd name="T57" fmla="*/ 1243 h 71"/>
                      <a:gd name="T58" fmla="*/ 3865 w 80"/>
                      <a:gd name="T59" fmla="*/ 1243 h 71"/>
                      <a:gd name="T60" fmla="*/ 4111 w 80"/>
                      <a:gd name="T61" fmla="*/ 1243 h 71"/>
                      <a:gd name="T62" fmla="*/ 4374 w 80"/>
                      <a:gd name="T63" fmla="*/ 1635 h 71"/>
                      <a:gd name="T64" fmla="*/ 4364 w 80"/>
                      <a:gd name="T65" fmla="*/ 1727 h 71"/>
                      <a:gd name="T66" fmla="*/ 4153 w 80"/>
                      <a:gd name="T67" fmla="*/ 1914 h 71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80"/>
                      <a:gd name="T103" fmla="*/ 0 h 71"/>
                      <a:gd name="T104" fmla="*/ 80 w 80"/>
                      <a:gd name="T105" fmla="*/ 71 h 71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80" h="71">
                        <a:moveTo>
                          <a:pt x="76" y="51"/>
                        </a:moveTo>
                        <a:lnTo>
                          <a:pt x="69" y="57"/>
                        </a:lnTo>
                        <a:lnTo>
                          <a:pt x="59" y="61"/>
                        </a:lnTo>
                        <a:lnTo>
                          <a:pt x="54" y="61"/>
                        </a:lnTo>
                        <a:lnTo>
                          <a:pt x="48" y="61"/>
                        </a:lnTo>
                        <a:lnTo>
                          <a:pt x="42" y="71"/>
                        </a:lnTo>
                        <a:lnTo>
                          <a:pt x="39" y="71"/>
                        </a:lnTo>
                        <a:lnTo>
                          <a:pt x="32" y="66"/>
                        </a:lnTo>
                        <a:lnTo>
                          <a:pt x="27" y="51"/>
                        </a:lnTo>
                        <a:lnTo>
                          <a:pt x="24" y="44"/>
                        </a:lnTo>
                        <a:lnTo>
                          <a:pt x="15" y="41"/>
                        </a:lnTo>
                        <a:lnTo>
                          <a:pt x="10" y="34"/>
                        </a:lnTo>
                        <a:lnTo>
                          <a:pt x="7" y="29"/>
                        </a:lnTo>
                        <a:lnTo>
                          <a:pt x="5" y="20"/>
                        </a:lnTo>
                        <a:lnTo>
                          <a:pt x="2" y="17"/>
                        </a:lnTo>
                        <a:lnTo>
                          <a:pt x="0" y="14"/>
                        </a:lnTo>
                        <a:lnTo>
                          <a:pt x="0" y="10"/>
                        </a:lnTo>
                        <a:lnTo>
                          <a:pt x="3" y="5"/>
                        </a:lnTo>
                        <a:lnTo>
                          <a:pt x="7" y="4"/>
                        </a:lnTo>
                        <a:lnTo>
                          <a:pt x="10" y="2"/>
                        </a:lnTo>
                        <a:lnTo>
                          <a:pt x="14" y="0"/>
                        </a:lnTo>
                        <a:lnTo>
                          <a:pt x="24" y="4"/>
                        </a:lnTo>
                        <a:lnTo>
                          <a:pt x="28" y="7"/>
                        </a:lnTo>
                        <a:lnTo>
                          <a:pt x="32" y="10"/>
                        </a:lnTo>
                        <a:lnTo>
                          <a:pt x="37" y="15"/>
                        </a:lnTo>
                        <a:lnTo>
                          <a:pt x="39" y="30"/>
                        </a:lnTo>
                        <a:lnTo>
                          <a:pt x="52" y="32"/>
                        </a:lnTo>
                        <a:lnTo>
                          <a:pt x="59" y="30"/>
                        </a:lnTo>
                        <a:lnTo>
                          <a:pt x="64" y="34"/>
                        </a:lnTo>
                        <a:lnTo>
                          <a:pt x="69" y="34"/>
                        </a:lnTo>
                        <a:lnTo>
                          <a:pt x="74" y="34"/>
                        </a:lnTo>
                        <a:lnTo>
                          <a:pt x="80" y="44"/>
                        </a:lnTo>
                        <a:lnTo>
                          <a:pt x="78" y="46"/>
                        </a:lnTo>
                        <a:lnTo>
                          <a:pt x="76" y="5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3" name="Freeform 21"/>
                  <p:cNvSpPr>
                    <a:spLocks/>
                  </p:cNvSpPr>
                  <p:nvPr/>
                </p:nvSpPr>
                <p:spPr bwMode="auto">
                  <a:xfrm>
                    <a:off x="1818" y="1940"/>
                    <a:ext cx="85" cy="75"/>
                  </a:xfrm>
                  <a:custGeom>
                    <a:avLst/>
                    <a:gdLst>
                      <a:gd name="T0" fmla="*/ 4153 w 80"/>
                      <a:gd name="T1" fmla="*/ 1914 h 71"/>
                      <a:gd name="T2" fmla="*/ 3865 w 80"/>
                      <a:gd name="T3" fmla="*/ 2136 h 71"/>
                      <a:gd name="T4" fmla="*/ 3230 w 80"/>
                      <a:gd name="T5" fmla="*/ 2272 h 71"/>
                      <a:gd name="T6" fmla="*/ 3033 w 80"/>
                      <a:gd name="T7" fmla="*/ 2272 h 71"/>
                      <a:gd name="T8" fmla="*/ 2687 w 80"/>
                      <a:gd name="T9" fmla="*/ 2272 h 71"/>
                      <a:gd name="T10" fmla="*/ 2380 w 80"/>
                      <a:gd name="T11" fmla="*/ 2659 h 71"/>
                      <a:gd name="T12" fmla="*/ 2161 w 80"/>
                      <a:gd name="T13" fmla="*/ 2659 h 71"/>
                      <a:gd name="T14" fmla="*/ 1758 w 80"/>
                      <a:gd name="T15" fmla="*/ 2432 h 71"/>
                      <a:gd name="T16" fmla="*/ 1501 w 80"/>
                      <a:gd name="T17" fmla="*/ 1914 h 71"/>
                      <a:gd name="T18" fmla="*/ 1380 w 80"/>
                      <a:gd name="T19" fmla="*/ 1635 h 71"/>
                      <a:gd name="T20" fmla="*/ 800 w 80"/>
                      <a:gd name="T21" fmla="*/ 1537 h 71"/>
                      <a:gd name="T22" fmla="*/ 591 w 80"/>
                      <a:gd name="T23" fmla="*/ 1243 h 71"/>
                      <a:gd name="T24" fmla="*/ 7 w 80"/>
                      <a:gd name="T25" fmla="*/ 1106 h 71"/>
                      <a:gd name="T26" fmla="*/ 5 w 80"/>
                      <a:gd name="T27" fmla="*/ 714 h 71"/>
                      <a:gd name="T28" fmla="*/ 2 w 80"/>
                      <a:gd name="T29" fmla="*/ 606 h 71"/>
                      <a:gd name="T30" fmla="*/ 0 w 80"/>
                      <a:gd name="T31" fmla="*/ 514 h 71"/>
                      <a:gd name="T32" fmla="*/ 0 w 80"/>
                      <a:gd name="T33" fmla="*/ 413 h 71"/>
                      <a:gd name="T34" fmla="*/ 3 w 80"/>
                      <a:gd name="T35" fmla="*/ 5 h 71"/>
                      <a:gd name="T36" fmla="*/ 7 w 80"/>
                      <a:gd name="T37" fmla="*/ 4 h 71"/>
                      <a:gd name="T38" fmla="*/ 591 w 80"/>
                      <a:gd name="T39" fmla="*/ 2 h 71"/>
                      <a:gd name="T40" fmla="*/ 753 w 80"/>
                      <a:gd name="T41" fmla="*/ 0 h 71"/>
                      <a:gd name="T42" fmla="*/ 1380 w 80"/>
                      <a:gd name="T43" fmla="*/ 4 h 71"/>
                      <a:gd name="T44" fmla="*/ 1558 w 80"/>
                      <a:gd name="T45" fmla="*/ 7 h 71"/>
                      <a:gd name="T46" fmla="*/ 1758 w 80"/>
                      <a:gd name="T47" fmla="*/ 413 h 71"/>
                      <a:gd name="T48" fmla="*/ 2034 w 80"/>
                      <a:gd name="T49" fmla="*/ 543 h 71"/>
                      <a:gd name="T50" fmla="*/ 2161 w 80"/>
                      <a:gd name="T51" fmla="*/ 1114 h 71"/>
                      <a:gd name="T52" fmla="*/ 2856 w 80"/>
                      <a:gd name="T53" fmla="*/ 1177 h 71"/>
                      <a:gd name="T54" fmla="*/ 3230 w 80"/>
                      <a:gd name="T55" fmla="*/ 1114 h 71"/>
                      <a:gd name="T56" fmla="*/ 3511 w 80"/>
                      <a:gd name="T57" fmla="*/ 1243 h 71"/>
                      <a:gd name="T58" fmla="*/ 3865 w 80"/>
                      <a:gd name="T59" fmla="*/ 1243 h 71"/>
                      <a:gd name="T60" fmla="*/ 4111 w 80"/>
                      <a:gd name="T61" fmla="*/ 1243 h 71"/>
                      <a:gd name="T62" fmla="*/ 4374 w 80"/>
                      <a:gd name="T63" fmla="*/ 1635 h 71"/>
                      <a:gd name="T64" fmla="*/ 4364 w 80"/>
                      <a:gd name="T65" fmla="*/ 1727 h 71"/>
                      <a:gd name="T66" fmla="*/ 4153 w 80"/>
                      <a:gd name="T67" fmla="*/ 1914 h 71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80"/>
                      <a:gd name="T103" fmla="*/ 0 h 71"/>
                      <a:gd name="T104" fmla="*/ 80 w 80"/>
                      <a:gd name="T105" fmla="*/ 71 h 71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80" h="71">
                        <a:moveTo>
                          <a:pt x="76" y="51"/>
                        </a:moveTo>
                        <a:lnTo>
                          <a:pt x="69" y="57"/>
                        </a:lnTo>
                        <a:lnTo>
                          <a:pt x="59" y="61"/>
                        </a:lnTo>
                        <a:lnTo>
                          <a:pt x="54" y="61"/>
                        </a:lnTo>
                        <a:lnTo>
                          <a:pt x="48" y="61"/>
                        </a:lnTo>
                        <a:lnTo>
                          <a:pt x="42" y="71"/>
                        </a:lnTo>
                        <a:lnTo>
                          <a:pt x="39" y="71"/>
                        </a:lnTo>
                        <a:lnTo>
                          <a:pt x="32" y="66"/>
                        </a:lnTo>
                        <a:lnTo>
                          <a:pt x="27" y="51"/>
                        </a:lnTo>
                        <a:lnTo>
                          <a:pt x="24" y="44"/>
                        </a:lnTo>
                        <a:lnTo>
                          <a:pt x="15" y="41"/>
                        </a:lnTo>
                        <a:lnTo>
                          <a:pt x="10" y="34"/>
                        </a:lnTo>
                        <a:lnTo>
                          <a:pt x="7" y="29"/>
                        </a:lnTo>
                        <a:lnTo>
                          <a:pt x="5" y="20"/>
                        </a:lnTo>
                        <a:lnTo>
                          <a:pt x="2" y="17"/>
                        </a:lnTo>
                        <a:lnTo>
                          <a:pt x="0" y="14"/>
                        </a:lnTo>
                        <a:lnTo>
                          <a:pt x="0" y="10"/>
                        </a:lnTo>
                        <a:lnTo>
                          <a:pt x="3" y="5"/>
                        </a:lnTo>
                        <a:lnTo>
                          <a:pt x="7" y="4"/>
                        </a:lnTo>
                        <a:lnTo>
                          <a:pt x="10" y="2"/>
                        </a:lnTo>
                        <a:lnTo>
                          <a:pt x="14" y="0"/>
                        </a:lnTo>
                        <a:lnTo>
                          <a:pt x="24" y="4"/>
                        </a:lnTo>
                        <a:lnTo>
                          <a:pt x="28" y="7"/>
                        </a:lnTo>
                        <a:lnTo>
                          <a:pt x="32" y="10"/>
                        </a:lnTo>
                        <a:lnTo>
                          <a:pt x="37" y="15"/>
                        </a:lnTo>
                        <a:lnTo>
                          <a:pt x="39" y="30"/>
                        </a:lnTo>
                        <a:lnTo>
                          <a:pt x="52" y="32"/>
                        </a:lnTo>
                        <a:lnTo>
                          <a:pt x="59" y="30"/>
                        </a:lnTo>
                        <a:lnTo>
                          <a:pt x="64" y="34"/>
                        </a:lnTo>
                        <a:lnTo>
                          <a:pt x="69" y="34"/>
                        </a:lnTo>
                        <a:lnTo>
                          <a:pt x="74" y="34"/>
                        </a:lnTo>
                        <a:lnTo>
                          <a:pt x="80" y="44"/>
                        </a:lnTo>
                        <a:lnTo>
                          <a:pt x="78" y="46"/>
                        </a:lnTo>
                        <a:lnTo>
                          <a:pt x="76" y="51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24" name="Picture 22"/>
                  <p:cNvPicPr>
                    <a:picLocks noChangeAspect="1" noChangeArrowheads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36" y="2426"/>
                    <a:ext cx="53" cy="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5" name="Picture 23"/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36" y="2426"/>
                    <a:ext cx="53" cy="6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6" name="Freeform 24"/>
                  <p:cNvSpPr>
                    <a:spLocks/>
                  </p:cNvSpPr>
                  <p:nvPr/>
                </p:nvSpPr>
                <p:spPr bwMode="auto">
                  <a:xfrm>
                    <a:off x="2541" y="2432"/>
                    <a:ext cx="38" cy="48"/>
                  </a:xfrm>
                  <a:custGeom>
                    <a:avLst/>
                    <a:gdLst>
                      <a:gd name="T0" fmla="*/ 4 w 35"/>
                      <a:gd name="T1" fmla="*/ 744 h 46"/>
                      <a:gd name="T2" fmla="*/ 3 w 35"/>
                      <a:gd name="T3" fmla="*/ 713 h 46"/>
                      <a:gd name="T4" fmla="*/ 3 w 35"/>
                      <a:gd name="T5" fmla="*/ 638 h 46"/>
                      <a:gd name="T6" fmla="*/ 1 w 35"/>
                      <a:gd name="T7" fmla="*/ 638 h 46"/>
                      <a:gd name="T8" fmla="*/ 0 w 35"/>
                      <a:gd name="T9" fmla="*/ 638 h 46"/>
                      <a:gd name="T10" fmla="*/ 0 w 35"/>
                      <a:gd name="T11" fmla="*/ 517 h 46"/>
                      <a:gd name="T12" fmla="*/ 3 w 35"/>
                      <a:gd name="T13" fmla="*/ 417 h 46"/>
                      <a:gd name="T14" fmla="*/ 2366 w 35"/>
                      <a:gd name="T15" fmla="*/ 297 h 46"/>
                      <a:gd name="T16" fmla="*/ 4961 w 35"/>
                      <a:gd name="T17" fmla="*/ 9 h 46"/>
                      <a:gd name="T18" fmla="*/ 6043 w 35"/>
                      <a:gd name="T19" fmla="*/ 4 h 46"/>
                      <a:gd name="T20" fmla="*/ 6893 w 35"/>
                      <a:gd name="T21" fmla="*/ 2 h 46"/>
                      <a:gd name="T22" fmla="*/ 7330 w 35"/>
                      <a:gd name="T23" fmla="*/ 0 h 46"/>
                      <a:gd name="T24" fmla="*/ 7734 w 35"/>
                      <a:gd name="T25" fmla="*/ 0 h 46"/>
                      <a:gd name="T26" fmla="*/ 7958 w 35"/>
                      <a:gd name="T27" fmla="*/ 2 h 46"/>
                      <a:gd name="T28" fmla="*/ 7958 w 35"/>
                      <a:gd name="T29" fmla="*/ 241 h 46"/>
                      <a:gd name="T30" fmla="*/ 7734 w 35"/>
                      <a:gd name="T31" fmla="*/ 297 h 46"/>
                      <a:gd name="T32" fmla="*/ 6893 w 35"/>
                      <a:gd name="T33" fmla="*/ 337 h 46"/>
                      <a:gd name="T34" fmla="*/ 5386 w 35"/>
                      <a:gd name="T35" fmla="*/ 400 h 46"/>
                      <a:gd name="T36" fmla="*/ 4569 w 35"/>
                      <a:gd name="T37" fmla="*/ 454 h 46"/>
                      <a:gd name="T38" fmla="*/ 2569 w 35"/>
                      <a:gd name="T39" fmla="*/ 638 h 46"/>
                      <a:gd name="T40" fmla="*/ 1849 w 35"/>
                      <a:gd name="T41" fmla="*/ 744 h 46"/>
                      <a:gd name="T42" fmla="*/ 4 w 35"/>
                      <a:gd name="T43" fmla="*/ 744 h 4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35"/>
                      <a:gd name="T67" fmla="*/ 0 h 46"/>
                      <a:gd name="T68" fmla="*/ 35 w 35"/>
                      <a:gd name="T69" fmla="*/ 46 h 4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35" h="46">
                        <a:moveTo>
                          <a:pt x="4" y="46"/>
                        </a:moveTo>
                        <a:lnTo>
                          <a:pt x="3" y="44"/>
                        </a:lnTo>
                        <a:lnTo>
                          <a:pt x="3" y="39"/>
                        </a:lnTo>
                        <a:lnTo>
                          <a:pt x="1" y="39"/>
                        </a:lnTo>
                        <a:lnTo>
                          <a:pt x="0" y="39"/>
                        </a:lnTo>
                        <a:lnTo>
                          <a:pt x="0" y="32"/>
                        </a:lnTo>
                        <a:lnTo>
                          <a:pt x="3" y="27"/>
                        </a:lnTo>
                        <a:lnTo>
                          <a:pt x="11" y="19"/>
                        </a:lnTo>
                        <a:lnTo>
                          <a:pt x="22" y="9"/>
                        </a:lnTo>
                        <a:lnTo>
                          <a:pt x="27" y="4"/>
                        </a:lnTo>
                        <a:lnTo>
                          <a:pt x="30" y="2"/>
                        </a:lnTo>
                        <a:lnTo>
                          <a:pt x="32" y="0"/>
                        </a:lnTo>
                        <a:lnTo>
                          <a:pt x="34" y="0"/>
                        </a:lnTo>
                        <a:lnTo>
                          <a:pt x="35" y="2"/>
                        </a:lnTo>
                        <a:lnTo>
                          <a:pt x="35" y="14"/>
                        </a:lnTo>
                        <a:lnTo>
                          <a:pt x="34" y="19"/>
                        </a:lnTo>
                        <a:lnTo>
                          <a:pt x="30" y="22"/>
                        </a:lnTo>
                        <a:lnTo>
                          <a:pt x="24" y="26"/>
                        </a:lnTo>
                        <a:lnTo>
                          <a:pt x="20" y="29"/>
                        </a:lnTo>
                        <a:lnTo>
                          <a:pt x="12" y="39"/>
                        </a:lnTo>
                        <a:lnTo>
                          <a:pt x="8" y="46"/>
                        </a:lnTo>
                        <a:lnTo>
                          <a:pt x="4" y="4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27" name="Freeform 25"/>
                  <p:cNvSpPr>
                    <a:spLocks/>
                  </p:cNvSpPr>
                  <p:nvPr/>
                </p:nvSpPr>
                <p:spPr bwMode="auto">
                  <a:xfrm>
                    <a:off x="2541" y="2432"/>
                    <a:ext cx="38" cy="48"/>
                  </a:xfrm>
                  <a:custGeom>
                    <a:avLst/>
                    <a:gdLst>
                      <a:gd name="T0" fmla="*/ 4 w 35"/>
                      <a:gd name="T1" fmla="*/ 744 h 46"/>
                      <a:gd name="T2" fmla="*/ 3 w 35"/>
                      <a:gd name="T3" fmla="*/ 713 h 46"/>
                      <a:gd name="T4" fmla="*/ 3 w 35"/>
                      <a:gd name="T5" fmla="*/ 638 h 46"/>
                      <a:gd name="T6" fmla="*/ 1 w 35"/>
                      <a:gd name="T7" fmla="*/ 638 h 46"/>
                      <a:gd name="T8" fmla="*/ 0 w 35"/>
                      <a:gd name="T9" fmla="*/ 638 h 46"/>
                      <a:gd name="T10" fmla="*/ 0 w 35"/>
                      <a:gd name="T11" fmla="*/ 517 h 46"/>
                      <a:gd name="T12" fmla="*/ 3 w 35"/>
                      <a:gd name="T13" fmla="*/ 417 h 46"/>
                      <a:gd name="T14" fmla="*/ 2366 w 35"/>
                      <a:gd name="T15" fmla="*/ 297 h 46"/>
                      <a:gd name="T16" fmla="*/ 4961 w 35"/>
                      <a:gd name="T17" fmla="*/ 9 h 46"/>
                      <a:gd name="T18" fmla="*/ 6043 w 35"/>
                      <a:gd name="T19" fmla="*/ 4 h 46"/>
                      <a:gd name="T20" fmla="*/ 6893 w 35"/>
                      <a:gd name="T21" fmla="*/ 2 h 46"/>
                      <a:gd name="T22" fmla="*/ 7330 w 35"/>
                      <a:gd name="T23" fmla="*/ 0 h 46"/>
                      <a:gd name="T24" fmla="*/ 7734 w 35"/>
                      <a:gd name="T25" fmla="*/ 0 h 46"/>
                      <a:gd name="T26" fmla="*/ 7958 w 35"/>
                      <a:gd name="T27" fmla="*/ 2 h 46"/>
                      <a:gd name="T28" fmla="*/ 7958 w 35"/>
                      <a:gd name="T29" fmla="*/ 241 h 46"/>
                      <a:gd name="T30" fmla="*/ 7734 w 35"/>
                      <a:gd name="T31" fmla="*/ 297 h 46"/>
                      <a:gd name="T32" fmla="*/ 6893 w 35"/>
                      <a:gd name="T33" fmla="*/ 337 h 46"/>
                      <a:gd name="T34" fmla="*/ 5386 w 35"/>
                      <a:gd name="T35" fmla="*/ 400 h 46"/>
                      <a:gd name="T36" fmla="*/ 4569 w 35"/>
                      <a:gd name="T37" fmla="*/ 454 h 46"/>
                      <a:gd name="T38" fmla="*/ 2569 w 35"/>
                      <a:gd name="T39" fmla="*/ 638 h 46"/>
                      <a:gd name="T40" fmla="*/ 1849 w 35"/>
                      <a:gd name="T41" fmla="*/ 744 h 46"/>
                      <a:gd name="T42" fmla="*/ 4 w 35"/>
                      <a:gd name="T43" fmla="*/ 744 h 4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35"/>
                      <a:gd name="T67" fmla="*/ 0 h 46"/>
                      <a:gd name="T68" fmla="*/ 35 w 35"/>
                      <a:gd name="T69" fmla="*/ 46 h 4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35" h="46">
                        <a:moveTo>
                          <a:pt x="4" y="46"/>
                        </a:moveTo>
                        <a:lnTo>
                          <a:pt x="3" y="44"/>
                        </a:lnTo>
                        <a:lnTo>
                          <a:pt x="3" y="39"/>
                        </a:lnTo>
                        <a:lnTo>
                          <a:pt x="1" y="39"/>
                        </a:lnTo>
                        <a:lnTo>
                          <a:pt x="0" y="39"/>
                        </a:lnTo>
                        <a:lnTo>
                          <a:pt x="0" y="32"/>
                        </a:lnTo>
                        <a:lnTo>
                          <a:pt x="3" y="27"/>
                        </a:lnTo>
                        <a:lnTo>
                          <a:pt x="11" y="19"/>
                        </a:lnTo>
                        <a:lnTo>
                          <a:pt x="22" y="9"/>
                        </a:lnTo>
                        <a:lnTo>
                          <a:pt x="27" y="4"/>
                        </a:lnTo>
                        <a:lnTo>
                          <a:pt x="30" y="2"/>
                        </a:lnTo>
                        <a:lnTo>
                          <a:pt x="32" y="0"/>
                        </a:lnTo>
                        <a:lnTo>
                          <a:pt x="34" y="0"/>
                        </a:lnTo>
                        <a:lnTo>
                          <a:pt x="35" y="2"/>
                        </a:lnTo>
                        <a:lnTo>
                          <a:pt x="35" y="14"/>
                        </a:lnTo>
                        <a:lnTo>
                          <a:pt x="34" y="19"/>
                        </a:lnTo>
                        <a:lnTo>
                          <a:pt x="30" y="22"/>
                        </a:lnTo>
                        <a:lnTo>
                          <a:pt x="24" y="26"/>
                        </a:lnTo>
                        <a:lnTo>
                          <a:pt x="20" y="29"/>
                        </a:lnTo>
                        <a:lnTo>
                          <a:pt x="12" y="39"/>
                        </a:lnTo>
                        <a:lnTo>
                          <a:pt x="8" y="46"/>
                        </a:lnTo>
                        <a:lnTo>
                          <a:pt x="4" y="46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28" name="Picture 26"/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80" y="2653"/>
                    <a:ext cx="103" cy="23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9" name="Picture 27"/>
                  <p:cNvPicPr>
                    <a:picLocks noChangeAspect="1" noChangeArrowheads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80" y="2653"/>
                    <a:ext cx="103" cy="23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30" name="Freeform 28"/>
                  <p:cNvSpPr>
                    <a:spLocks/>
                  </p:cNvSpPr>
                  <p:nvPr/>
                </p:nvSpPr>
                <p:spPr bwMode="auto">
                  <a:xfrm>
                    <a:off x="2486" y="2658"/>
                    <a:ext cx="82" cy="220"/>
                  </a:xfrm>
                  <a:custGeom>
                    <a:avLst/>
                    <a:gdLst>
                      <a:gd name="T0" fmla="*/ 782 w 77"/>
                      <a:gd name="T1" fmla="*/ 894 h 209"/>
                      <a:gd name="T2" fmla="*/ 1006 w 77"/>
                      <a:gd name="T3" fmla="*/ 1043 h 209"/>
                      <a:gd name="T4" fmla="*/ 1294 w 77"/>
                      <a:gd name="T5" fmla="*/ 1156 h 209"/>
                      <a:gd name="T6" fmla="*/ 1215 w 77"/>
                      <a:gd name="T7" fmla="*/ 1573 h 209"/>
                      <a:gd name="T8" fmla="*/ 1294 w 77"/>
                      <a:gd name="T9" fmla="*/ 1929 h 209"/>
                      <a:gd name="T10" fmla="*/ 1467 w 77"/>
                      <a:gd name="T11" fmla="*/ 2000 h 209"/>
                      <a:gd name="T12" fmla="*/ 1743 w 77"/>
                      <a:gd name="T13" fmla="*/ 2105 h 209"/>
                      <a:gd name="T14" fmla="*/ 1663 w 77"/>
                      <a:gd name="T15" fmla="*/ 2373 h 209"/>
                      <a:gd name="T16" fmla="*/ 1771 w 77"/>
                      <a:gd name="T17" fmla="*/ 2677 h 209"/>
                      <a:gd name="T18" fmla="*/ 1886 w 77"/>
                      <a:gd name="T19" fmla="*/ 2949 h 209"/>
                      <a:gd name="T20" fmla="*/ 1856 w 77"/>
                      <a:gd name="T21" fmla="*/ 3066 h 209"/>
                      <a:gd name="T22" fmla="*/ 1562 w 77"/>
                      <a:gd name="T23" fmla="*/ 3174 h 209"/>
                      <a:gd name="T24" fmla="*/ 1743 w 77"/>
                      <a:gd name="T25" fmla="*/ 3459 h 209"/>
                      <a:gd name="T26" fmla="*/ 2750 w 77"/>
                      <a:gd name="T27" fmla="*/ 3759 h 209"/>
                      <a:gd name="T28" fmla="*/ 3538 w 77"/>
                      <a:gd name="T29" fmla="*/ 4102 h 209"/>
                      <a:gd name="T30" fmla="*/ 3538 w 77"/>
                      <a:gd name="T31" fmla="*/ 4247 h 209"/>
                      <a:gd name="T32" fmla="*/ 3538 w 77"/>
                      <a:gd name="T33" fmla="*/ 4615 h 209"/>
                      <a:gd name="T34" fmla="*/ 3836 w 77"/>
                      <a:gd name="T35" fmla="*/ 5036 h 209"/>
                      <a:gd name="T36" fmla="*/ 4205 w 77"/>
                      <a:gd name="T37" fmla="*/ 5301 h 209"/>
                      <a:gd name="T38" fmla="*/ 4350 w 77"/>
                      <a:gd name="T39" fmla="*/ 5558 h 209"/>
                      <a:gd name="T40" fmla="*/ 4907 w 77"/>
                      <a:gd name="T41" fmla="*/ 5964 h 209"/>
                      <a:gd name="T42" fmla="*/ 4552 w 77"/>
                      <a:gd name="T43" fmla="*/ 6183 h 209"/>
                      <a:gd name="T44" fmla="*/ 4013 w 77"/>
                      <a:gd name="T45" fmla="*/ 5964 h 209"/>
                      <a:gd name="T46" fmla="*/ 3768 w 77"/>
                      <a:gd name="T47" fmla="*/ 5964 h 209"/>
                      <a:gd name="T48" fmla="*/ 3538 w 77"/>
                      <a:gd name="T49" fmla="*/ 5964 h 209"/>
                      <a:gd name="T50" fmla="*/ 3538 w 77"/>
                      <a:gd name="T51" fmla="*/ 5739 h 209"/>
                      <a:gd name="T52" fmla="*/ 3538 w 77"/>
                      <a:gd name="T53" fmla="*/ 5655 h 209"/>
                      <a:gd name="T54" fmla="*/ 3364 w 77"/>
                      <a:gd name="T55" fmla="*/ 5474 h 209"/>
                      <a:gd name="T56" fmla="*/ 3119 w 77"/>
                      <a:gd name="T57" fmla="*/ 4706 h 209"/>
                      <a:gd name="T58" fmla="*/ 2708 w 77"/>
                      <a:gd name="T59" fmla="*/ 4471 h 209"/>
                      <a:gd name="T60" fmla="*/ 1977 w 77"/>
                      <a:gd name="T61" fmla="*/ 4412 h 209"/>
                      <a:gd name="T62" fmla="*/ 1467 w 77"/>
                      <a:gd name="T63" fmla="*/ 4165 h 209"/>
                      <a:gd name="T64" fmla="*/ 1071 w 77"/>
                      <a:gd name="T65" fmla="*/ 3981 h 209"/>
                      <a:gd name="T66" fmla="*/ 782 w 77"/>
                      <a:gd name="T67" fmla="*/ 3620 h 209"/>
                      <a:gd name="T68" fmla="*/ 647 w 77"/>
                      <a:gd name="T69" fmla="*/ 3459 h 209"/>
                      <a:gd name="T70" fmla="*/ 7 w 77"/>
                      <a:gd name="T71" fmla="*/ 3174 h 209"/>
                      <a:gd name="T72" fmla="*/ 608 w 77"/>
                      <a:gd name="T73" fmla="*/ 2864 h 209"/>
                      <a:gd name="T74" fmla="*/ 608 w 77"/>
                      <a:gd name="T75" fmla="*/ 2662 h 209"/>
                      <a:gd name="T76" fmla="*/ 4 w 77"/>
                      <a:gd name="T77" fmla="*/ 2373 h 209"/>
                      <a:gd name="T78" fmla="*/ 0 w 77"/>
                      <a:gd name="T79" fmla="*/ 2031 h 209"/>
                      <a:gd name="T80" fmla="*/ 1 w 77"/>
                      <a:gd name="T81" fmla="*/ 1656 h 209"/>
                      <a:gd name="T82" fmla="*/ 4 w 77"/>
                      <a:gd name="T83" fmla="*/ 1156 h 209"/>
                      <a:gd name="T84" fmla="*/ 3 w 77"/>
                      <a:gd name="T85" fmla="*/ 991 h 209"/>
                      <a:gd name="T86" fmla="*/ 1 w 77"/>
                      <a:gd name="T87" fmla="*/ 1027 h 209"/>
                      <a:gd name="T88" fmla="*/ 0 w 77"/>
                      <a:gd name="T89" fmla="*/ 941 h 209"/>
                      <a:gd name="T90" fmla="*/ 1 w 77"/>
                      <a:gd name="T91" fmla="*/ 681 h 209"/>
                      <a:gd name="T92" fmla="*/ 4 w 77"/>
                      <a:gd name="T93" fmla="*/ 388 h 209"/>
                      <a:gd name="T94" fmla="*/ 6 w 77"/>
                      <a:gd name="T95" fmla="*/ 6 h 209"/>
                      <a:gd name="T96" fmla="*/ 7 w 77"/>
                      <a:gd name="T97" fmla="*/ 0 h 209"/>
                      <a:gd name="T98" fmla="*/ 647 w 77"/>
                      <a:gd name="T99" fmla="*/ 3 h 209"/>
                      <a:gd name="T100" fmla="*/ 689 w 77"/>
                      <a:gd name="T101" fmla="*/ 9 h 209"/>
                      <a:gd name="T102" fmla="*/ 734 w 77"/>
                      <a:gd name="T103" fmla="*/ 452 h 209"/>
                      <a:gd name="T104" fmla="*/ 734 w 77"/>
                      <a:gd name="T105" fmla="*/ 681 h 209"/>
                      <a:gd name="T106" fmla="*/ 782 w 77"/>
                      <a:gd name="T107" fmla="*/ 894 h 20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77"/>
                      <a:gd name="T163" fmla="*/ 0 h 209"/>
                      <a:gd name="T164" fmla="*/ 77 w 77"/>
                      <a:gd name="T165" fmla="*/ 209 h 20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77" h="209">
                        <a:moveTo>
                          <a:pt x="13" y="30"/>
                        </a:moveTo>
                        <a:lnTo>
                          <a:pt x="17" y="36"/>
                        </a:lnTo>
                        <a:lnTo>
                          <a:pt x="21" y="40"/>
                        </a:lnTo>
                        <a:lnTo>
                          <a:pt x="20" y="54"/>
                        </a:lnTo>
                        <a:lnTo>
                          <a:pt x="21" y="65"/>
                        </a:lnTo>
                        <a:lnTo>
                          <a:pt x="23" y="67"/>
                        </a:lnTo>
                        <a:lnTo>
                          <a:pt x="27" y="71"/>
                        </a:lnTo>
                        <a:lnTo>
                          <a:pt x="26" y="81"/>
                        </a:lnTo>
                        <a:lnTo>
                          <a:pt x="28" y="91"/>
                        </a:lnTo>
                        <a:lnTo>
                          <a:pt x="30" y="100"/>
                        </a:lnTo>
                        <a:lnTo>
                          <a:pt x="29" y="104"/>
                        </a:lnTo>
                        <a:lnTo>
                          <a:pt x="24" y="107"/>
                        </a:lnTo>
                        <a:lnTo>
                          <a:pt x="27" y="118"/>
                        </a:lnTo>
                        <a:lnTo>
                          <a:pt x="43" y="126"/>
                        </a:lnTo>
                        <a:lnTo>
                          <a:pt x="55" y="139"/>
                        </a:lnTo>
                        <a:lnTo>
                          <a:pt x="55" y="145"/>
                        </a:lnTo>
                        <a:lnTo>
                          <a:pt x="55" y="155"/>
                        </a:lnTo>
                        <a:lnTo>
                          <a:pt x="61" y="171"/>
                        </a:lnTo>
                        <a:lnTo>
                          <a:pt x="66" y="180"/>
                        </a:lnTo>
                        <a:lnTo>
                          <a:pt x="69" y="188"/>
                        </a:lnTo>
                        <a:lnTo>
                          <a:pt x="77" y="201"/>
                        </a:lnTo>
                        <a:lnTo>
                          <a:pt x="71" y="209"/>
                        </a:lnTo>
                        <a:lnTo>
                          <a:pt x="63" y="201"/>
                        </a:lnTo>
                        <a:lnTo>
                          <a:pt x="59" y="201"/>
                        </a:lnTo>
                        <a:lnTo>
                          <a:pt x="55" y="201"/>
                        </a:lnTo>
                        <a:lnTo>
                          <a:pt x="55" y="194"/>
                        </a:lnTo>
                        <a:lnTo>
                          <a:pt x="55" y="190"/>
                        </a:lnTo>
                        <a:lnTo>
                          <a:pt x="53" y="186"/>
                        </a:lnTo>
                        <a:lnTo>
                          <a:pt x="49" y="161"/>
                        </a:lnTo>
                        <a:lnTo>
                          <a:pt x="42" y="153"/>
                        </a:lnTo>
                        <a:lnTo>
                          <a:pt x="31" y="149"/>
                        </a:lnTo>
                        <a:lnTo>
                          <a:pt x="23" y="140"/>
                        </a:lnTo>
                        <a:lnTo>
                          <a:pt x="18" y="135"/>
                        </a:lnTo>
                        <a:lnTo>
                          <a:pt x="13" y="123"/>
                        </a:lnTo>
                        <a:lnTo>
                          <a:pt x="10" y="118"/>
                        </a:lnTo>
                        <a:lnTo>
                          <a:pt x="7" y="107"/>
                        </a:lnTo>
                        <a:lnTo>
                          <a:pt x="9" y="97"/>
                        </a:lnTo>
                        <a:lnTo>
                          <a:pt x="9" y="90"/>
                        </a:lnTo>
                        <a:lnTo>
                          <a:pt x="4" y="81"/>
                        </a:lnTo>
                        <a:lnTo>
                          <a:pt x="0" y="68"/>
                        </a:lnTo>
                        <a:lnTo>
                          <a:pt x="1" y="57"/>
                        </a:lnTo>
                        <a:lnTo>
                          <a:pt x="4" y="40"/>
                        </a:lnTo>
                        <a:lnTo>
                          <a:pt x="3" y="34"/>
                        </a:lnTo>
                        <a:lnTo>
                          <a:pt x="1" y="35"/>
                        </a:lnTo>
                        <a:lnTo>
                          <a:pt x="0" y="32"/>
                        </a:lnTo>
                        <a:lnTo>
                          <a:pt x="1" y="24"/>
                        </a:lnTo>
                        <a:lnTo>
                          <a:pt x="4" y="13"/>
                        </a:lnTo>
                        <a:lnTo>
                          <a:pt x="6" y="6"/>
                        </a:lnTo>
                        <a:lnTo>
                          <a:pt x="7" y="0"/>
                        </a:lnTo>
                        <a:lnTo>
                          <a:pt x="10" y="3"/>
                        </a:lnTo>
                        <a:lnTo>
                          <a:pt x="11" y="9"/>
                        </a:lnTo>
                        <a:lnTo>
                          <a:pt x="12" y="16"/>
                        </a:lnTo>
                        <a:lnTo>
                          <a:pt x="12" y="24"/>
                        </a:lnTo>
                        <a:lnTo>
                          <a:pt x="13" y="3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1" name="Freeform 29"/>
                  <p:cNvSpPr>
                    <a:spLocks/>
                  </p:cNvSpPr>
                  <p:nvPr/>
                </p:nvSpPr>
                <p:spPr bwMode="auto">
                  <a:xfrm>
                    <a:off x="2486" y="2658"/>
                    <a:ext cx="82" cy="220"/>
                  </a:xfrm>
                  <a:custGeom>
                    <a:avLst/>
                    <a:gdLst>
                      <a:gd name="T0" fmla="*/ 782 w 77"/>
                      <a:gd name="T1" fmla="*/ 894 h 209"/>
                      <a:gd name="T2" fmla="*/ 1006 w 77"/>
                      <a:gd name="T3" fmla="*/ 1043 h 209"/>
                      <a:gd name="T4" fmla="*/ 1294 w 77"/>
                      <a:gd name="T5" fmla="*/ 1156 h 209"/>
                      <a:gd name="T6" fmla="*/ 1215 w 77"/>
                      <a:gd name="T7" fmla="*/ 1573 h 209"/>
                      <a:gd name="T8" fmla="*/ 1294 w 77"/>
                      <a:gd name="T9" fmla="*/ 1929 h 209"/>
                      <a:gd name="T10" fmla="*/ 1467 w 77"/>
                      <a:gd name="T11" fmla="*/ 2000 h 209"/>
                      <a:gd name="T12" fmla="*/ 1743 w 77"/>
                      <a:gd name="T13" fmla="*/ 2105 h 209"/>
                      <a:gd name="T14" fmla="*/ 1663 w 77"/>
                      <a:gd name="T15" fmla="*/ 2373 h 209"/>
                      <a:gd name="T16" fmla="*/ 1771 w 77"/>
                      <a:gd name="T17" fmla="*/ 2677 h 209"/>
                      <a:gd name="T18" fmla="*/ 1886 w 77"/>
                      <a:gd name="T19" fmla="*/ 2949 h 209"/>
                      <a:gd name="T20" fmla="*/ 1856 w 77"/>
                      <a:gd name="T21" fmla="*/ 3066 h 209"/>
                      <a:gd name="T22" fmla="*/ 1562 w 77"/>
                      <a:gd name="T23" fmla="*/ 3174 h 209"/>
                      <a:gd name="T24" fmla="*/ 1743 w 77"/>
                      <a:gd name="T25" fmla="*/ 3459 h 209"/>
                      <a:gd name="T26" fmla="*/ 2750 w 77"/>
                      <a:gd name="T27" fmla="*/ 3759 h 209"/>
                      <a:gd name="T28" fmla="*/ 3538 w 77"/>
                      <a:gd name="T29" fmla="*/ 4102 h 209"/>
                      <a:gd name="T30" fmla="*/ 3538 w 77"/>
                      <a:gd name="T31" fmla="*/ 4247 h 209"/>
                      <a:gd name="T32" fmla="*/ 3538 w 77"/>
                      <a:gd name="T33" fmla="*/ 4615 h 209"/>
                      <a:gd name="T34" fmla="*/ 3836 w 77"/>
                      <a:gd name="T35" fmla="*/ 5036 h 209"/>
                      <a:gd name="T36" fmla="*/ 4205 w 77"/>
                      <a:gd name="T37" fmla="*/ 5301 h 209"/>
                      <a:gd name="T38" fmla="*/ 4350 w 77"/>
                      <a:gd name="T39" fmla="*/ 5558 h 209"/>
                      <a:gd name="T40" fmla="*/ 4907 w 77"/>
                      <a:gd name="T41" fmla="*/ 5964 h 209"/>
                      <a:gd name="T42" fmla="*/ 4552 w 77"/>
                      <a:gd name="T43" fmla="*/ 6183 h 209"/>
                      <a:gd name="T44" fmla="*/ 4013 w 77"/>
                      <a:gd name="T45" fmla="*/ 5964 h 209"/>
                      <a:gd name="T46" fmla="*/ 3768 w 77"/>
                      <a:gd name="T47" fmla="*/ 5964 h 209"/>
                      <a:gd name="T48" fmla="*/ 3538 w 77"/>
                      <a:gd name="T49" fmla="*/ 5964 h 209"/>
                      <a:gd name="T50" fmla="*/ 3538 w 77"/>
                      <a:gd name="T51" fmla="*/ 5739 h 209"/>
                      <a:gd name="T52" fmla="*/ 3538 w 77"/>
                      <a:gd name="T53" fmla="*/ 5655 h 209"/>
                      <a:gd name="T54" fmla="*/ 3364 w 77"/>
                      <a:gd name="T55" fmla="*/ 5474 h 209"/>
                      <a:gd name="T56" fmla="*/ 3119 w 77"/>
                      <a:gd name="T57" fmla="*/ 4706 h 209"/>
                      <a:gd name="T58" fmla="*/ 2708 w 77"/>
                      <a:gd name="T59" fmla="*/ 4471 h 209"/>
                      <a:gd name="T60" fmla="*/ 1977 w 77"/>
                      <a:gd name="T61" fmla="*/ 4412 h 209"/>
                      <a:gd name="T62" fmla="*/ 1467 w 77"/>
                      <a:gd name="T63" fmla="*/ 4165 h 209"/>
                      <a:gd name="T64" fmla="*/ 1071 w 77"/>
                      <a:gd name="T65" fmla="*/ 3981 h 209"/>
                      <a:gd name="T66" fmla="*/ 782 w 77"/>
                      <a:gd name="T67" fmla="*/ 3620 h 209"/>
                      <a:gd name="T68" fmla="*/ 647 w 77"/>
                      <a:gd name="T69" fmla="*/ 3459 h 209"/>
                      <a:gd name="T70" fmla="*/ 7 w 77"/>
                      <a:gd name="T71" fmla="*/ 3174 h 209"/>
                      <a:gd name="T72" fmla="*/ 608 w 77"/>
                      <a:gd name="T73" fmla="*/ 2864 h 209"/>
                      <a:gd name="T74" fmla="*/ 608 w 77"/>
                      <a:gd name="T75" fmla="*/ 2662 h 209"/>
                      <a:gd name="T76" fmla="*/ 4 w 77"/>
                      <a:gd name="T77" fmla="*/ 2373 h 209"/>
                      <a:gd name="T78" fmla="*/ 0 w 77"/>
                      <a:gd name="T79" fmla="*/ 2031 h 209"/>
                      <a:gd name="T80" fmla="*/ 1 w 77"/>
                      <a:gd name="T81" fmla="*/ 1656 h 209"/>
                      <a:gd name="T82" fmla="*/ 4 w 77"/>
                      <a:gd name="T83" fmla="*/ 1156 h 209"/>
                      <a:gd name="T84" fmla="*/ 3 w 77"/>
                      <a:gd name="T85" fmla="*/ 991 h 209"/>
                      <a:gd name="T86" fmla="*/ 1 w 77"/>
                      <a:gd name="T87" fmla="*/ 1027 h 209"/>
                      <a:gd name="T88" fmla="*/ 0 w 77"/>
                      <a:gd name="T89" fmla="*/ 941 h 209"/>
                      <a:gd name="T90" fmla="*/ 1 w 77"/>
                      <a:gd name="T91" fmla="*/ 681 h 209"/>
                      <a:gd name="T92" fmla="*/ 4 w 77"/>
                      <a:gd name="T93" fmla="*/ 388 h 209"/>
                      <a:gd name="T94" fmla="*/ 6 w 77"/>
                      <a:gd name="T95" fmla="*/ 6 h 209"/>
                      <a:gd name="T96" fmla="*/ 7 w 77"/>
                      <a:gd name="T97" fmla="*/ 0 h 209"/>
                      <a:gd name="T98" fmla="*/ 647 w 77"/>
                      <a:gd name="T99" fmla="*/ 3 h 209"/>
                      <a:gd name="T100" fmla="*/ 689 w 77"/>
                      <a:gd name="T101" fmla="*/ 9 h 209"/>
                      <a:gd name="T102" fmla="*/ 734 w 77"/>
                      <a:gd name="T103" fmla="*/ 452 h 209"/>
                      <a:gd name="T104" fmla="*/ 734 w 77"/>
                      <a:gd name="T105" fmla="*/ 681 h 209"/>
                      <a:gd name="T106" fmla="*/ 782 w 77"/>
                      <a:gd name="T107" fmla="*/ 894 h 20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77"/>
                      <a:gd name="T163" fmla="*/ 0 h 209"/>
                      <a:gd name="T164" fmla="*/ 77 w 77"/>
                      <a:gd name="T165" fmla="*/ 209 h 20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77" h="209">
                        <a:moveTo>
                          <a:pt x="13" y="30"/>
                        </a:moveTo>
                        <a:lnTo>
                          <a:pt x="17" y="36"/>
                        </a:lnTo>
                        <a:lnTo>
                          <a:pt x="21" y="40"/>
                        </a:lnTo>
                        <a:lnTo>
                          <a:pt x="20" y="54"/>
                        </a:lnTo>
                        <a:lnTo>
                          <a:pt x="21" y="65"/>
                        </a:lnTo>
                        <a:lnTo>
                          <a:pt x="23" y="67"/>
                        </a:lnTo>
                        <a:lnTo>
                          <a:pt x="27" y="71"/>
                        </a:lnTo>
                        <a:lnTo>
                          <a:pt x="26" y="81"/>
                        </a:lnTo>
                        <a:lnTo>
                          <a:pt x="28" y="91"/>
                        </a:lnTo>
                        <a:lnTo>
                          <a:pt x="30" y="100"/>
                        </a:lnTo>
                        <a:lnTo>
                          <a:pt x="29" y="104"/>
                        </a:lnTo>
                        <a:lnTo>
                          <a:pt x="24" y="107"/>
                        </a:lnTo>
                        <a:lnTo>
                          <a:pt x="27" y="118"/>
                        </a:lnTo>
                        <a:lnTo>
                          <a:pt x="43" y="126"/>
                        </a:lnTo>
                        <a:lnTo>
                          <a:pt x="55" y="139"/>
                        </a:lnTo>
                        <a:lnTo>
                          <a:pt x="55" y="145"/>
                        </a:lnTo>
                        <a:lnTo>
                          <a:pt x="55" y="155"/>
                        </a:lnTo>
                        <a:lnTo>
                          <a:pt x="61" y="171"/>
                        </a:lnTo>
                        <a:lnTo>
                          <a:pt x="66" y="180"/>
                        </a:lnTo>
                        <a:lnTo>
                          <a:pt x="69" y="188"/>
                        </a:lnTo>
                        <a:lnTo>
                          <a:pt x="77" y="201"/>
                        </a:lnTo>
                        <a:lnTo>
                          <a:pt x="71" y="209"/>
                        </a:lnTo>
                        <a:lnTo>
                          <a:pt x="63" y="201"/>
                        </a:lnTo>
                        <a:lnTo>
                          <a:pt x="59" y="201"/>
                        </a:lnTo>
                        <a:lnTo>
                          <a:pt x="55" y="201"/>
                        </a:lnTo>
                        <a:lnTo>
                          <a:pt x="55" y="194"/>
                        </a:lnTo>
                        <a:lnTo>
                          <a:pt x="55" y="190"/>
                        </a:lnTo>
                        <a:lnTo>
                          <a:pt x="53" y="186"/>
                        </a:lnTo>
                        <a:lnTo>
                          <a:pt x="49" y="161"/>
                        </a:lnTo>
                        <a:lnTo>
                          <a:pt x="42" y="153"/>
                        </a:lnTo>
                        <a:lnTo>
                          <a:pt x="31" y="149"/>
                        </a:lnTo>
                        <a:lnTo>
                          <a:pt x="23" y="140"/>
                        </a:lnTo>
                        <a:lnTo>
                          <a:pt x="18" y="135"/>
                        </a:lnTo>
                        <a:lnTo>
                          <a:pt x="13" y="123"/>
                        </a:lnTo>
                        <a:lnTo>
                          <a:pt x="10" y="118"/>
                        </a:lnTo>
                        <a:lnTo>
                          <a:pt x="7" y="107"/>
                        </a:lnTo>
                        <a:lnTo>
                          <a:pt x="9" y="97"/>
                        </a:lnTo>
                        <a:lnTo>
                          <a:pt x="9" y="90"/>
                        </a:lnTo>
                        <a:lnTo>
                          <a:pt x="4" y="81"/>
                        </a:lnTo>
                        <a:lnTo>
                          <a:pt x="0" y="68"/>
                        </a:lnTo>
                        <a:lnTo>
                          <a:pt x="1" y="57"/>
                        </a:lnTo>
                        <a:lnTo>
                          <a:pt x="4" y="40"/>
                        </a:lnTo>
                        <a:lnTo>
                          <a:pt x="3" y="34"/>
                        </a:lnTo>
                        <a:lnTo>
                          <a:pt x="1" y="35"/>
                        </a:lnTo>
                        <a:lnTo>
                          <a:pt x="0" y="32"/>
                        </a:lnTo>
                        <a:lnTo>
                          <a:pt x="1" y="24"/>
                        </a:lnTo>
                        <a:lnTo>
                          <a:pt x="4" y="13"/>
                        </a:lnTo>
                        <a:lnTo>
                          <a:pt x="6" y="6"/>
                        </a:lnTo>
                        <a:lnTo>
                          <a:pt x="7" y="0"/>
                        </a:lnTo>
                        <a:lnTo>
                          <a:pt x="10" y="3"/>
                        </a:lnTo>
                        <a:lnTo>
                          <a:pt x="11" y="9"/>
                        </a:lnTo>
                        <a:lnTo>
                          <a:pt x="12" y="16"/>
                        </a:lnTo>
                        <a:lnTo>
                          <a:pt x="12" y="24"/>
                        </a:lnTo>
                        <a:lnTo>
                          <a:pt x="13" y="3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32" name="Picture 30"/>
                  <p:cNvPicPr>
                    <a:picLocks noChangeAspect="1" noChangeArrowheads="1"/>
                  </p:cNvPicPr>
                  <p:nvPr/>
                </p:nvPicPr>
                <p:blipFill>
                  <a:blip r:embed="rId1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389" y="3188"/>
                    <a:ext cx="96" cy="7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33" name="Picture 31"/>
                  <p:cNvPicPr>
                    <a:picLocks noChangeAspect="1" noChangeArrowheads="1"/>
                  </p:cNvPicPr>
                  <p:nvPr/>
                </p:nvPicPr>
                <p:blipFill>
                  <a:blip r:embed="rId14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389" y="3188"/>
                    <a:ext cx="96" cy="7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34" name="Freeform 32"/>
                  <p:cNvSpPr>
                    <a:spLocks/>
                  </p:cNvSpPr>
                  <p:nvPr/>
                </p:nvSpPr>
                <p:spPr bwMode="auto">
                  <a:xfrm>
                    <a:off x="2396" y="3193"/>
                    <a:ext cx="77" cy="54"/>
                  </a:xfrm>
                  <a:custGeom>
                    <a:avLst/>
                    <a:gdLst>
                      <a:gd name="T0" fmla="*/ 7 w 72"/>
                      <a:gd name="T1" fmla="*/ 2017 h 51"/>
                      <a:gd name="T2" fmla="*/ 3 w 72"/>
                      <a:gd name="T3" fmla="*/ 2204 h 51"/>
                      <a:gd name="T4" fmla="*/ 0 w 72"/>
                      <a:gd name="T5" fmla="*/ 2204 h 51"/>
                      <a:gd name="T6" fmla="*/ 3 w 72"/>
                      <a:gd name="T7" fmla="*/ 1905 h 51"/>
                      <a:gd name="T8" fmla="*/ 6 w 72"/>
                      <a:gd name="T9" fmla="*/ 1797 h 51"/>
                      <a:gd name="T10" fmla="*/ 761 w 72"/>
                      <a:gd name="T11" fmla="*/ 1605 h 51"/>
                      <a:gd name="T12" fmla="*/ 761 w 72"/>
                      <a:gd name="T13" fmla="*/ 1514 h 51"/>
                      <a:gd name="T14" fmla="*/ 871 w 72"/>
                      <a:gd name="T15" fmla="*/ 1351 h 51"/>
                      <a:gd name="T16" fmla="*/ 1393 w 72"/>
                      <a:gd name="T17" fmla="*/ 1076 h 51"/>
                      <a:gd name="T18" fmla="*/ 1822 w 72"/>
                      <a:gd name="T19" fmla="*/ 682 h 51"/>
                      <a:gd name="T20" fmla="*/ 2084 w 72"/>
                      <a:gd name="T21" fmla="*/ 608 h 51"/>
                      <a:gd name="T22" fmla="*/ 2237 w 72"/>
                      <a:gd name="T23" fmla="*/ 512 h 51"/>
                      <a:gd name="T24" fmla="*/ 2237 w 72"/>
                      <a:gd name="T25" fmla="*/ 484 h 51"/>
                      <a:gd name="T26" fmla="*/ 2558 w 72"/>
                      <a:gd name="T27" fmla="*/ 457 h 51"/>
                      <a:gd name="T28" fmla="*/ 3129 w 72"/>
                      <a:gd name="T29" fmla="*/ 484 h 51"/>
                      <a:gd name="T30" fmla="*/ 3441 w 72"/>
                      <a:gd name="T31" fmla="*/ 4 h 51"/>
                      <a:gd name="T32" fmla="*/ 3578 w 72"/>
                      <a:gd name="T33" fmla="*/ 4 h 51"/>
                      <a:gd name="T34" fmla="*/ 3680 w 72"/>
                      <a:gd name="T35" fmla="*/ 2 h 51"/>
                      <a:gd name="T36" fmla="*/ 4081 w 72"/>
                      <a:gd name="T37" fmla="*/ 0 h 51"/>
                      <a:gd name="T38" fmla="*/ 4814 w 72"/>
                      <a:gd name="T39" fmla="*/ 1 h 51"/>
                      <a:gd name="T40" fmla="*/ 5178 w 72"/>
                      <a:gd name="T41" fmla="*/ 1 h 51"/>
                      <a:gd name="T42" fmla="*/ 5888 w 72"/>
                      <a:gd name="T43" fmla="*/ 5 h 51"/>
                      <a:gd name="T44" fmla="*/ 6105 w 72"/>
                      <a:gd name="T45" fmla="*/ 8 h 51"/>
                      <a:gd name="T46" fmla="*/ 5725 w 72"/>
                      <a:gd name="T47" fmla="*/ 457 h 51"/>
                      <a:gd name="T48" fmla="*/ 5506 w 72"/>
                      <a:gd name="T49" fmla="*/ 512 h 51"/>
                      <a:gd name="T50" fmla="*/ 5353 w 72"/>
                      <a:gd name="T51" fmla="*/ 512 h 51"/>
                      <a:gd name="T52" fmla="*/ 4842 w 72"/>
                      <a:gd name="T53" fmla="*/ 457 h 51"/>
                      <a:gd name="T54" fmla="*/ 4528 w 72"/>
                      <a:gd name="T55" fmla="*/ 432 h 51"/>
                      <a:gd name="T56" fmla="*/ 4501 w 72"/>
                      <a:gd name="T57" fmla="*/ 457 h 51"/>
                      <a:gd name="T58" fmla="*/ 4376 w 72"/>
                      <a:gd name="T59" fmla="*/ 512 h 51"/>
                      <a:gd name="T60" fmla="*/ 4209 w 72"/>
                      <a:gd name="T61" fmla="*/ 574 h 51"/>
                      <a:gd name="T62" fmla="*/ 4081 w 72"/>
                      <a:gd name="T63" fmla="*/ 512 h 51"/>
                      <a:gd name="T64" fmla="*/ 3936 w 72"/>
                      <a:gd name="T65" fmla="*/ 512 h 51"/>
                      <a:gd name="T66" fmla="*/ 3680 w 72"/>
                      <a:gd name="T67" fmla="*/ 574 h 51"/>
                      <a:gd name="T68" fmla="*/ 3441 w 72"/>
                      <a:gd name="T69" fmla="*/ 608 h 51"/>
                      <a:gd name="T70" fmla="*/ 3218 w 72"/>
                      <a:gd name="T71" fmla="*/ 682 h 51"/>
                      <a:gd name="T72" fmla="*/ 3218 w 72"/>
                      <a:gd name="T73" fmla="*/ 764 h 51"/>
                      <a:gd name="T74" fmla="*/ 3218 w 72"/>
                      <a:gd name="T75" fmla="*/ 857 h 51"/>
                      <a:gd name="T76" fmla="*/ 3129 w 72"/>
                      <a:gd name="T77" fmla="*/ 907 h 51"/>
                      <a:gd name="T78" fmla="*/ 2926 w 72"/>
                      <a:gd name="T79" fmla="*/ 857 h 51"/>
                      <a:gd name="T80" fmla="*/ 2550 w 72"/>
                      <a:gd name="T81" fmla="*/ 1016 h 51"/>
                      <a:gd name="T82" fmla="*/ 2384 w 72"/>
                      <a:gd name="T83" fmla="*/ 1076 h 51"/>
                      <a:gd name="T84" fmla="*/ 2237 w 72"/>
                      <a:gd name="T85" fmla="*/ 1206 h 51"/>
                      <a:gd name="T86" fmla="*/ 2084 w 72"/>
                      <a:gd name="T87" fmla="*/ 1276 h 51"/>
                      <a:gd name="T88" fmla="*/ 1822 w 72"/>
                      <a:gd name="T89" fmla="*/ 1352 h 51"/>
                      <a:gd name="T90" fmla="*/ 1490 w 72"/>
                      <a:gd name="T91" fmla="*/ 1516 h 51"/>
                      <a:gd name="T92" fmla="*/ 1218 w 72"/>
                      <a:gd name="T93" fmla="*/ 1605 h 51"/>
                      <a:gd name="T94" fmla="*/ 1139 w 72"/>
                      <a:gd name="T95" fmla="*/ 1797 h 51"/>
                      <a:gd name="T96" fmla="*/ 871 w 72"/>
                      <a:gd name="T97" fmla="*/ 1797 h 51"/>
                      <a:gd name="T98" fmla="*/ 7 w 72"/>
                      <a:gd name="T99" fmla="*/ 2017 h 51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72"/>
                      <a:gd name="T151" fmla="*/ 0 h 51"/>
                      <a:gd name="T152" fmla="*/ 72 w 72"/>
                      <a:gd name="T153" fmla="*/ 51 h 51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72" h="51">
                        <a:moveTo>
                          <a:pt x="7" y="47"/>
                        </a:moveTo>
                        <a:lnTo>
                          <a:pt x="3" y="51"/>
                        </a:lnTo>
                        <a:lnTo>
                          <a:pt x="0" y="51"/>
                        </a:lnTo>
                        <a:lnTo>
                          <a:pt x="3" y="44"/>
                        </a:lnTo>
                        <a:lnTo>
                          <a:pt x="6" y="41"/>
                        </a:lnTo>
                        <a:lnTo>
                          <a:pt x="8" y="38"/>
                        </a:lnTo>
                        <a:lnTo>
                          <a:pt x="8" y="35"/>
                        </a:lnTo>
                        <a:lnTo>
                          <a:pt x="10" y="31"/>
                        </a:lnTo>
                        <a:lnTo>
                          <a:pt x="17" y="25"/>
                        </a:lnTo>
                        <a:lnTo>
                          <a:pt x="21" y="17"/>
                        </a:lnTo>
                        <a:lnTo>
                          <a:pt x="24" y="15"/>
                        </a:lnTo>
                        <a:lnTo>
                          <a:pt x="27" y="12"/>
                        </a:lnTo>
                        <a:lnTo>
                          <a:pt x="27" y="11"/>
                        </a:lnTo>
                        <a:lnTo>
                          <a:pt x="31" y="10"/>
                        </a:lnTo>
                        <a:lnTo>
                          <a:pt x="37" y="11"/>
                        </a:lnTo>
                        <a:lnTo>
                          <a:pt x="41" y="4"/>
                        </a:lnTo>
                        <a:lnTo>
                          <a:pt x="43" y="4"/>
                        </a:lnTo>
                        <a:lnTo>
                          <a:pt x="44" y="2"/>
                        </a:lnTo>
                        <a:lnTo>
                          <a:pt x="48" y="0"/>
                        </a:lnTo>
                        <a:lnTo>
                          <a:pt x="57" y="1"/>
                        </a:lnTo>
                        <a:lnTo>
                          <a:pt x="62" y="1"/>
                        </a:lnTo>
                        <a:lnTo>
                          <a:pt x="70" y="5"/>
                        </a:lnTo>
                        <a:lnTo>
                          <a:pt x="72" y="8"/>
                        </a:lnTo>
                        <a:lnTo>
                          <a:pt x="68" y="10"/>
                        </a:lnTo>
                        <a:lnTo>
                          <a:pt x="65" y="12"/>
                        </a:lnTo>
                        <a:lnTo>
                          <a:pt x="64" y="12"/>
                        </a:lnTo>
                        <a:lnTo>
                          <a:pt x="58" y="10"/>
                        </a:lnTo>
                        <a:lnTo>
                          <a:pt x="54" y="9"/>
                        </a:lnTo>
                        <a:lnTo>
                          <a:pt x="53" y="10"/>
                        </a:lnTo>
                        <a:lnTo>
                          <a:pt x="52" y="12"/>
                        </a:lnTo>
                        <a:lnTo>
                          <a:pt x="50" y="14"/>
                        </a:lnTo>
                        <a:lnTo>
                          <a:pt x="48" y="12"/>
                        </a:lnTo>
                        <a:lnTo>
                          <a:pt x="47" y="12"/>
                        </a:lnTo>
                        <a:lnTo>
                          <a:pt x="44" y="14"/>
                        </a:lnTo>
                        <a:lnTo>
                          <a:pt x="41" y="15"/>
                        </a:lnTo>
                        <a:lnTo>
                          <a:pt x="38" y="17"/>
                        </a:lnTo>
                        <a:lnTo>
                          <a:pt x="38" y="19"/>
                        </a:lnTo>
                        <a:lnTo>
                          <a:pt x="38" y="21"/>
                        </a:lnTo>
                        <a:lnTo>
                          <a:pt x="37" y="22"/>
                        </a:lnTo>
                        <a:lnTo>
                          <a:pt x="35" y="21"/>
                        </a:lnTo>
                        <a:lnTo>
                          <a:pt x="30" y="24"/>
                        </a:lnTo>
                        <a:lnTo>
                          <a:pt x="28" y="25"/>
                        </a:lnTo>
                        <a:lnTo>
                          <a:pt x="27" y="28"/>
                        </a:lnTo>
                        <a:lnTo>
                          <a:pt x="24" y="29"/>
                        </a:lnTo>
                        <a:lnTo>
                          <a:pt x="21" y="32"/>
                        </a:lnTo>
                        <a:lnTo>
                          <a:pt x="18" y="36"/>
                        </a:lnTo>
                        <a:lnTo>
                          <a:pt x="15" y="38"/>
                        </a:lnTo>
                        <a:lnTo>
                          <a:pt x="14" y="41"/>
                        </a:lnTo>
                        <a:lnTo>
                          <a:pt x="10" y="41"/>
                        </a:lnTo>
                        <a:lnTo>
                          <a:pt x="7" y="4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5" name="Freeform 33"/>
                  <p:cNvSpPr>
                    <a:spLocks/>
                  </p:cNvSpPr>
                  <p:nvPr/>
                </p:nvSpPr>
                <p:spPr bwMode="auto">
                  <a:xfrm>
                    <a:off x="2396" y="3193"/>
                    <a:ext cx="77" cy="54"/>
                  </a:xfrm>
                  <a:custGeom>
                    <a:avLst/>
                    <a:gdLst>
                      <a:gd name="T0" fmla="*/ 7 w 72"/>
                      <a:gd name="T1" fmla="*/ 2017 h 51"/>
                      <a:gd name="T2" fmla="*/ 3 w 72"/>
                      <a:gd name="T3" fmla="*/ 2204 h 51"/>
                      <a:gd name="T4" fmla="*/ 0 w 72"/>
                      <a:gd name="T5" fmla="*/ 2204 h 51"/>
                      <a:gd name="T6" fmla="*/ 3 w 72"/>
                      <a:gd name="T7" fmla="*/ 1905 h 51"/>
                      <a:gd name="T8" fmla="*/ 6 w 72"/>
                      <a:gd name="T9" fmla="*/ 1797 h 51"/>
                      <a:gd name="T10" fmla="*/ 761 w 72"/>
                      <a:gd name="T11" fmla="*/ 1605 h 51"/>
                      <a:gd name="T12" fmla="*/ 761 w 72"/>
                      <a:gd name="T13" fmla="*/ 1514 h 51"/>
                      <a:gd name="T14" fmla="*/ 871 w 72"/>
                      <a:gd name="T15" fmla="*/ 1351 h 51"/>
                      <a:gd name="T16" fmla="*/ 1393 w 72"/>
                      <a:gd name="T17" fmla="*/ 1076 h 51"/>
                      <a:gd name="T18" fmla="*/ 1822 w 72"/>
                      <a:gd name="T19" fmla="*/ 682 h 51"/>
                      <a:gd name="T20" fmla="*/ 2084 w 72"/>
                      <a:gd name="T21" fmla="*/ 608 h 51"/>
                      <a:gd name="T22" fmla="*/ 2237 w 72"/>
                      <a:gd name="T23" fmla="*/ 512 h 51"/>
                      <a:gd name="T24" fmla="*/ 2237 w 72"/>
                      <a:gd name="T25" fmla="*/ 484 h 51"/>
                      <a:gd name="T26" fmla="*/ 2558 w 72"/>
                      <a:gd name="T27" fmla="*/ 457 h 51"/>
                      <a:gd name="T28" fmla="*/ 3129 w 72"/>
                      <a:gd name="T29" fmla="*/ 484 h 51"/>
                      <a:gd name="T30" fmla="*/ 3441 w 72"/>
                      <a:gd name="T31" fmla="*/ 4 h 51"/>
                      <a:gd name="T32" fmla="*/ 3578 w 72"/>
                      <a:gd name="T33" fmla="*/ 4 h 51"/>
                      <a:gd name="T34" fmla="*/ 3680 w 72"/>
                      <a:gd name="T35" fmla="*/ 2 h 51"/>
                      <a:gd name="T36" fmla="*/ 4081 w 72"/>
                      <a:gd name="T37" fmla="*/ 0 h 51"/>
                      <a:gd name="T38" fmla="*/ 4814 w 72"/>
                      <a:gd name="T39" fmla="*/ 1 h 51"/>
                      <a:gd name="T40" fmla="*/ 5178 w 72"/>
                      <a:gd name="T41" fmla="*/ 1 h 51"/>
                      <a:gd name="T42" fmla="*/ 5888 w 72"/>
                      <a:gd name="T43" fmla="*/ 5 h 51"/>
                      <a:gd name="T44" fmla="*/ 6105 w 72"/>
                      <a:gd name="T45" fmla="*/ 8 h 51"/>
                      <a:gd name="T46" fmla="*/ 5725 w 72"/>
                      <a:gd name="T47" fmla="*/ 457 h 51"/>
                      <a:gd name="T48" fmla="*/ 5506 w 72"/>
                      <a:gd name="T49" fmla="*/ 512 h 51"/>
                      <a:gd name="T50" fmla="*/ 5353 w 72"/>
                      <a:gd name="T51" fmla="*/ 512 h 51"/>
                      <a:gd name="T52" fmla="*/ 4842 w 72"/>
                      <a:gd name="T53" fmla="*/ 457 h 51"/>
                      <a:gd name="T54" fmla="*/ 4528 w 72"/>
                      <a:gd name="T55" fmla="*/ 432 h 51"/>
                      <a:gd name="T56" fmla="*/ 4501 w 72"/>
                      <a:gd name="T57" fmla="*/ 457 h 51"/>
                      <a:gd name="T58" fmla="*/ 4376 w 72"/>
                      <a:gd name="T59" fmla="*/ 512 h 51"/>
                      <a:gd name="T60" fmla="*/ 4209 w 72"/>
                      <a:gd name="T61" fmla="*/ 574 h 51"/>
                      <a:gd name="T62" fmla="*/ 4081 w 72"/>
                      <a:gd name="T63" fmla="*/ 512 h 51"/>
                      <a:gd name="T64" fmla="*/ 3936 w 72"/>
                      <a:gd name="T65" fmla="*/ 512 h 51"/>
                      <a:gd name="T66" fmla="*/ 3680 w 72"/>
                      <a:gd name="T67" fmla="*/ 574 h 51"/>
                      <a:gd name="T68" fmla="*/ 3441 w 72"/>
                      <a:gd name="T69" fmla="*/ 608 h 51"/>
                      <a:gd name="T70" fmla="*/ 3218 w 72"/>
                      <a:gd name="T71" fmla="*/ 682 h 51"/>
                      <a:gd name="T72" fmla="*/ 3218 w 72"/>
                      <a:gd name="T73" fmla="*/ 764 h 51"/>
                      <a:gd name="T74" fmla="*/ 3218 w 72"/>
                      <a:gd name="T75" fmla="*/ 857 h 51"/>
                      <a:gd name="T76" fmla="*/ 3129 w 72"/>
                      <a:gd name="T77" fmla="*/ 907 h 51"/>
                      <a:gd name="T78" fmla="*/ 2926 w 72"/>
                      <a:gd name="T79" fmla="*/ 857 h 51"/>
                      <a:gd name="T80" fmla="*/ 2550 w 72"/>
                      <a:gd name="T81" fmla="*/ 1016 h 51"/>
                      <a:gd name="T82" fmla="*/ 2384 w 72"/>
                      <a:gd name="T83" fmla="*/ 1076 h 51"/>
                      <a:gd name="T84" fmla="*/ 2237 w 72"/>
                      <a:gd name="T85" fmla="*/ 1206 h 51"/>
                      <a:gd name="T86" fmla="*/ 2084 w 72"/>
                      <a:gd name="T87" fmla="*/ 1276 h 51"/>
                      <a:gd name="T88" fmla="*/ 1822 w 72"/>
                      <a:gd name="T89" fmla="*/ 1352 h 51"/>
                      <a:gd name="T90" fmla="*/ 1490 w 72"/>
                      <a:gd name="T91" fmla="*/ 1516 h 51"/>
                      <a:gd name="T92" fmla="*/ 1218 w 72"/>
                      <a:gd name="T93" fmla="*/ 1605 h 51"/>
                      <a:gd name="T94" fmla="*/ 1139 w 72"/>
                      <a:gd name="T95" fmla="*/ 1797 h 51"/>
                      <a:gd name="T96" fmla="*/ 871 w 72"/>
                      <a:gd name="T97" fmla="*/ 1797 h 51"/>
                      <a:gd name="T98" fmla="*/ 7 w 72"/>
                      <a:gd name="T99" fmla="*/ 2017 h 51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72"/>
                      <a:gd name="T151" fmla="*/ 0 h 51"/>
                      <a:gd name="T152" fmla="*/ 72 w 72"/>
                      <a:gd name="T153" fmla="*/ 51 h 51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72" h="51">
                        <a:moveTo>
                          <a:pt x="7" y="47"/>
                        </a:moveTo>
                        <a:lnTo>
                          <a:pt x="3" y="51"/>
                        </a:lnTo>
                        <a:lnTo>
                          <a:pt x="0" y="51"/>
                        </a:lnTo>
                        <a:lnTo>
                          <a:pt x="3" y="44"/>
                        </a:lnTo>
                        <a:lnTo>
                          <a:pt x="6" y="41"/>
                        </a:lnTo>
                        <a:lnTo>
                          <a:pt x="8" y="38"/>
                        </a:lnTo>
                        <a:lnTo>
                          <a:pt x="8" y="35"/>
                        </a:lnTo>
                        <a:lnTo>
                          <a:pt x="10" y="31"/>
                        </a:lnTo>
                        <a:lnTo>
                          <a:pt x="17" y="25"/>
                        </a:lnTo>
                        <a:lnTo>
                          <a:pt x="21" y="17"/>
                        </a:lnTo>
                        <a:lnTo>
                          <a:pt x="24" y="15"/>
                        </a:lnTo>
                        <a:lnTo>
                          <a:pt x="27" y="12"/>
                        </a:lnTo>
                        <a:lnTo>
                          <a:pt x="27" y="11"/>
                        </a:lnTo>
                        <a:lnTo>
                          <a:pt x="31" y="10"/>
                        </a:lnTo>
                        <a:lnTo>
                          <a:pt x="37" y="11"/>
                        </a:lnTo>
                        <a:lnTo>
                          <a:pt x="41" y="4"/>
                        </a:lnTo>
                        <a:lnTo>
                          <a:pt x="43" y="4"/>
                        </a:lnTo>
                        <a:lnTo>
                          <a:pt x="44" y="2"/>
                        </a:lnTo>
                        <a:lnTo>
                          <a:pt x="48" y="0"/>
                        </a:lnTo>
                        <a:lnTo>
                          <a:pt x="57" y="1"/>
                        </a:lnTo>
                        <a:lnTo>
                          <a:pt x="62" y="1"/>
                        </a:lnTo>
                        <a:lnTo>
                          <a:pt x="70" y="5"/>
                        </a:lnTo>
                        <a:lnTo>
                          <a:pt x="72" y="8"/>
                        </a:lnTo>
                        <a:lnTo>
                          <a:pt x="68" y="10"/>
                        </a:lnTo>
                        <a:lnTo>
                          <a:pt x="65" y="12"/>
                        </a:lnTo>
                        <a:lnTo>
                          <a:pt x="64" y="12"/>
                        </a:lnTo>
                        <a:lnTo>
                          <a:pt x="58" y="10"/>
                        </a:lnTo>
                        <a:lnTo>
                          <a:pt x="54" y="9"/>
                        </a:lnTo>
                        <a:lnTo>
                          <a:pt x="53" y="10"/>
                        </a:lnTo>
                        <a:lnTo>
                          <a:pt x="52" y="12"/>
                        </a:lnTo>
                        <a:lnTo>
                          <a:pt x="50" y="14"/>
                        </a:lnTo>
                        <a:lnTo>
                          <a:pt x="48" y="12"/>
                        </a:lnTo>
                        <a:lnTo>
                          <a:pt x="47" y="12"/>
                        </a:lnTo>
                        <a:lnTo>
                          <a:pt x="44" y="14"/>
                        </a:lnTo>
                        <a:lnTo>
                          <a:pt x="41" y="15"/>
                        </a:lnTo>
                        <a:lnTo>
                          <a:pt x="38" y="17"/>
                        </a:lnTo>
                        <a:lnTo>
                          <a:pt x="38" y="19"/>
                        </a:lnTo>
                        <a:lnTo>
                          <a:pt x="38" y="21"/>
                        </a:lnTo>
                        <a:lnTo>
                          <a:pt x="37" y="22"/>
                        </a:lnTo>
                        <a:lnTo>
                          <a:pt x="35" y="21"/>
                        </a:lnTo>
                        <a:lnTo>
                          <a:pt x="30" y="24"/>
                        </a:lnTo>
                        <a:lnTo>
                          <a:pt x="28" y="25"/>
                        </a:lnTo>
                        <a:lnTo>
                          <a:pt x="27" y="28"/>
                        </a:lnTo>
                        <a:lnTo>
                          <a:pt x="24" y="29"/>
                        </a:lnTo>
                        <a:lnTo>
                          <a:pt x="21" y="32"/>
                        </a:lnTo>
                        <a:lnTo>
                          <a:pt x="18" y="36"/>
                        </a:lnTo>
                        <a:lnTo>
                          <a:pt x="15" y="38"/>
                        </a:lnTo>
                        <a:lnTo>
                          <a:pt x="14" y="41"/>
                        </a:lnTo>
                        <a:lnTo>
                          <a:pt x="10" y="41"/>
                        </a:lnTo>
                        <a:lnTo>
                          <a:pt x="7" y="47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6" name="Freeform 34"/>
                  <p:cNvSpPr>
                    <a:spLocks/>
                  </p:cNvSpPr>
                  <p:nvPr/>
                </p:nvSpPr>
                <p:spPr bwMode="auto">
                  <a:xfrm>
                    <a:off x="1832" y="1575"/>
                    <a:ext cx="443" cy="645"/>
                  </a:xfrm>
                  <a:custGeom>
                    <a:avLst/>
                    <a:gdLst>
                      <a:gd name="T0" fmla="*/ 36134 w 414"/>
                      <a:gd name="T1" fmla="*/ 3850 h 614"/>
                      <a:gd name="T2" fmla="*/ 36134 w 414"/>
                      <a:gd name="T3" fmla="*/ 6647 h 614"/>
                      <a:gd name="T4" fmla="*/ 33769 w 414"/>
                      <a:gd name="T5" fmla="*/ 7578 h 614"/>
                      <a:gd name="T6" fmla="*/ 32489 w 414"/>
                      <a:gd name="T7" fmla="*/ 7627 h 614"/>
                      <a:gd name="T8" fmla="*/ 31901 w 414"/>
                      <a:gd name="T9" fmla="*/ 8238 h 614"/>
                      <a:gd name="T10" fmla="*/ 30243 w 414"/>
                      <a:gd name="T11" fmla="*/ 9021 h 614"/>
                      <a:gd name="T12" fmla="*/ 30237 w 414"/>
                      <a:gd name="T13" fmla="*/ 9275 h 614"/>
                      <a:gd name="T14" fmla="*/ 29492 w 414"/>
                      <a:gd name="T15" fmla="*/ 9647 h 614"/>
                      <a:gd name="T16" fmla="*/ 28912 w 414"/>
                      <a:gd name="T17" fmla="*/ 10235 h 614"/>
                      <a:gd name="T18" fmla="*/ 29146 w 414"/>
                      <a:gd name="T19" fmla="*/ 10603 h 614"/>
                      <a:gd name="T20" fmla="*/ 30243 w 414"/>
                      <a:gd name="T21" fmla="*/ 10768 h 614"/>
                      <a:gd name="T22" fmla="*/ 31241 w 414"/>
                      <a:gd name="T23" fmla="*/ 11700 h 614"/>
                      <a:gd name="T24" fmla="*/ 32038 w 414"/>
                      <a:gd name="T25" fmla="*/ 12061 h 614"/>
                      <a:gd name="T26" fmla="*/ 30937 w 414"/>
                      <a:gd name="T27" fmla="*/ 12266 h 614"/>
                      <a:gd name="T28" fmla="*/ 29146 w 414"/>
                      <a:gd name="T29" fmla="*/ 12401 h 614"/>
                      <a:gd name="T30" fmla="*/ 28284 w 414"/>
                      <a:gd name="T31" fmla="*/ 12996 h 614"/>
                      <a:gd name="T32" fmla="*/ 27243 w 414"/>
                      <a:gd name="T33" fmla="*/ 13248 h 614"/>
                      <a:gd name="T34" fmla="*/ 25757 w 414"/>
                      <a:gd name="T35" fmla="*/ 13768 h 614"/>
                      <a:gd name="T36" fmla="*/ 24437 w 414"/>
                      <a:gd name="T37" fmla="*/ 13917 h 614"/>
                      <a:gd name="T38" fmla="*/ 23461 w 414"/>
                      <a:gd name="T39" fmla="*/ 14166 h 614"/>
                      <a:gd name="T40" fmla="*/ 22389 w 414"/>
                      <a:gd name="T41" fmla="*/ 14187 h 614"/>
                      <a:gd name="T42" fmla="*/ 20245 w 414"/>
                      <a:gd name="T43" fmla="*/ 14197 h 614"/>
                      <a:gd name="T44" fmla="*/ 18902 w 414"/>
                      <a:gd name="T45" fmla="*/ 14341 h 614"/>
                      <a:gd name="T46" fmla="*/ 19073 w 414"/>
                      <a:gd name="T47" fmla="*/ 14551 h 614"/>
                      <a:gd name="T48" fmla="*/ 18902 w 414"/>
                      <a:gd name="T49" fmla="*/ 14814 h 614"/>
                      <a:gd name="T50" fmla="*/ 18273 w 414"/>
                      <a:gd name="T51" fmla="*/ 15065 h 614"/>
                      <a:gd name="T52" fmla="*/ 17824 w 414"/>
                      <a:gd name="T53" fmla="*/ 15205 h 614"/>
                      <a:gd name="T54" fmla="*/ 15363 w 414"/>
                      <a:gd name="T55" fmla="*/ 15286 h 614"/>
                      <a:gd name="T56" fmla="*/ 13230 w 414"/>
                      <a:gd name="T57" fmla="*/ 15508 h 614"/>
                      <a:gd name="T58" fmla="*/ 12264 w 414"/>
                      <a:gd name="T59" fmla="*/ 15629 h 614"/>
                      <a:gd name="T60" fmla="*/ 11459 w 414"/>
                      <a:gd name="T61" fmla="*/ 15562 h 614"/>
                      <a:gd name="T62" fmla="*/ 10843 w 414"/>
                      <a:gd name="T63" fmla="*/ 15437 h 614"/>
                      <a:gd name="T64" fmla="*/ 10371 w 414"/>
                      <a:gd name="T65" fmla="*/ 15467 h 614"/>
                      <a:gd name="T66" fmla="*/ 8814 w 414"/>
                      <a:gd name="T67" fmla="*/ 15826 h 614"/>
                      <a:gd name="T68" fmla="*/ 7809 w 414"/>
                      <a:gd name="T69" fmla="*/ 15724 h 614"/>
                      <a:gd name="T70" fmla="*/ 6667 w 414"/>
                      <a:gd name="T71" fmla="*/ 15867 h 614"/>
                      <a:gd name="T72" fmla="*/ 6309 w 414"/>
                      <a:gd name="T73" fmla="*/ 15437 h 614"/>
                      <a:gd name="T74" fmla="*/ 5086 w 414"/>
                      <a:gd name="T75" fmla="*/ 14463 h 614"/>
                      <a:gd name="T76" fmla="*/ 3431 w 414"/>
                      <a:gd name="T77" fmla="*/ 14308 h 614"/>
                      <a:gd name="T78" fmla="*/ 2286 w 414"/>
                      <a:gd name="T79" fmla="*/ 13691 h 614"/>
                      <a:gd name="T80" fmla="*/ 2800 w 414"/>
                      <a:gd name="T81" fmla="*/ 13317 h 614"/>
                      <a:gd name="T82" fmla="*/ 4812 w 414"/>
                      <a:gd name="T83" fmla="*/ 13299 h 614"/>
                      <a:gd name="T84" fmla="*/ 6573 w 414"/>
                      <a:gd name="T85" fmla="*/ 13299 h 614"/>
                      <a:gd name="T86" fmla="*/ 5365 w 414"/>
                      <a:gd name="T87" fmla="*/ 12670 h 614"/>
                      <a:gd name="T88" fmla="*/ 4812 w 414"/>
                      <a:gd name="T89" fmla="*/ 11886 h 614"/>
                      <a:gd name="T90" fmla="*/ 4812 w 414"/>
                      <a:gd name="T91" fmla="*/ 11238 h 614"/>
                      <a:gd name="T92" fmla="*/ 4203 w 414"/>
                      <a:gd name="T93" fmla="*/ 10542 h 614"/>
                      <a:gd name="T94" fmla="*/ 5741 w 414"/>
                      <a:gd name="T95" fmla="*/ 10250 h 614"/>
                      <a:gd name="T96" fmla="*/ 5488 w 414"/>
                      <a:gd name="T97" fmla="*/ 9760 h 614"/>
                      <a:gd name="T98" fmla="*/ 4186 w 414"/>
                      <a:gd name="T99" fmla="*/ 9743 h 614"/>
                      <a:gd name="T100" fmla="*/ 2136 w 414"/>
                      <a:gd name="T101" fmla="*/ 9291 h 614"/>
                      <a:gd name="T102" fmla="*/ 1009 w 414"/>
                      <a:gd name="T103" fmla="*/ 9091 h 614"/>
                      <a:gd name="T104" fmla="*/ 3 w 414"/>
                      <a:gd name="T105" fmla="*/ 8688 h 614"/>
                      <a:gd name="T106" fmla="*/ 1009 w 414"/>
                      <a:gd name="T107" fmla="*/ 8365 h 614"/>
                      <a:gd name="T108" fmla="*/ 6723 w 414"/>
                      <a:gd name="T109" fmla="*/ 6358 h 614"/>
                      <a:gd name="T110" fmla="*/ 8814 w 414"/>
                      <a:gd name="T111" fmla="*/ 2891 h 614"/>
                      <a:gd name="T112" fmla="*/ 6667 w 414"/>
                      <a:gd name="T113" fmla="*/ 2483 h 614"/>
                      <a:gd name="T114" fmla="*/ 5896 w 414"/>
                      <a:gd name="T115" fmla="*/ 2048 h 614"/>
                      <a:gd name="T116" fmla="*/ 5488 w 414"/>
                      <a:gd name="T117" fmla="*/ 1759 h 614"/>
                      <a:gd name="T118" fmla="*/ 8941 w 414"/>
                      <a:gd name="T119" fmla="*/ 0 h 614"/>
                      <a:gd name="T120" fmla="*/ 15363 w 414"/>
                      <a:gd name="T121" fmla="*/ 882 h 614"/>
                      <a:gd name="T122" fmla="*/ 23980 w 414"/>
                      <a:gd name="T123" fmla="*/ 2119 h 614"/>
                      <a:gd name="T124" fmla="*/ 32531 w 414"/>
                      <a:gd name="T125" fmla="*/ 3408 h 61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414"/>
                      <a:gd name="T190" fmla="*/ 0 h 614"/>
                      <a:gd name="T191" fmla="*/ 414 w 414"/>
                      <a:gd name="T192" fmla="*/ 614 h 61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414" h="614">
                        <a:moveTo>
                          <a:pt x="374" y="132"/>
                        </a:moveTo>
                        <a:lnTo>
                          <a:pt x="407" y="148"/>
                        </a:lnTo>
                        <a:lnTo>
                          <a:pt x="414" y="149"/>
                        </a:lnTo>
                        <a:lnTo>
                          <a:pt x="414" y="185"/>
                        </a:lnTo>
                        <a:lnTo>
                          <a:pt x="414" y="222"/>
                        </a:lnTo>
                        <a:lnTo>
                          <a:pt x="414" y="258"/>
                        </a:lnTo>
                        <a:lnTo>
                          <a:pt x="412" y="292"/>
                        </a:lnTo>
                        <a:lnTo>
                          <a:pt x="409" y="293"/>
                        </a:lnTo>
                        <a:lnTo>
                          <a:pt x="387" y="293"/>
                        </a:lnTo>
                        <a:lnTo>
                          <a:pt x="381" y="294"/>
                        </a:lnTo>
                        <a:lnTo>
                          <a:pt x="372" y="294"/>
                        </a:lnTo>
                        <a:lnTo>
                          <a:pt x="372" y="296"/>
                        </a:lnTo>
                        <a:lnTo>
                          <a:pt x="369" y="302"/>
                        </a:lnTo>
                        <a:lnTo>
                          <a:pt x="369" y="310"/>
                        </a:lnTo>
                        <a:lnTo>
                          <a:pt x="366" y="317"/>
                        </a:lnTo>
                        <a:lnTo>
                          <a:pt x="358" y="329"/>
                        </a:lnTo>
                        <a:lnTo>
                          <a:pt x="346" y="341"/>
                        </a:lnTo>
                        <a:lnTo>
                          <a:pt x="346" y="349"/>
                        </a:lnTo>
                        <a:lnTo>
                          <a:pt x="348" y="356"/>
                        </a:lnTo>
                        <a:lnTo>
                          <a:pt x="346" y="358"/>
                        </a:lnTo>
                        <a:lnTo>
                          <a:pt x="345" y="359"/>
                        </a:lnTo>
                        <a:lnTo>
                          <a:pt x="339" y="362"/>
                        </a:lnTo>
                        <a:lnTo>
                          <a:pt x="339" y="365"/>
                        </a:lnTo>
                        <a:lnTo>
                          <a:pt x="338" y="373"/>
                        </a:lnTo>
                        <a:lnTo>
                          <a:pt x="338" y="382"/>
                        </a:lnTo>
                        <a:lnTo>
                          <a:pt x="335" y="389"/>
                        </a:lnTo>
                        <a:lnTo>
                          <a:pt x="331" y="396"/>
                        </a:lnTo>
                        <a:lnTo>
                          <a:pt x="329" y="399"/>
                        </a:lnTo>
                        <a:lnTo>
                          <a:pt x="329" y="411"/>
                        </a:lnTo>
                        <a:lnTo>
                          <a:pt x="333" y="411"/>
                        </a:lnTo>
                        <a:lnTo>
                          <a:pt x="336" y="409"/>
                        </a:lnTo>
                        <a:lnTo>
                          <a:pt x="348" y="408"/>
                        </a:lnTo>
                        <a:lnTo>
                          <a:pt x="346" y="418"/>
                        </a:lnTo>
                        <a:lnTo>
                          <a:pt x="350" y="429"/>
                        </a:lnTo>
                        <a:lnTo>
                          <a:pt x="358" y="453"/>
                        </a:lnTo>
                        <a:lnTo>
                          <a:pt x="359" y="454"/>
                        </a:lnTo>
                        <a:lnTo>
                          <a:pt x="364" y="456"/>
                        </a:lnTo>
                        <a:lnTo>
                          <a:pt x="366" y="460"/>
                        </a:lnTo>
                        <a:lnTo>
                          <a:pt x="367" y="466"/>
                        </a:lnTo>
                        <a:lnTo>
                          <a:pt x="368" y="471"/>
                        </a:lnTo>
                        <a:lnTo>
                          <a:pt x="361" y="475"/>
                        </a:lnTo>
                        <a:lnTo>
                          <a:pt x="354" y="476"/>
                        </a:lnTo>
                        <a:lnTo>
                          <a:pt x="348" y="478"/>
                        </a:lnTo>
                        <a:lnTo>
                          <a:pt x="338" y="479"/>
                        </a:lnTo>
                        <a:lnTo>
                          <a:pt x="333" y="480"/>
                        </a:lnTo>
                        <a:lnTo>
                          <a:pt x="328" y="485"/>
                        </a:lnTo>
                        <a:lnTo>
                          <a:pt x="324" y="493"/>
                        </a:lnTo>
                        <a:lnTo>
                          <a:pt x="324" y="503"/>
                        </a:lnTo>
                        <a:lnTo>
                          <a:pt x="320" y="505"/>
                        </a:lnTo>
                        <a:lnTo>
                          <a:pt x="316" y="511"/>
                        </a:lnTo>
                        <a:lnTo>
                          <a:pt x="312" y="513"/>
                        </a:lnTo>
                        <a:lnTo>
                          <a:pt x="310" y="514"/>
                        </a:lnTo>
                        <a:lnTo>
                          <a:pt x="298" y="524"/>
                        </a:lnTo>
                        <a:lnTo>
                          <a:pt x="295" y="533"/>
                        </a:lnTo>
                        <a:lnTo>
                          <a:pt x="293" y="535"/>
                        </a:lnTo>
                        <a:lnTo>
                          <a:pt x="285" y="539"/>
                        </a:lnTo>
                        <a:lnTo>
                          <a:pt x="280" y="539"/>
                        </a:lnTo>
                        <a:lnTo>
                          <a:pt x="276" y="545"/>
                        </a:lnTo>
                        <a:lnTo>
                          <a:pt x="275" y="546"/>
                        </a:lnTo>
                        <a:lnTo>
                          <a:pt x="269" y="549"/>
                        </a:lnTo>
                        <a:lnTo>
                          <a:pt x="265" y="548"/>
                        </a:lnTo>
                        <a:lnTo>
                          <a:pt x="260" y="548"/>
                        </a:lnTo>
                        <a:lnTo>
                          <a:pt x="256" y="550"/>
                        </a:lnTo>
                        <a:lnTo>
                          <a:pt x="249" y="550"/>
                        </a:lnTo>
                        <a:lnTo>
                          <a:pt x="247" y="551"/>
                        </a:lnTo>
                        <a:lnTo>
                          <a:pt x="233" y="551"/>
                        </a:lnTo>
                        <a:lnTo>
                          <a:pt x="225" y="552"/>
                        </a:lnTo>
                        <a:lnTo>
                          <a:pt x="218" y="555"/>
                        </a:lnTo>
                        <a:lnTo>
                          <a:pt x="217" y="555"/>
                        </a:lnTo>
                        <a:lnTo>
                          <a:pt x="216" y="559"/>
                        </a:lnTo>
                        <a:lnTo>
                          <a:pt x="216" y="561"/>
                        </a:lnTo>
                        <a:lnTo>
                          <a:pt x="219" y="564"/>
                        </a:lnTo>
                        <a:lnTo>
                          <a:pt x="221" y="569"/>
                        </a:lnTo>
                        <a:lnTo>
                          <a:pt x="221" y="572"/>
                        </a:lnTo>
                        <a:lnTo>
                          <a:pt x="217" y="574"/>
                        </a:lnTo>
                        <a:lnTo>
                          <a:pt x="215" y="580"/>
                        </a:lnTo>
                        <a:lnTo>
                          <a:pt x="211" y="582"/>
                        </a:lnTo>
                        <a:lnTo>
                          <a:pt x="208" y="583"/>
                        </a:lnTo>
                        <a:lnTo>
                          <a:pt x="207" y="584"/>
                        </a:lnTo>
                        <a:lnTo>
                          <a:pt x="205" y="589"/>
                        </a:lnTo>
                        <a:lnTo>
                          <a:pt x="205" y="590"/>
                        </a:lnTo>
                        <a:lnTo>
                          <a:pt x="187" y="590"/>
                        </a:lnTo>
                        <a:lnTo>
                          <a:pt x="182" y="592"/>
                        </a:lnTo>
                        <a:lnTo>
                          <a:pt x="176" y="592"/>
                        </a:lnTo>
                        <a:lnTo>
                          <a:pt x="171" y="592"/>
                        </a:lnTo>
                        <a:lnTo>
                          <a:pt x="156" y="598"/>
                        </a:lnTo>
                        <a:lnTo>
                          <a:pt x="152" y="600"/>
                        </a:lnTo>
                        <a:lnTo>
                          <a:pt x="151" y="602"/>
                        </a:lnTo>
                        <a:lnTo>
                          <a:pt x="146" y="603"/>
                        </a:lnTo>
                        <a:lnTo>
                          <a:pt x="141" y="605"/>
                        </a:lnTo>
                        <a:lnTo>
                          <a:pt x="139" y="608"/>
                        </a:lnTo>
                        <a:lnTo>
                          <a:pt x="137" y="610"/>
                        </a:lnTo>
                        <a:lnTo>
                          <a:pt x="131" y="603"/>
                        </a:lnTo>
                        <a:lnTo>
                          <a:pt x="129" y="602"/>
                        </a:lnTo>
                        <a:lnTo>
                          <a:pt x="126" y="598"/>
                        </a:lnTo>
                        <a:lnTo>
                          <a:pt x="125" y="598"/>
                        </a:lnTo>
                        <a:lnTo>
                          <a:pt x="122" y="598"/>
                        </a:lnTo>
                        <a:lnTo>
                          <a:pt x="121" y="599"/>
                        </a:lnTo>
                        <a:lnTo>
                          <a:pt x="119" y="599"/>
                        </a:lnTo>
                        <a:lnTo>
                          <a:pt x="118" y="605"/>
                        </a:lnTo>
                        <a:lnTo>
                          <a:pt x="108" y="607"/>
                        </a:lnTo>
                        <a:lnTo>
                          <a:pt x="101" y="612"/>
                        </a:lnTo>
                        <a:lnTo>
                          <a:pt x="98" y="612"/>
                        </a:lnTo>
                        <a:lnTo>
                          <a:pt x="93" y="610"/>
                        </a:lnTo>
                        <a:lnTo>
                          <a:pt x="90" y="610"/>
                        </a:lnTo>
                        <a:lnTo>
                          <a:pt x="85" y="612"/>
                        </a:lnTo>
                        <a:lnTo>
                          <a:pt x="80" y="612"/>
                        </a:lnTo>
                        <a:lnTo>
                          <a:pt x="76" y="614"/>
                        </a:lnTo>
                        <a:lnTo>
                          <a:pt x="75" y="613"/>
                        </a:lnTo>
                        <a:lnTo>
                          <a:pt x="74" y="610"/>
                        </a:lnTo>
                        <a:lnTo>
                          <a:pt x="73" y="598"/>
                        </a:lnTo>
                        <a:lnTo>
                          <a:pt x="71" y="586"/>
                        </a:lnTo>
                        <a:lnTo>
                          <a:pt x="63" y="565"/>
                        </a:lnTo>
                        <a:lnTo>
                          <a:pt x="58" y="560"/>
                        </a:lnTo>
                        <a:lnTo>
                          <a:pt x="55" y="558"/>
                        </a:lnTo>
                        <a:lnTo>
                          <a:pt x="48" y="555"/>
                        </a:lnTo>
                        <a:lnTo>
                          <a:pt x="40" y="554"/>
                        </a:lnTo>
                        <a:lnTo>
                          <a:pt x="36" y="550"/>
                        </a:lnTo>
                        <a:lnTo>
                          <a:pt x="28" y="539"/>
                        </a:lnTo>
                        <a:lnTo>
                          <a:pt x="27" y="531"/>
                        </a:lnTo>
                        <a:lnTo>
                          <a:pt x="27" y="521"/>
                        </a:lnTo>
                        <a:lnTo>
                          <a:pt x="30" y="517"/>
                        </a:lnTo>
                        <a:lnTo>
                          <a:pt x="33" y="516"/>
                        </a:lnTo>
                        <a:lnTo>
                          <a:pt x="36" y="514"/>
                        </a:lnTo>
                        <a:lnTo>
                          <a:pt x="46" y="513"/>
                        </a:lnTo>
                        <a:lnTo>
                          <a:pt x="56" y="514"/>
                        </a:lnTo>
                        <a:lnTo>
                          <a:pt x="71" y="518"/>
                        </a:lnTo>
                        <a:lnTo>
                          <a:pt x="74" y="517"/>
                        </a:lnTo>
                        <a:lnTo>
                          <a:pt x="75" y="514"/>
                        </a:lnTo>
                        <a:lnTo>
                          <a:pt x="74" y="509"/>
                        </a:lnTo>
                        <a:lnTo>
                          <a:pt x="73" y="503"/>
                        </a:lnTo>
                        <a:lnTo>
                          <a:pt x="61" y="490"/>
                        </a:lnTo>
                        <a:lnTo>
                          <a:pt x="55" y="476"/>
                        </a:lnTo>
                        <a:lnTo>
                          <a:pt x="55" y="469"/>
                        </a:lnTo>
                        <a:lnTo>
                          <a:pt x="56" y="462"/>
                        </a:lnTo>
                        <a:lnTo>
                          <a:pt x="58" y="454"/>
                        </a:lnTo>
                        <a:lnTo>
                          <a:pt x="59" y="440"/>
                        </a:lnTo>
                        <a:lnTo>
                          <a:pt x="56" y="435"/>
                        </a:lnTo>
                        <a:lnTo>
                          <a:pt x="53" y="429"/>
                        </a:lnTo>
                        <a:lnTo>
                          <a:pt x="49" y="409"/>
                        </a:lnTo>
                        <a:lnTo>
                          <a:pt x="49" y="408"/>
                        </a:lnTo>
                        <a:lnTo>
                          <a:pt x="48" y="408"/>
                        </a:lnTo>
                        <a:lnTo>
                          <a:pt x="58" y="404"/>
                        </a:lnTo>
                        <a:lnTo>
                          <a:pt x="65" y="398"/>
                        </a:lnTo>
                        <a:lnTo>
                          <a:pt x="66" y="393"/>
                        </a:lnTo>
                        <a:lnTo>
                          <a:pt x="68" y="390"/>
                        </a:lnTo>
                        <a:lnTo>
                          <a:pt x="63" y="380"/>
                        </a:lnTo>
                        <a:lnTo>
                          <a:pt x="58" y="381"/>
                        </a:lnTo>
                        <a:lnTo>
                          <a:pt x="52" y="380"/>
                        </a:lnTo>
                        <a:lnTo>
                          <a:pt x="48" y="377"/>
                        </a:lnTo>
                        <a:lnTo>
                          <a:pt x="39" y="378"/>
                        </a:lnTo>
                        <a:lnTo>
                          <a:pt x="27" y="377"/>
                        </a:lnTo>
                        <a:lnTo>
                          <a:pt x="25" y="362"/>
                        </a:lnTo>
                        <a:lnTo>
                          <a:pt x="20" y="357"/>
                        </a:lnTo>
                        <a:lnTo>
                          <a:pt x="15" y="353"/>
                        </a:lnTo>
                        <a:lnTo>
                          <a:pt x="12" y="350"/>
                        </a:lnTo>
                        <a:lnTo>
                          <a:pt x="1" y="346"/>
                        </a:lnTo>
                        <a:lnTo>
                          <a:pt x="0" y="339"/>
                        </a:lnTo>
                        <a:lnTo>
                          <a:pt x="3" y="336"/>
                        </a:lnTo>
                        <a:lnTo>
                          <a:pt x="8" y="334"/>
                        </a:lnTo>
                        <a:lnTo>
                          <a:pt x="7" y="327"/>
                        </a:lnTo>
                        <a:lnTo>
                          <a:pt x="12" y="325"/>
                        </a:lnTo>
                        <a:lnTo>
                          <a:pt x="12" y="318"/>
                        </a:lnTo>
                        <a:lnTo>
                          <a:pt x="75" y="251"/>
                        </a:lnTo>
                        <a:lnTo>
                          <a:pt x="77" y="247"/>
                        </a:lnTo>
                        <a:lnTo>
                          <a:pt x="81" y="181"/>
                        </a:lnTo>
                        <a:lnTo>
                          <a:pt x="91" y="128"/>
                        </a:lnTo>
                        <a:lnTo>
                          <a:pt x="101" y="112"/>
                        </a:lnTo>
                        <a:lnTo>
                          <a:pt x="85" y="104"/>
                        </a:lnTo>
                        <a:lnTo>
                          <a:pt x="81" y="101"/>
                        </a:lnTo>
                        <a:lnTo>
                          <a:pt x="76" y="96"/>
                        </a:lnTo>
                        <a:lnTo>
                          <a:pt x="74" y="92"/>
                        </a:lnTo>
                        <a:lnTo>
                          <a:pt x="71" y="86"/>
                        </a:lnTo>
                        <a:lnTo>
                          <a:pt x="68" y="80"/>
                        </a:lnTo>
                        <a:lnTo>
                          <a:pt x="68" y="78"/>
                        </a:lnTo>
                        <a:lnTo>
                          <a:pt x="65" y="71"/>
                        </a:lnTo>
                        <a:lnTo>
                          <a:pt x="63" y="68"/>
                        </a:lnTo>
                        <a:lnTo>
                          <a:pt x="63" y="12"/>
                        </a:lnTo>
                        <a:lnTo>
                          <a:pt x="68" y="10"/>
                        </a:lnTo>
                        <a:lnTo>
                          <a:pt x="103" y="0"/>
                        </a:lnTo>
                        <a:lnTo>
                          <a:pt x="109" y="2"/>
                        </a:lnTo>
                        <a:lnTo>
                          <a:pt x="142" y="18"/>
                        </a:lnTo>
                        <a:lnTo>
                          <a:pt x="176" y="34"/>
                        </a:lnTo>
                        <a:lnTo>
                          <a:pt x="209" y="51"/>
                        </a:lnTo>
                        <a:lnTo>
                          <a:pt x="242" y="67"/>
                        </a:lnTo>
                        <a:lnTo>
                          <a:pt x="275" y="82"/>
                        </a:lnTo>
                        <a:lnTo>
                          <a:pt x="307" y="99"/>
                        </a:lnTo>
                        <a:lnTo>
                          <a:pt x="341" y="116"/>
                        </a:lnTo>
                        <a:lnTo>
                          <a:pt x="374" y="13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7" name="Freeform 35"/>
                  <p:cNvSpPr>
                    <a:spLocks/>
                  </p:cNvSpPr>
                  <p:nvPr/>
                </p:nvSpPr>
                <p:spPr bwMode="auto">
                  <a:xfrm>
                    <a:off x="1832" y="1575"/>
                    <a:ext cx="443" cy="645"/>
                  </a:xfrm>
                  <a:custGeom>
                    <a:avLst/>
                    <a:gdLst>
                      <a:gd name="T0" fmla="*/ 36134 w 414"/>
                      <a:gd name="T1" fmla="*/ 3850 h 614"/>
                      <a:gd name="T2" fmla="*/ 36134 w 414"/>
                      <a:gd name="T3" fmla="*/ 6647 h 614"/>
                      <a:gd name="T4" fmla="*/ 33769 w 414"/>
                      <a:gd name="T5" fmla="*/ 7578 h 614"/>
                      <a:gd name="T6" fmla="*/ 32489 w 414"/>
                      <a:gd name="T7" fmla="*/ 7627 h 614"/>
                      <a:gd name="T8" fmla="*/ 31901 w 414"/>
                      <a:gd name="T9" fmla="*/ 8238 h 614"/>
                      <a:gd name="T10" fmla="*/ 30243 w 414"/>
                      <a:gd name="T11" fmla="*/ 9021 h 614"/>
                      <a:gd name="T12" fmla="*/ 30237 w 414"/>
                      <a:gd name="T13" fmla="*/ 9275 h 614"/>
                      <a:gd name="T14" fmla="*/ 29492 w 414"/>
                      <a:gd name="T15" fmla="*/ 9647 h 614"/>
                      <a:gd name="T16" fmla="*/ 28912 w 414"/>
                      <a:gd name="T17" fmla="*/ 10235 h 614"/>
                      <a:gd name="T18" fmla="*/ 29146 w 414"/>
                      <a:gd name="T19" fmla="*/ 10603 h 614"/>
                      <a:gd name="T20" fmla="*/ 30243 w 414"/>
                      <a:gd name="T21" fmla="*/ 10768 h 614"/>
                      <a:gd name="T22" fmla="*/ 31241 w 414"/>
                      <a:gd name="T23" fmla="*/ 11700 h 614"/>
                      <a:gd name="T24" fmla="*/ 32038 w 414"/>
                      <a:gd name="T25" fmla="*/ 12061 h 614"/>
                      <a:gd name="T26" fmla="*/ 30937 w 414"/>
                      <a:gd name="T27" fmla="*/ 12266 h 614"/>
                      <a:gd name="T28" fmla="*/ 29146 w 414"/>
                      <a:gd name="T29" fmla="*/ 12401 h 614"/>
                      <a:gd name="T30" fmla="*/ 28284 w 414"/>
                      <a:gd name="T31" fmla="*/ 12996 h 614"/>
                      <a:gd name="T32" fmla="*/ 27243 w 414"/>
                      <a:gd name="T33" fmla="*/ 13248 h 614"/>
                      <a:gd name="T34" fmla="*/ 25757 w 414"/>
                      <a:gd name="T35" fmla="*/ 13768 h 614"/>
                      <a:gd name="T36" fmla="*/ 24437 w 414"/>
                      <a:gd name="T37" fmla="*/ 13917 h 614"/>
                      <a:gd name="T38" fmla="*/ 23461 w 414"/>
                      <a:gd name="T39" fmla="*/ 14166 h 614"/>
                      <a:gd name="T40" fmla="*/ 22389 w 414"/>
                      <a:gd name="T41" fmla="*/ 14187 h 614"/>
                      <a:gd name="T42" fmla="*/ 20245 w 414"/>
                      <a:gd name="T43" fmla="*/ 14197 h 614"/>
                      <a:gd name="T44" fmla="*/ 18902 w 414"/>
                      <a:gd name="T45" fmla="*/ 14341 h 614"/>
                      <a:gd name="T46" fmla="*/ 19073 w 414"/>
                      <a:gd name="T47" fmla="*/ 14551 h 614"/>
                      <a:gd name="T48" fmla="*/ 18902 w 414"/>
                      <a:gd name="T49" fmla="*/ 14814 h 614"/>
                      <a:gd name="T50" fmla="*/ 18273 w 414"/>
                      <a:gd name="T51" fmla="*/ 15065 h 614"/>
                      <a:gd name="T52" fmla="*/ 17824 w 414"/>
                      <a:gd name="T53" fmla="*/ 15205 h 614"/>
                      <a:gd name="T54" fmla="*/ 15363 w 414"/>
                      <a:gd name="T55" fmla="*/ 15286 h 614"/>
                      <a:gd name="T56" fmla="*/ 13230 w 414"/>
                      <a:gd name="T57" fmla="*/ 15508 h 614"/>
                      <a:gd name="T58" fmla="*/ 12264 w 414"/>
                      <a:gd name="T59" fmla="*/ 15629 h 614"/>
                      <a:gd name="T60" fmla="*/ 11459 w 414"/>
                      <a:gd name="T61" fmla="*/ 15562 h 614"/>
                      <a:gd name="T62" fmla="*/ 10843 w 414"/>
                      <a:gd name="T63" fmla="*/ 15437 h 614"/>
                      <a:gd name="T64" fmla="*/ 10371 w 414"/>
                      <a:gd name="T65" fmla="*/ 15467 h 614"/>
                      <a:gd name="T66" fmla="*/ 8814 w 414"/>
                      <a:gd name="T67" fmla="*/ 15826 h 614"/>
                      <a:gd name="T68" fmla="*/ 7809 w 414"/>
                      <a:gd name="T69" fmla="*/ 15724 h 614"/>
                      <a:gd name="T70" fmla="*/ 6667 w 414"/>
                      <a:gd name="T71" fmla="*/ 15867 h 614"/>
                      <a:gd name="T72" fmla="*/ 6309 w 414"/>
                      <a:gd name="T73" fmla="*/ 15437 h 614"/>
                      <a:gd name="T74" fmla="*/ 5086 w 414"/>
                      <a:gd name="T75" fmla="*/ 14463 h 614"/>
                      <a:gd name="T76" fmla="*/ 3431 w 414"/>
                      <a:gd name="T77" fmla="*/ 14308 h 614"/>
                      <a:gd name="T78" fmla="*/ 2286 w 414"/>
                      <a:gd name="T79" fmla="*/ 13691 h 614"/>
                      <a:gd name="T80" fmla="*/ 2800 w 414"/>
                      <a:gd name="T81" fmla="*/ 13317 h 614"/>
                      <a:gd name="T82" fmla="*/ 4812 w 414"/>
                      <a:gd name="T83" fmla="*/ 13299 h 614"/>
                      <a:gd name="T84" fmla="*/ 6573 w 414"/>
                      <a:gd name="T85" fmla="*/ 13299 h 614"/>
                      <a:gd name="T86" fmla="*/ 5365 w 414"/>
                      <a:gd name="T87" fmla="*/ 12670 h 614"/>
                      <a:gd name="T88" fmla="*/ 4812 w 414"/>
                      <a:gd name="T89" fmla="*/ 11886 h 614"/>
                      <a:gd name="T90" fmla="*/ 4812 w 414"/>
                      <a:gd name="T91" fmla="*/ 11238 h 614"/>
                      <a:gd name="T92" fmla="*/ 4203 w 414"/>
                      <a:gd name="T93" fmla="*/ 10542 h 614"/>
                      <a:gd name="T94" fmla="*/ 5741 w 414"/>
                      <a:gd name="T95" fmla="*/ 10250 h 614"/>
                      <a:gd name="T96" fmla="*/ 5488 w 414"/>
                      <a:gd name="T97" fmla="*/ 9760 h 614"/>
                      <a:gd name="T98" fmla="*/ 4186 w 414"/>
                      <a:gd name="T99" fmla="*/ 9743 h 614"/>
                      <a:gd name="T100" fmla="*/ 2136 w 414"/>
                      <a:gd name="T101" fmla="*/ 9291 h 614"/>
                      <a:gd name="T102" fmla="*/ 1009 w 414"/>
                      <a:gd name="T103" fmla="*/ 9091 h 614"/>
                      <a:gd name="T104" fmla="*/ 3 w 414"/>
                      <a:gd name="T105" fmla="*/ 8688 h 614"/>
                      <a:gd name="T106" fmla="*/ 1009 w 414"/>
                      <a:gd name="T107" fmla="*/ 8365 h 614"/>
                      <a:gd name="T108" fmla="*/ 6723 w 414"/>
                      <a:gd name="T109" fmla="*/ 6358 h 614"/>
                      <a:gd name="T110" fmla="*/ 8814 w 414"/>
                      <a:gd name="T111" fmla="*/ 2891 h 614"/>
                      <a:gd name="T112" fmla="*/ 6667 w 414"/>
                      <a:gd name="T113" fmla="*/ 2483 h 614"/>
                      <a:gd name="T114" fmla="*/ 5896 w 414"/>
                      <a:gd name="T115" fmla="*/ 2048 h 614"/>
                      <a:gd name="T116" fmla="*/ 5488 w 414"/>
                      <a:gd name="T117" fmla="*/ 1759 h 614"/>
                      <a:gd name="T118" fmla="*/ 8941 w 414"/>
                      <a:gd name="T119" fmla="*/ 0 h 614"/>
                      <a:gd name="T120" fmla="*/ 15363 w 414"/>
                      <a:gd name="T121" fmla="*/ 882 h 614"/>
                      <a:gd name="T122" fmla="*/ 23980 w 414"/>
                      <a:gd name="T123" fmla="*/ 2119 h 614"/>
                      <a:gd name="T124" fmla="*/ 32531 w 414"/>
                      <a:gd name="T125" fmla="*/ 3408 h 614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414"/>
                      <a:gd name="T190" fmla="*/ 0 h 614"/>
                      <a:gd name="T191" fmla="*/ 414 w 414"/>
                      <a:gd name="T192" fmla="*/ 614 h 614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414" h="614">
                        <a:moveTo>
                          <a:pt x="374" y="132"/>
                        </a:moveTo>
                        <a:lnTo>
                          <a:pt x="407" y="148"/>
                        </a:lnTo>
                        <a:lnTo>
                          <a:pt x="414" y="149"/>
                        </a:lnTo>
                        <a:lnTo>
                          <a:pt x="414" y="185"/>
                        </a:lnTo>
                        <a:lnTo>
                          <a:pt x="414" y="222"/>
                        </a:lnTo>
                        <a:lnTo>
                          <a:pt x="414" y="258"/>
                        </a:lnTo>
                        <a:lnTo>
                          <a:pt x="412" y="292"/>
                        </a:lnTo>
                        <a:lnTo>
                          <a:pt x="409" y="293"/>
                        </a:lnTo>
                        <a:lnTo>
                          <a:pt x="387" y="293"/>
                        </a:lnTo>
                        <a:lnTo>
                          <a:pt x="381" y="294"/>
                        </a:lnTo>
                        <a:lnTo>
                          <a:pt x="372" y="294"/>
                        </a:lnTo>
                        <a:lnTo>
                          <a:pt x="372" y="296"/>
                        </a:lnTo>
                        <a:lnTo>
                          <a:pt x="369" y="302"/>
                        </a:lnTo>
                        <a:lnTo>
                          <a:pt x="369" y="310"/>
                        </a:lnTo>
                        <a:lnTo>
                          <a:pt x="366" y="317"/>
                        </a:lnTo>
                        <a:lnTo>
                          <a:pt x="358" y="329"/>
                        </a:lnTo>
                        <a:lnTo>
                          <a:pt x="346" y="341"/>
                        </a:lnTo>
                        <a:lnTo>
                          <a:pt x="346" y="349"/>
                        </a:lnTo>
                        <a:lnTo>
                          <a:pt x="348" y="356"/>
                        </a:lnTo>
                        <a:lnTo>
                          <a:pt x="346" y="358"/>
                        </a:lnTo>
                        <a:lnTo>
                          <a:pt x="345" y="359"/>
                        </a:lnTo>
                        <a:lnTo>
                          <a:pt x="339" y="362"/>
                        </a:lnTo>
                        <a:lnTo>
                          <a:pt x="339" y="365"/>
                        </a:lnTo>
                        <a:lnTo>
                          <a:pt x="338" y="373"/>
                        </a:lnTo>
                        <a:lnTo>
                          <a:pt x="338" y="382"/>
                        </a:lnTo>
                        <a:lnTo>
                          <a:pt x="335" y="389"/>
                        </a:lnTo>
                        <a:lnTo>
                          <a:pt x="331" y="396"/>
                        </a:lnTo>
                        <a:lnTo>
                          <a:pt x="329" y="399"/>
                        </a:lnTo>
                        <a:lnTo>
                          <a:pt x="329" y="411"/>
                        </a:lnTo>
                        <a:lnTo>
                          <a:pt x="333" y="411"/>
                        </a:lnTo>
                        <a:lnTo>
                          <a:pt x="336" y="409"/>
                        </a:lnTo>
                        <a:lnTo>
                          <a:pt x="348" y="408"/>
                        </a:lnTo>
                        <a:lnTo>
                          <a:pt x="346" y="418"/>
                        </a:lnTo>
                        <a:lnTo>
                          <a:pt x="350" y="429"/>
                        </a:lnTo>
                        <a:lnTo>
                          <a:pt x="358" y="453"/>
                        </a:lnTo>
                        <a:lnTo>
                          <a:pt x="359" y="454"/>
                        </a:lnTo>
                        <a:lnTo>
                          <a:pt x="364" y="456"/>
                        </a:lnTo>
                        <a:lnTo>
                          <a:pt x="366" y="460"/>
                        </a:lnTo>
                        <a:lnTo>
                          <a:pt x="367" y="466"/>
                        </a:lnTo>
                        <a:lnTo>
                          <a:pt x="368" y="471"/>
                        </a:lnTo>
                        <a:lnTo>
                          <a:pt x="361" y="475"/>
                        </a:lnTo>
                        <a:lnTo>
                          <a:pt x="354" y="476"/>
                        </a:lnTo>
                        <a:lnTo>
                          <a:pt x="348" y="478"/>
                        </a:lnTo>
                        <a:lnTo>
                          <a:pt x="338" y="479"/>
                        </a:lnTo>
                        <a:lnTo>
                          <a:pt x="333" y="480"/>
                        </a:lnTo>
                        <a:lnTo>
                          <a:pt x="328" y="485"/>
                        </a:lnTo>
                        <a:lnTo>
                          <a:pt x="324" y="493"/>
                        </a:lnTo>
                        <a:lnTo>
                          <a:pt x="324" y="503"/>
                        </a:lnTo>
                        <a:lnTo>
                          <a:pt x="320" y="505"/>
                        </a:lnTo>
                        <a:lnTo>
                          <a:pt x="316" y="511"/>
                        </a:lnTo>
                        <a:lnTo>
                          <a:pt x="312" y="513"/>
                        </a:lnTo>
                        <a:lnTo>
                          <a:pt x="310" y="514"/>
                        </a:lnTo>
                        <a:lnTo>
                          <a:pt x="298" y="524"/>
                        </a:lnTo>
                        <a:lnTo>
                          <a:pt x="295" y="533"/>
                        </a:lnTo>
                        <a:lnTo>
                          <a:pt x="293" y="535"/>
                        </a:lnTo>
                        <a:lnTo>
                          <a:pt x="285" y="539"/>
                        </a:lnTo>
                        <a:lnTo>
                          <a:pt x="280" y="539"/>
                        </a:lnTo>
                        <a:lnTo>
                          <a:pt x="276" y="545"/>
                        </a:lnTo>
                        <a:lnTo>
                          <a:pt x="275" y="546"/>
                        </a:lnTo>
                        <a:lnTo>
                          <a:pt x="269" y="549"/>
                        </a:lnTo>
                        <a:lnTo>
                          <a:pt x="265" y="548"/>
                        </a:lnTo>
                        <a:lnTo>
                          <a:pt x="260" y="548"/>
                        </a:lnTo>
                        <a:lnTo>
                          <a:pt x="256" y="550"/>
                        </a:lnTo>
                        <a:lnTo>
                          <a:pt x="249" y="550"/>
                        </a:lnTo>
                        <a:lnTo>
                          <a:pt x="247" y="551"/>
                        </a:lnTo>
                        <a:lnTo>
                          <a:pt x="233" y="551"/>
                        </a:lnTo>
                        <a:lnTo>
                          <a:pt x="225" y="552"/>
                        </a:lnTo>
                        <a:lnTo>
                          <a:pt x="218" y="555"/>
                        </a:lnTo>
                        <a:lnTo>
                          <a:pt x="217" y="555"/>
                        </a:lnTo>
                        <a:lnTo>
                          <a:pt x="216" y="559"/>
                        </a:lnTo>
                        <a:lnTo>
                          <a:pt x="216" y="561"/>
                        </a:lnTo>
                        <a:lnTo>
                          <a:pt x="219" y="564"/>
                        </a:lnTo>
                        <a:lnTo>
                          <a:pt x="221" y="569"/>
                        </a:lnTo>
                        <a:lnTo>
                          <a:pt x="221" y="572"/>
                        </a:lnTo>
                        <a:lnTo>
                          <a:pt x="217" y="574"/>
                        </a:lnTo>
                        <a:lnTo>
                          <a:pt x="215" y="580"/>
                        </a:lnTo>
                        <a:lnTo>
                          <a:pt x="211" y="582"/>
                        </a:lnTo>
                        <a:lnTo>
                          <a:pt x="208" y="583"/>
                        </a:lnTo>
                        <a:lnTo>
                          <a:pt x="207" y="584"/>
                        </a:lnTo>
                        <a:lnTo>
                          <a:pt x="205" y="589"/>
                        </a:lnTo>
                        <a:lnTo>
                          <a:pt x="205" y="590"/>
                        </a:lnTo>
                        <a:lnTo>
                          <a:pt x="187" y="590"/>
                        </a:lnTo>
                        <a:lnTo>
                          <a:pt x="182" y="592"/>
                        </a:lnTo>
                        <a:lnTo>
                          <a:pt x="176" y="592"/>
                        </a:lnTo>
                        <a:lnTo>
                          <a:pt x="171" y="592"/>
                        </a:lnTo>
                        <a:lnTo>
                          <a:pt x="156" y="598"/>
                        </a:lnTo>
                        <a:lnTo>
                          <a:pt x="152" y="600"/>
                        </a:lnTo>
                        <a:lnTo>
                          <a:pt x="151" y="602"/>
                        </a:lnTo>
                        <a:lnTo>
                          <a:pt x="146" y="603"/>
                        </a:lnTo>
                        <a:lnTo>
                          <a:pt x="141" y="605"/>
                        </a:lnTo>
                        <a:lnTo>
                          <a:pt x="139" y="608"/>
                        </a:lnTo>
                        <a:lnTo>
                          <a:pt x="137" y="610"/>
                        </a:lnTo>
                        <a:lnTo>
                          <a:pt x="131" y="603"/>
                        </a:lnTo>
                        <a:lnTo>
                          <a:pt x="129" y="602"/>
                        </a:lnTo>
                        <a:lnTo>
                          <a:pt x="126" y="598"/>
                        </a:lnTo>
                        <a:lnTo>
                          <a:pt x="125" y="598"/>
                        </a:lnTo>
                        <a:lnTo>
                          <a:pt x="122" y="598"/>
                        </a:lnTo>
                        <a:lnTo>
                          <a:pt x="121" y="599"/>
                        </a:lnTo>
                        <a:lnTo>
                          <a:pt x="119" y="599"/>
                        </a:lnTo>
                        <a:lnTo>
                          <a:pt x="118" y="605"/>
                        </a:lnTo>
                        <a:lnTo>
                          <a:pt x="108" y="607"/>
                        </a:lnTo>
                        <a:lnTo>
                          <a:pt x="101" y="612"/>
                        </a:lnTo>
                        <a:lnTo>
                          <a:pt x="98" y="612"/>
                        </a:lnTo>
                        <a:lnTo>
                          <a:pt x="93" y="610"/>
                        </a:lnTo>
                        <a:lnTo>
                          <a:pt x="90" y="610"/>
                        </a:lnTo>
                        <a:lnTo>
                          <a:pt x="85" y="612"/>
                        </a:lnTo>
                        <a:lnTo>
                          <a:pt x="80" y="612"/>
                        </a:lnTo>
                        <a:lnTo>
                          <a:pt x="76" y="614"/>
                        </a:lnTo>
                        <a:lnTo>
                          <a:pt x="75" y="613"/>
                        </a:lnTo>
                        <a:lnTo>
                          <a:pt x="74" y="610"/>
                        </a:lnTo>
                        <a:lnTo>
                          <a:pt x="73" y="598"/>
                        </a:lnTo>
                        <a:lnTo>
                          <a:pt x="71" y="586"/>
                        </a:lnTo>
                        <a:lnTo>
                          <a:pt x="63" y="565"/>
                        </a:lnTo>
                        <a:lnTo>
                          <a:pt x="58" y="560"/>
                        </a:lnTo>
                        <a:lnTo>
                          <a:pt x="55" y="558"/>
                        </a:lnTo>
                        <a:lnTo>
                          <a:pt x="48" y="555"/>
                        </a:lnTo>
                        <a:lnTo>
                          <a:pt x="40" y="554"/>
                        </a:lnTo>
                        <a:lnTo>
                          <a:pt x="36" y="550"/>
                        </a:lnTo>
                        <a:lnTo>
                          <a:pt x="28" y="539"/>
                        </a:lnTo>
                        <a:lnTo>
                          <a:pt x="27" y="531"/>
                        </a:lnTo>
                        <a:lnTo>
                          <a:pt x="27" y="521"/>
                        </a:lnTo>
                        <a:lnTo>
                          <a:pt x="30" y="517"/>
                        </a:lnTo>
                        <a:lnTo>
                          <a:pt x="33" y="516"/>
                        </a:lnTo>
                        <a:lnTo>
                          <a:pt x="36" y="514"/>
                        </a:lnTo>
                        <a:lnTo>
                          <a:pt x="46" y="513"/>
                        </a:lnTo>
                        <a:lnTo>
                          <a:pt x="56" y="514"/>
                        </a:lnTo>
                        <a:lnTo>
                          <a:pt x="71" y="518"/>
                        </a:lnTo>
                        <a:lnTo>
                          <a:pt x="74" y="517"/>
                        </a:lnTo>
                        <a:lnTo>
                          <a:pt x="75" y="514"/>
                        </a:lnTo>
                        <a:lnTo>
                          <a:pt x="74" y="509"/>
                        </a:lnTo>
                        <a:lnTo>
                          <a:pt x="73" y="503"/>
                        </a:lnTo>
                        <a:lnTo>
                          <a:pt x="61" y="490"/>
                        </a:lnTo>
                        <a:lnTo>
                          <a:pt x="55" y="476"/>
                        </a:lnTo>
                        <a:lnTo>
                          <a:pt x="55" y="469"/>
                        </a:lnTo>
                        <a:lnTo>
                          <a:pt x="56" y="462"/>
                        </a:lnTo>
                        <a:lnTo>
                          <a:pt x="58" y="454"/>
                        </a:lnTo>
                        <a:lnTo>
                          <a:pt x="59" y="440"/>
                        </a:lnTo>
                        <a:lnTo>
                          <a:pt x="56" y="435"/>
                        </a:lnTo>
                        <a:lnTo>
                          <a:pt x="53" y="429"/>
                        </a:lnTo>
                        <a:lnTo>
                          <a:pt x="49" y="409"/>
                        </a:lnTo>
                        <a:lnTo>
                          <a:pt x="49" y="408"/>
                        </a:lnTo>
                        <a:lnTo>
                          <a:pt x="48" y="408"/>
                        </a:lnTo>
                        <a:lnTo>
                          <a:pt x="58" y="404"/>
                        </a:lnTo>
                        <a:lnTo>
                          <a:pt x="65" y="398"/>
                        </a:lnTo>
                        <a:lnTo>
                          <a:pt x="66" y="393"/>
                        </a:lnTo>
                        <a:lnTo>
                          <a:pt x="68" y="390"/>
                        </a:lnTo>
                        <a:lnTo>
                          <a:pt x="63" y="380"/>
                        </a:lnTo>
                        <a:lnTo>
                          <a:pt x="58" y="381"/>
                        </a:lnTo>
                        <a:lnTo>
                          <a:pt x="52" y="380"/>
                        </a:lnTo>
                        <a:lnTo>
                          <a:pt x="48" y="377"/>
                        </a:lnTo>
                        <a:lnTo>
                          <a:pt x="39" y="378"/>
                        </a:lnTo>
                        <a:lnTo>
                          <a:pt x="27" y="377"/>
                        </a:lnTo>
                        <a:lnTo>
                          <a:pt x="25" y="362"/>
                        </a:lnTo>
                        <a:lnTo>
                          <a:pt x="20" y="357"/>
                        </a:lnTo>
                        <a:lnTo>
                          <a:pt x="15" y="353"/>
                        </a:lnTo>
                        <a:lnTo>
                          <a:pt x="12" y="350"/>
                        </a:lnTo>
                        <a:lnTo>
                          <a:pt x="1" y="346"/>
                        </a:lnTo>
                        <a:lnTo>
                          <a:pt x="0" y="339"/>
                        </a:lnTo>
                        <a:lnTo>
                          <a:pt x="3" y="336"/>
                        </a:lnTo>
                        <a:lnTo>
                          <a:pt x="8" y="334"/>
                        </a:lnTo>
                        <a:lnTo>
                          <a:pt x="7" y="327"/>
                        </a:lnTo>
                        <a:lnTo>
                          <a:pt x="12" y="325"/>
                        </a:lnTo>
                        <a:lnTo>
                          <a:pt x="12" y="318"/>
                        </a:lnTo>
                        <a:lnTo>
                          <a:pt x="75" y="251"/>
                        </a:lnTo>
                        <a:lnTo>
                          <a:pt x="77" y="247"/>
                        </a:lnTo>
                        <a:lnTo>
                          <a:pt x="81" y="181"/>
                        </a:lnTo>
                        <a:lnTo>
                          <a:pt x="91" y="128"/>
                        </a:lnTo>
                        <a:lnTo>
                          <a:pt x="101" y="112"/>
                        </a:lnTo>
                        <a:lnTo>
                          <a:pt x="85" y="104"/>
                        </a:lnTo>
                        <a:lnTo>
                          <a:pt x="81" y="101"/>
                        </a:lnTo>
                        <a:lnTo>
                          <a:pt x="76" y="96"/>
                        </a:lnTo>
                        <a:lnTo>
                          <a:pt x="74" y="92"/>
                        </a:lnTo>
                        <a:lnTo>
                          <a:pt x="71" y="86"/>
                        </a:lnTo>
                        <a:lnTo>
                          <a:pt x="68" y="80"/>
                        </a:lnTo>
                        <a:lnTo>
                          <a:pt x="68" y="78"/>
                        </a:lnTo>
                        <a:lnTo>
                          <a:pt x="65" y="71"/>
                        </a:lnTo>
                        <a:lnTo>
                          <a:pt x="63" y="68"/>
                        </a:lnTo>
                        <a:lnTo>
                          <a:pt x="63" y="12"/>
                        </a:lnTo>
                        <a:lnTo>
                          <a:pt x="68" y="10"/>
                        </a:lnTo>
                        <a:lnTo>
                          <a:pt x="103" y="0"/>
                        </a:lnTo>
                        <a:lnTo>
                          <a:pt x="109" y="2"/>
                        </a:lnTo>
                        <a:lnTo>
                          <a:pt x="142" y="18"/>
                        </a:lnTo>
                        <a:lnTo>
                          <a:pt x="176" y="34"/>
                        </a:lnTo>
                        <a:lnTo>
                          <a:pt x="209" y="51"/>
                        </a:lnTo>
                        <a:lnTo>
                          <a:pt x="242" y="67"/>
                        </a:lnTo>
                        <a:lnTo>
                          <a:pt x="275" y="82"/>
                        </a:lnTo>
                        <a:lnTo>
                          <a:pt x="307" y="99"/>
                        </a:lnTo>
                        <a:lnTo>
                          <a:pt x="341" y="116"/>
                        </a:lnTo>
                        <a:lnTo>
                          <a:pt x="374" y="132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" name="Freeform 36"/>
                  <p:cNvSpPr>
                    <a:spLocks/>
                  </p:cNvSpPr>
                  <p:nvPr/>
                </p:nvSpPr>
                <p:spPr bwMode="auto">
                  <a:xfrm>
                    <a:off x="549" y="1846"/>
                    <a:ext cx="260" cy="175"/>
                  </a:xfrm>
                  <a:custGeom>
                    <a:avLst/>
                    <a:gdLst>
                      <a:gd name="T0" fmla="*/ 2603 w 243"/>
                      <a:gd name="T1" fmla="*/ 5307 h 166"/>
                      <a:gd name="T2" fmla="*/ 2980 w 243"/>
                      <a:gd name="T3" fmla="*/ 4415 h 166"/>
                      <a:gd name="T4" fmla="*/ 5974 w 243"/>
                      <a:gd name="T5" fmla="*/ 4125 h 166"/>
                      <a:gd name="T6" fmla="*/ 7794 w 243"/>
                      <a:gd name="T7" fmla="*/ 4005 h 166"/>
                      <a:gd name="T8" fmla="*/ 8805 w 243"/>
                      <a:gd name="T9" fmla="*/ 3993 h 166"/>
                      <a:gd name="T10" fmla="*/ 10685 w 243"/>
                      <a:gd name="T11" fmla="*/ 4222 h 166"/>
                      <a:gd name="T12" fmla="*/ 12347 w 243"/>
                      <a:gd name="T13" fmla="*/ 4188 h 166"/>
                      <a:gd name="T14" fmla="*/ 12538 w 243"/>
                      <a:gd name="T15" fmla="*/ 3865 h 166"/>
                      <a:gd name="T16" fmla="*/ 11747 w 243"/>
                      <a:gd name="T17" fmla="*/ 3865 h 166"/>
                      <a:gd name="T18" fmla="*/ 10080 w 243"/>
                      <a:gd name="T19" fmla="*/ 3769 h 166"/>
                      <a:gd name="T20" fmla="*/ 8608 w 243"/>
                      <a:gd name="T21" fmla="*/ 3575 h 166"/>
                      <a:gd name="T22" fmla="*/ 7317 w 243"/>
                      <a:gd name="T23" fmla="*/ 3575 h 166"/>
                      <a:gd name="T24" fmla="*/ 3192 w 243"/>
                      <a:gd name="T25" fmla="*/ 3815 h 166"/>
                      <a:gd name="T26" fmla="*/ 2436 w 243"/>
                      <a:gd name="T27" fmla="*/ 3089 h 166"/>
                      <a:gd name="T28" fmla="*/ 943 w 243"/>
                      <a:gd name="T29" fmla="*/ 2471 h 166"/>
                      <a:gd name="T30" fmla="*/ 1 w 243"/>
                      <a:gd name="T31" fmla="*/ 2471 h 166"/>
                      <a:gd name="T32" fmla="*/ 1080 w 243"/>
                      <a:gd name="T33" fmla="*/ 2233 h 166"/>
                      <a:gd name="T34" fmla="*/ 3411 w 243"/>
                      <a:gd name="T35" fmla="*/ 1189 h 166"/>
                      <a:gd name="T36" fmla="*/ 4053 w 243"/>
                      <a:gd name="T37" fmla="*/ 438 h 166"/>
                      <a:gd name="T38" fmla="*/ 5118 w 243"/>
                      <a:gd name="T39" fmla="*/ 4 h 166"/>
                      <a:gd name="T40" fmla="*/ 6718 w 243"/>
                      <a:gd name="T41" fmla="*/ 4 h 166"/>
                      <a:gd name="T42" fmla="*/ 8229 w 243"/>
                      <a:gd name="T43" fmla="*/ 0 h 166"/>
                      <a:gd name="T44" fmla="*/ 10261 w 243"/>
                      <a:gd name="T45" fmla="*/ 0 h 166"/>
                      <a:gd name="T46" fmla="*/ 11281 w 243"/>
                      <a:gd name="T47" fmla="*/ 4 h 166"/>
                      <a:gd name="T48" fmla="*/ 12796 w 243"/>
                      <a:gd name="T49" fmla="*/ 570 h 166"/>
                      <a:gd name="T50" fmla="*/ 13415 w 243"/>
                      <a:gd name="T51" fmla="*/ 570 h 166"/>
                      <a:gd name="T52" fmla="*/ 14649 w 243"/>
                      <a:gd name="T53" fmla="*/ 1189 h 166"/>
                      <a:gd name="T54" fmla="*/ 15124 w 243"/>
                      <a:gd name="T55" fmla="*/ 1469 h 166"/>
                      <a:gd name="T56" fmla="*/ 15818 w 243"/>
                      <a:gd name="T57" fmla="*/ 1633 h 166"/>
                      <a:gd name="T58" fmla="*/ 16155 w 243"/>
                      <a:gd name="T59" fmla="*/ 1820 h 166"/>
                      <a:gd name="T60" fmla="*/ 17155 w 243"/>
                      <a:gd name="T61" fmla="*/ 2017 h 166"/>
                      <a:gd name="T62" fmla="*/ 18247 w 243"/>
                      <a:gd name="T63" fmla="*/ 2354 h 166"/>
                      <a:gd name="T64" fmla="*/ 18263 w 243"/>
                      <a:gd name="T65" fmla="*/ 2779 h 166"/>
                      <a:gd name="T66" fmla="*/ 18772 w 243"/>
                      <a:gd name="T67" fmla="*/ 3026 h 166"/>
                      <a:gd name="T68" fmla="*/ 18833 w 243"/>
                      <a:gd name="T69" fmla="*/ 3545 h 166"/>
                      <a:gd name="T70" fmla="*/ 19364 w 243"/>
                      <a:gd name="T71" fmla="*/ 4075 h 166"/>
                      <a:gd name="T72" fmla="*/ 20085 w 243"/>
                      <a:gd name="T73" fmla="*/ 4075 h 166"/>
                      <a:gd name="T74" fmla="*/ 20542 w 243"/>
                      <a:gd name="T75" fmla="*/ 4349 h 166"/>
                      <a:gd name="T76" fmla="*/ 20732 w 243"/>
                      <a:gd name="T77" fmla="*/ 4692 h 166"/>
                      <a:gd name="T78" fmla="*/ 20732 w 243"/>
                      <a:gd name="T79" fmla="*/ 4932 h 166"/>
                      <a:gd name="T80" fmla="*/ 20908 w 243"/>
                      <a:gd name="T81" fmla="*/ 5236 h 166"/>
                      <a:gd name="T82" fmla="*/ 18858 w 243"/>
                      <a:gd name="T83" fmla="*/ 5307 h 166"/>
                      <a:gd name="T84" fmla="*/ 17545 w 243"/>
                      <a:gd name="T85" fmla="*/ 5408 h 166"/>
                      <a:gd name="T86" fmla="*/ 16155 w 243"/>
                      <a:gd name="T87" fmla="*/ 5236 h 166"/>
                      <a:gd name="T88" fmla="*/ 15124 w 243"/>
                      <a:gd name="T89" fmla="*/ 5236 h 166"/>
                      <a:gd name="T90" fmla="*/ 14005 w 243"/>
                      <a:gd name="T91" fmla="*/ 4991 h 166"/>
                      <a:gd name="T92" fmla="*/ 9854 w 243"/>
                      <a:gd name="T93" fmla="*/ 4932 h 166"/>
                      <a:gd name="T94" fmla="*/ 6269 w 243"/>
                      <a:gd name="T95" fmla="*/ 5236 h 166"/>
                      <a:gd name="T96" fmla="*/ 3188 w 243"/>
                      <a:gd name="T97" fmla="*/ 5408 h 16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243"/>
                      <a:gd name="T148" fmla="*/ 0 h 166"/>
                      <a:gd name="T149" fmla="*/ 243 w 243"/>
                      <a:gd name="T150" fmla="*/ 166 h 166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243" h="166">
                        <a:moveTo>
                          <a:pt x="36" y="166"/>
                        </a:moveTo>
                        <a:lnTo>
                          <a:pt x="33" y="164"/>
                        </a:lnTo>
                        <a:lnTo>
                          <a:pt x="32" y="163"/>
                        </a:lnTo>
                        <a:lnTo>
                          <a:pt x="30" y="163"/>
                        </a:lnTo>
                        <a:lnTo>
                          <a:pt x="32" y="163"/>
                        </a:lnTo>
                        <a:lnTo>
                          <a:pt x="30" y="161"/>
                        </a:lnTo>
                        <a:lnTo>
                          <a:pt x="30" y="140"/>
                        </a:lnTo>
                        <a:lnTo>
                          <a:pt x="34" y="135"/>
                        </a:lnTo>
                        <a:lnTo>
                          <a:pt x="61" y="133"/>
                        </a:lnTo>
                        <a:lnTo>
                          <a:pt x="68" y="133"/>
                        </a:lnTo>
                        <a:lnTo>
                          <a:pt x="68" y="131"/>
                        </a:lnTo>
                        <a:lnTo>
                          <a:pt x="69" y="126"/>
                        </a:lnTo>
                        <a:lnTo>
                          <a:pt x="73" y="125"/>
                        </a:lnTo>
                        <a:lnTo>
                          <a:pt x="75" y="126"/>
                        </a:lnTo>
                        <a:lnTo>
                          <a:pt x="84" y="125"/>
                        </a:lnTo>
                        <a:lnTo>
                          <a:pt x="90" y="123"/>
                        </a:lnTo>
                        <a:lnTo>
                          <a:pt x="92" y="119"/>
                        </a:lnTo>
                        <a:lnTo>
                          <a:pt x="95" y="119"/>
                        </a:lnTo>
                        <a:lnTo>
                          <a:pt x="99" y="119"/>
                        </a:lnTo>
                        <a:lnTo>
                          <a:pt x="102" y="122"/>
                        </a:lnTo>
                        <a:lnTo>
                          <a:pt x="107" y="123"/>
                        </a:lnTo>
                        <a:lnTo>
                          <a:pt x="113" y="128"/>
                        </a:lnTo>
                        <a:lnTo>
                          <a:pt x="117" y="128"/>
                        </a:lnTo>
                        <a:lnTo>
                          <a:pt x="123" y="130"/>
                        </a:lnTo>
                        <a:lnTo>
                          <a:pt x="129" y="130"/>
                        </a:lnTo>
                        <a:lnTo>
                          <a:pt x="132" y="131"/>
                        </a:lnTo>
                        <a:lnTo>
                          <a:pt x="136" y="130"/>
                        </a:lnTo>
                        <a:lnTo>
                          <a:pt x="143" y="128"/>
                        </a:lnTo>
                        <a:lnTo>
                          <a:pt x="147" y="125"/>
                        </a:lnTo>
                        <a:lnTo>
                          <a:pt x="147" y="122"/>
                        </a:lnTo>
                        <a:lnTo>
                          <a:pt x="147" y="119"/>
                        </a:lnTo>
                        <a:lnTo>
                          <a:pt x="145" y="119"/>
                        </a:lnTo>
                        <a:lnTo>
                          <a:pt x="143" y="119"/>
                        </a:lnTo>
                        <a:lnTo>
                          <a:pt x="140" y="118"/>
                        </a:lnTo>
                        <a:lnTo>
                          <a:pt x="138" y="118"/>
                        </a:lnTo>
                        <a:lnTo>
                          <a:pt x="136" y="119"/>
                        </a:lnTo>
                        <a:lnTo>
                          <a:pt x="128" y="122"/>
                        </a:lnTo>
                        <a:lnTo>
                          <a:pt x="123" y="122"/>
                        </a:lnTo>
                        <a:lnTo>
                          <a:pt x="120" y="119"/>
                        </a:lnTo>
                        <a:lnTo>
                          <a:pt x="117" y="115"/>
                        </a:lnTo>
                        <a:lnTo>
                          <a:pt x="116" y="115"/>
                        </a:lnTo>
                        <a:lnTo>
                          <a:pt x="107" y="115"/>
                        </a:lnTo>
                        <a:lnTo>
                          <a:pt x="103" y="109"/>
                        </a:lnTo>
                        <a:lnTo>
                          <a:pt x="99" y="109"/>
                        </a:lnTo>
                        <a:lnTo>
                          <a:pt x="97" y="108"/>
                        </a:lnTo>
                        <a:lnTo>
                          <a:pt x="92" y="109"/>
                        </a:lnTo>
                        <a:lnTo>
                          <a:pt x="89" y="109"/>
                        </a:lnTo>
                        <a:lnTo>
                          <a:pt x="85" y="109"/>
                        </a:lnTo>
                        <a:lnTo>
                          <a:pt x="81" y="113"/>
                        </a:lnTo>
                        <a:lnTo>
                          <a:pt x="78" y="118"/>
                        </a:lnTo>
                        <a:lnTo>
                          <a:pt x="39" y="118"/>
                        </a:lnTo>
                        <a:lnTo>
                          <a:pt x="37" y="118"/>
                        </a:lnTo>
                        <a:lnTo>
                          <a:pt x="35" y="113"/>
                        </a:lnTo>
                        <a:lnTo>
                          <a:pt x="30" y="108"/>
                        </a:lnTo>
                        <a:lnTo>
                          <a:pt x="30" y="99"/>
                        </a:lnTo>
                        <a:lnTo>
                          <a:pt x="29" y="96"/>
                        </a:lnTo>
                        <a:lnTo>
                          <a:pt x="24" y="93"/>
                        </a:lnTo>
                        <a:lnTo>
                          <a:pt x="20" y="86"/>
                        </a:lnTo>
                        <a:lnTo>
                          <a:pt x="14" y="80"/>
                        </a:lnTo>
                        <a:lnTo>
                          <a:pt x="11" y="75"/>
                        </a:lnTo>
                        <a:lnTo>
                          <a:pt x="8" y="75"/>
                        </a:lnTo>
                        <a:lnTo>
                          <a:pt x="6" y="75"/>
                        </a:lnTo>
                        <a:lnTo>
                          <a:pt x="3" y="78"/>
                        </a:lnTo>
                        <a:lnTo>
                          <a:pt x="1" y="75"/>
                        </a:lnTo>
                        <a:lnTo>
                          <a:pt x="0" y="72"/>
                        </a:lnTo>
                        <a:lnTo>
                          <a:pt x="1" y="72"/>
                        </a:lnTo>
                        <a:lnTo>
                          <a:pt x="4" y="72"/>
                        </a:lnTo>
                        <a:lnTo>
                          <a:pt x="13" y="68"/>
                        </a:lnTo>
                        <a:lnTo>
                          <a:pt x="23" y="61"/>
                        </a:lnTo>
                        <a:lnTo>
                          <a:pt x="26" y="57"/>
                        </a:lnTo>
                        <a:lnTo>
                          <a:pt x="29" y="51"/>
                        </a:lnTo>
                        <a:lnTo>
                          <a:pt x="39" y="37"/>
                        </a:lnTo>
                        <a:lnTo>
                          <a:pt x="41" y="34"/>
                        </a:lnTo>
                        <a:lnTo>
                          <a:pt x="41" y="21"/>
                        </a:lnTo>
                        <a:lnTo>
                          <a:pt x="44" y="19"/>
                        </a:lnTo>
                        <a:lnTo>
                          <a:pt x="47" y="14"/>
                        </a:lnTo>
                        <a:lnTo>
                          <a:pt x="49" y="5"/>
                        </a:lnTo>
                        <a:lnTo>
                          <a:pt x="52" y="5"/>
                        </a:lnTo>
                        <a:lnTo>
                          <a:pt x="54" y="4"/>
                        </a:lnTo>
                        <a:lnTo>
                          <a:pt x="59" y="4"/>
                        </a:lnTo>
                        <a:lnTo>
                          <a:pt x="65" y="4"/>
                        </a:lnTo>
                        <a:lnTo>
                          <a:pt x="72" y="7"/>
                        </a:lnTo>
                        <a:lnTo>
                          <a:pt x="78" y="5"/>
                        </a:lnTo>
                        <a:lnTo>
                          <a:pt x="78" y="4"/>
                        </a:lnTo>
                        <a:lnTo>
                          <a:pt x="87" y="2"/>
                        </a:lnTo>
                        <a:lnTo>
                          <a:pt x="92" y="4"/>
                        </a:lnTo>
                        <a:lnTo>
                          <a:pt x="94" y="2"/>
                        </a:lnTo>
                        <a:lnTo>
                          <a:pt x="95" y="0"/>
                        </a:lnTo>
                        <a:lnTo>
                          <a:pt x="99" y="0"/>
                        </a:lnTo>
                        <a:lnTo>
                          <a:pt x="103" y="0"/>
                        </a:lnTo>
                        <a:lnTo>
                          <a:pt x="107" y="0"/>
                        </a:lnTo>
                        <a:lnTo>
                          <a:pt x="119" y="0"/>
                        </a:lnTo>
                        <a:lnTo>
                          <a:pt x="120" y="2"/>
                        </a:lnTo>
                        <a:lnTo>
                          <a:pt x="123" y="0"/>
                        </a:lnTo>
                        <a:lnTo>
                          <a:pt x="125" y="4"/>
                        </a:lnTo>
                        <a:lnTo>
                          <a:pt x="129" y="4"/>
                        </a:lnTo>
                        <a:lnTo>
                          <a:pt x="137" y="10"/>
                        </a:lnTo>
                        <a:lnTo>
                          <a:pt x="138" y="15"/>
                        </a:lnTo>
                        <a:lnTo>
                          <a:pt x="143" y="19"/>
                        </a:lnTo>
                        <a:lnTo>
                          <a:pt x="147" y="19"/>
                        </a:lnTo>
                        <a:lnTo>
                          <a:pt x="150" y="18"/>
                        </a:lnTo>
                        <a:lnTo>
                          <a:pt x="150" y="20"/>
                        </a:lnTo>
                        <a:lnTo>
                          <a:pt x="152" y="21"/>
                        </a:lnTo>
                        <a:lnTo>
                          <a:pt x="155" y="19"/>
                        </a:lnTo>
                        <a:lnTo>
                          <a:pt x="158" y="19"/>
                        </a:lnTo>
                        <a:lnTo>
                          <a:pt x="164" y="28"/>
                        </a:lnTo>
                        <a:lnTo>
                          <a:pt x="168" y="35"/>
                        </a:lnTo>
                        <a:lnTo>
                          <a:pt x="168" y="37"/>
                        </a:lnTo>
                        <a:lnTo>
                          <a:pt x="171" y="40"/>
                        </a:lnTo>
                        <a:lnTo>
                          <a:pt x="173" y="41"/>
                        </a:lnTo>
                        <a:lnTo>
                          <a:pt x="174" y="44"/>
                        </a:lnTo>
                        <a:lnTo>
                          <a:pt x="175" y="45"/>
                        </a:lnTo>
                        <a:lnTo>
                          <a:pt x="177" y="44"/>
                        </a:lnTo>
                        <a:lnTo>
                          <a:pt x="178" y="44"/>
                        </a:lnTo>
                        <a:lnTo>
                          <a:pt x="180" y="48"/>
                        </a:lnTo>
                        <a:lnTo>
                          <a:pt x="181" y="50"/>
                        </a:lnTo>
                        <a:lnTo>
                          <a:pt x="184" y="52"/>
                        </a:lnTo>
                        <a:lnTo>
                          <a:pt x="180" y="53"/>
                        </a:lnTo>
                        <a:lnTo>
                          <a:pt x="185" y="55"/>
                        </a:lnTo>
                        <a:lnTo>
                          <a:pt x="186" y="57"/>
                        </a:lnTo>
                        <a:lnTo>
                          <a:pt x="188" y="58"/>
                        </a:lnTo>
                        <a:lnTo>
                          <a:pt x="191" y="58"/>
                        </a:lnTo>
                        <a:lnTo>
                          <a:pt x="195" y="61"/>
                        </a:lnTo>
                        <a:lnTo>
                          <a:pt x="198" y="62"/>
                        </a:lnTo>
                        <a:lnTo>
                          <a:pt x="198" y="67"/>
                        </a:lnTo>
                        <a:lnTo>
                          <a:pt x="200" y="68"/>
                        </a:lnTo>
                        <a:lnTo>
                          <a:pt x="205" y="68"/>
                        </a:lnTo>
                        <a:lnTo>
                          <a:pt x="209" y="72"/>
                        </a:lnTo>
                        <a:lnTo>
                          <a:pt x="212" y="75"/>
                        </a:lnTo>
                        <a:lnTo>
                          <a:pt x="212" y="77"/>
                        </a:lnTo>
                        <a:lnTo>
                          <a:pt x="209" y="82"/>
                        </a:lnTo>
                        <a:lnTo>
                          <a:pt x="210" y="86"/>
                        </a:lnTo>
                        <a:lnTo>
                          <a:pt x="212" y="86"/>
                        </a:lnTo>
                        <a:lnTo>
                          <a:pt x="212" y="89"/>
                        </a:lnTo>
                        <a:lnTo>
                          <a:pt x="213" y="89"/>
                        </a:lnTo>
                        <a:lnTo>
                          <a:pt x="216" y="92"/>
                        </a:lnTo>
                        <a:lnTo>
                          <a:pt x="217" y="96"/>
                        </a:lnTo>
                        <a:lnTo>
                          <a:pt x="217" y="100"/>
                        </a:lnTo>
                        <a:lnTo>
                          <a:pt x="218" y="104"/>
                        </a:lnTo>
                        <a:lnTo>
                          <a:pt x="218" y="108"/>
                        </a:lnTo>
                        <a:lnTo>
                          <a:pt x="216" y="112"/>
                        </a:lnTo>
                        <a:lnTo>
                          <a:pt x="215" y="114"/>
                        </a:lnTo>
                        <a:lnTo>
                          <a:pt x="220" y="121"/>
                        </a:lnTo>
                        <a:lnTo>
                          <a:pt x="222" y="125"/>
                        </a:lnTo>
                        <a:lnTo>
                          <a:pt x="224" y="126"/>
                        </a:lnTo>
                        <a:lnTo>
                          <a:pt x="226" y="126"/>
                        </a:lnTo>
                        <a:lnTo>
                          <a:pt x="228" y="125"/>
                        </a:lnTo>
                        <a:lnTo>
                          <a:pt x="231" y="125"/>
                        </a:lnTo>
                        <a:lnTo>
                          <a:pt x="231" y="128"/>
                        </a:lnTo>
                        <a:lnTo>
                          <a:pt x="234" y="130"/>
                        </a:lnTo>
                        <a:lnTo>
                          <a:pt x="234" y="133"/>
                        </a:lnTo>
                        <a:lnTo>
                          <a:pt x="236" y="133"/>
                        </a:lnTo>
                        <a:lnTo>
                          <a:pt x="238" y="136"/>
                        </a:lnTo>
                        <a:lnTo>
                          <a:pt x="241" y="140"/>
                        </a:lnTo>
                        <a:lnTo>
                          <a:pt x="241" y="143"/>
                        </a:lnTo>
                        <a:lnTo>
                          <a:pt x="239" y="144"/>
                        </a:lnTo>
                        <a:lnTo>
                          <a:pt x="239" y="145"/>
                        </a:lnTo>
                        <a:lnTo>
                          <a:pt x="241" y="146"/>
                        </a:lnTo>
                        <a:lnTo>
                          <a:pt x="241" y="150"/>
                        </a:lnTo>
                        <a:lnTo>
                          <a:pt x="239" y="151"/>
                        </a:lnTo>
                        <a:lnTo>
                          <a:pt x="239" y="157"/>
                        </a:lnTo>
                        <a:lnTo>
                          <a:pt x="243" y="160"/>
                        </a:lnTo>
                        <a:lnTo>
                          <a:pt x="243" y="161"/>
                        </a:lnTo>
                        <a:lnTo>
                          <a:pt x="241" y="161"/>
                        </a:lnTo>
                        <a:lnTo>
                          <a:pt x="234" y="161"/>
                        </a:lnTo>
                        <a:lnTo>
                          <a:pt x="229" y="163"/>
                        </a:lnTo>
                        <a:lnTo>
                          <a:pt x="226" y="164"/>
                        </a:lnTo>
                        <a:lnTo>
                          <a:pt x="219" y="163"/>
                        </a:lnTo>
                        <a:lnTo>
                          <a:pt x="217" y="163"/>
                        </a:lnTo>
                        <a:lnTo>
                          <a:pt x="212" y="163"/>
                        </a:lnTo>
                        <a:lnTo>
                          <a:pt x="207" y="166"/>
                        </a:lnTo>
                        <a:lnTo>
                          <a:pt x="202" y="166"/>
                        </a:lnTo>
                        <a:lnTo>
                          <a:pt x="198" y="163"/>
                        </a:lnTo>
                        <a:lnTo>
                          <a:pt x="196" y="164"/>
                        </a:lnTo>
                        <a:lnTo>
                          <a:pt x="191" y="161"/>
                        </a:lnTo>
                        <a:lnTo>
                          <a:pt x="186" y="161"/>
                        </a:lnTo>
                        <a:lnTo>
                          <a:pt x="181" y="158"/>
                        </a:lnTo>
                        <a:lnTo>
                          <a:pt x="180" y="158"/>
                        </a:lnTo>
                        <a:lnTo>
                          <a:pt x="180" y="161"/>
                        </a:lnTo>
                        <a:lnTo>
                          <a:pt x="175" y="161"/>
                        </a:lnTo>
                        <a:lnTo>
                          <a:pt x="175" y="156"/>
                        </a:lnTo>
                        <a:lnTo>
                          <a:pt x="173" y="154"/>
                        </a:lnTo>
                        <a:lnTo>
                          <a:pt x="168" y="153"/>
                        </a:lnTo>
                        <a:lnTo>
                          <a:pt x="162" y="154"/>
                        </a:lnTo>
                        <a:lnTo>
                          <a:pt x="160" y="151"/>
                        </a:lnTo>
                        <a:lnTo>
                          <a:pt x="150" y="151"/>
                        </a:lnTo>
                        <a:lnTo>
                          <a:pt x="114" y="151"/>
                        </a:lnTo>
                        <a:lnTo>
                          <a:pt x="113" y="151"/>
                        </a:lnTo>
                        <a:lnTo>
                          <a:pt x="95" y="151"/>
                        </a:lnTo>
                        <a:lnTo>
                          <a:pt x="87" y="155"/>
                        </a:lnTo>
                        <a:lnTo>
                          <a:pt x="78" y="160"/>
                        </a:lnTo>
                        <a:lnTo>
                          <a:pt x="72" y="161"/>
                        </a:lnTo>
                        <a:lnTo>
                          <a:pt x="52" y="161"/>
                        </a:lnTo>
                        <a:lnTo>
                          <a:pt x="49" y="161"/>
                        </a:lnTo>
                        <a:lnTo>
                          <a:pt x="41" y="166"/>
                        </a:lnTo>
                        <a:lnTo>
                          <a:pt x="36" y="166"/>
                        </a:lnTo>
                        <a:close/>
                      </a:path>
                    </a:pathLst>
                  </a:custGeom>
                  <a:no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9" name="Freeform 37"/>
                  <p:cNvSpPr>
                    <a:spLocks/>
                  </p:cNvSpPr>
                  <p:nvPr/>
                </p:nvSpPr>
                <p:spPr bwMode="auto">
                  <a:xfrm>
                    <a:off x="549" y="1846"/>
                    <a:ext cx="260" cy="175"/>
                  </a:xfrm>
                  <a:custGeom>
                    <a:avLst/>
                    <a:gdLst>
                      <a:gd name="T0" fmla="*/ 2603 w 243"/>
                      <a:gd name="T1" fmla="*/ 5307 h 166"/>
                      <a:gd name="T2" fmla="*/ 2980 w 243"/>
                      <a:gd name="T3" fmla="*/ 4415 h 166"/>
                      <a:gd name="T4" fmla="*/ 5974 w 243"/>
                      <a:gd name="T5" fmla="*/ 4125 h 166"/>
                      <a:gd name="T6" fmla="*/ 7794 w 243"/>
                      <a:gd name="T7" fmla="*/ 4005 h 166"/>
                      <a:gd name="T8" fmla="*/ 8805 w 243"/>
                      <a:gd name="T9" fmla="*/ 3993 h 166"/>
                      <a:gd name="T10" fmla="*/ 10685 w 243"/>
                      <a:gd name="T11" fmla="*/ 4222 h 166"/>
                      <a:gd name="T12" fmla="*/ 12347 w 243"/>
                      <a:gd name="T13" fmla="*/ 4188 h 166"/>
                      <a:gd name="T14" fmla="*/ 12538 w 243"/>
                      <a:gd name="T15" fmla="*/ 3865 h 166"/>
                      <a:gd name="T16" fmla="*/ 11747 w 243"/>
                      <a:gd name="T17" fmla="*/ 3865 h 166"/>
                      <a:gd name="T18" fmla="*/ 10080 w 243"/>
                      <a:gd name="T19" fmla="*/ 3769 h 166"/>
                      <a:gd name="T20" fmla="*/ 8608 w 243"/>
                      <a:gd name="T21" fmla="*/ 3575 h 166"/>
                      <a:gd name="T22" fmla="*/ 7317 w 243"/>
                      <a:gd name="T23" fmla="*/ 3575 h 166"/>
                      <a:gd name="T24" fmla="*/ 3192 w 243"/>
                      <a:gd name="T25" fmla="*/ 3815 h 166"/>
                      <a:gd name="T26" fmla="*/ 2436 w 243"/>
                      <a:gd name="T27" fmla="*/ 3089 h 166"/>
                      <a:gd name="T28" fmla="*/ 943 w 243"/>
                      <a:gd name="T29" fmla="*/ 2471 h 166"/>
                      <a:gd name="T30" fmla="*/ 1 w 243"/>
                      <a:gd name="T31" fmla="*/ 2471 h 166"/>
                      <a:gd name="T32" fmla="*/ 1080 w 243"/>
                      <a:gd name="T33" fmla="*/ 2233 h 166"/>
                      <a:gd name="T34" fmla="*/ 3411 w 243"/>
                      <a:gd name="T35" fmla="*/ 1189 h 166"/>
                      <a:gd name="T36" fmla="*/ 4053 w 243"/>
                      <a:gd name="T37" fmla="*/ 438 h 166"/>
                      <a:gd name="T38" fmla="*/ 5118 w 243"/>
                      <a:gd name="T39" fmla="*/ 4 h 166"/>
                      <a:gd name="T40" fmla="*/ 6718 w 243"/>
                      <a:gd name="T41" fmla="*/ 4 h 166"/>
                      <a:gd name="T42" fmla="*/ 8229 w 243"/>
                      <a:gd name="T43" fmla="*/ 0 h 166"/>
                      <a:gd name="T44" fmla="*/ 10261 w 243"/>
                      <a:gd name="T45" fmla="*/ 0 h 166"/>
                      <a:gd name="T46" fmla="*/ 11281 w 243"/>
                      <a:gd name="T47" fmla="*/ 4 h 166"/>
                      <a:gd name="T48" fmla="*/ 12796 w 243"/>
                      <a:gd name="T49" fmla="*/ 570 h 166"/>
                      <a:gd name="T50" fmla="*/ 13415 w 243"/>
                      <a:gd name="T51" fmla="*/ 570 h 166"/>
                      <a:gd name="T52" fmla="*/ 14649 w 243"/>
                      <a:gd name="T53" fmla="*/ 1189 h 166"/>
                      <a:gd name="T54" fmla="*/ 15124 w 243"/>
                      <a:gd name="T55" fmla="*/ 1469 h 166"/>
                      <a:gd name="T56" fmla="*/ 15818 w 243"/>
                      <a:gd name="T57" fmla="*/ 1633 h 166"/>
                      <a:gd name="T58" fmla="*/ 16155 w 243"/>
                      <a:gd name="T59" fmla="*/ 1820 h 166"/>
                      <a:gd name="T60" fmla="*/ 17155 w 243"/>
                      <a:gd name="T61" fmla="*/ 2017 h 166"/>
                      <a:gd name="T62" fmla="*/ 18247 w 243"/>
                      <a:gd name="T63" fmla="*/ 2354 h 166"/>
                      <a:gd name="T64" fmla="*/ 18263 w 243"/>
                      <a:gd name="T65" fmla="*/ 2779 h 166"/>
                      <a:gd name="T66" fmla="*/ 18772 w 243"/>
                      <a:gd name="T67" fmla="*/ 3026 h 166"/>
                      <a:gd name="T68" fmla="*/ 18833 w 243"/>
                      <a:gd name="T69" fmla="*/ 3545 h 166"/>
                      <a:gd name="T70" fmla="*/ 19364 w 243"/>
                      <a:gd name="T71" fmla="*/ 4075 h 166"/>
                      <a:gd name="T72" fmla="*/ 20085 w 243"/>
                      <a:gd name="T73" fmla="*/ 4075 h 166"/>
                      <a:gd name="T74" fmla="*/ 20542 w 243"/>
                      <a:gd name="T75" fmla="*/ 4349 h 166"/>
                      <a:gd name="T76" fmla="*/ 20732 w 243"/>
                      <a:gd name="T77" fmla="*/ 4692 h 166"/>
                      <a:gd name="T78" fmla="*/ 20732 w 243"/>
                      <a:gd name="T79" fmla="*/ 4932 h 166"/>
                      <a:gd name="T80" fmla="*/ 20908 w 243"/>
                      <a:gd name="T81" fmla="*/ 5236 h 166"/>
                      <a:gd name="T82" fmla="*/ 18858 w 243"/>
                      <a:gd name="T83" fmla="*/ 5307 h 166"/>
                      <a:gd name="T84" fmla="*/ 17545 w 243"/>
                      <a:gd name="T85" fmla="*/ 5408 h 166"/>
                      <a:gd name="T86" fmla="*/ 16155 w 243"/>
                      <a:gd name="T87" fmla="*/ 5236 h 166"/>
                      <a:gd name="T88" fmla="*/ 15124 w 243"/>
                      <a:gd name="T89" fmla="*/ 5236 h 166"/>
                      <a:gd name="T90" fmla="*/ 14005 w 243"/>
                      <a:gd name="T91" fmla="*/ 4991 h 166"/>
                      <a:gd name="T92" fmla="*/ 9854 w 243"/>
                      <a:gd name="T93" fmla="*/ 4932 h 166"/>
                      <a:gd name="T94" fmla="*/ 6269 w 243"/>
                      <a:gd name="T95" fmla="*/ 5236 h 166"/>
                      <a:gd name="T96" fmla="*/ 3188 w 243"/>
                      <a:gd name="T97" fmla="*/ 5408 h 16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243"/>
                      <a:gd name="T148" fmla="*/ 0 h 166"/>
                      <a:gd name="T149" fmla="*/ 243 w 243"/>
                      <a:gd name="T150" fmla="*/ 166 h 166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243" h="166">
                        <a:moveTo>
                          <a:pt x="36" y="166"/>
                        </a:moveTo>
                        <a:lnTo>
                          <a:pt x="33" y="164"/>
                        </a:lnTo>
                        <a:lnTo>
                          <a:pt x="32" y="163"/>
                        </a:lnTo>
                        <a:lnTo>
                          <a:pt x="30" y="163"/>
                        </a:lnTo>
                        <a:lnTo>
                          <a:pt x="32" y="163"/>
                        </a:lnTo>
                        <a:lnTo>
                          <a:pt x="30" y="161"/>
                        </a:lnTo>
                        <a:lnTo>
                          <a:pt x="30" y="140"/>
                        </a:lnTo>
                        <a:lnTo>
                          <a:pt x="34" y="135"/>
                        </a:lnTo>
                        <a:lnTo>
                          <a:pt x="61" y="133"/>
                        </a:lnTo>
                        <a:lnTo>
                          <a:pt x="68" y="133"/>
                        </a:lnTo>
                        <a:lnTo>
                          <a:pt x="68" y="131"/>
                        </a:lnTo>
                        <a:lnTo>
                          <a:pt x="69" y="126"/>
                        </a:lnTo>
                        <a:lnTo>
                          <a:pt x="73" y="125"/>
                        </a:lnTo>
                        <a:lnTo>
                          <a:pt x="75" y="126"/>
                        </a:lnTo>
                        <a:lnTo>
                          <a:pt x="84" y="125"/>
                        </a:lnTo>
                        <a:lnTo>
                          <a:pt x="90" y="123"/>
                        </a:lnTo>
                        <a:lnTo>
                          <a:pt x="92" y="119"/>
                        </a:lnTo>
                        <a:lnTo>
                          <a:pt x="95" y="119"/>
                        </a:lnTo>
                        <a:lnTo>
                          <a:pt x="99" y="119"/>
                        </a:lnTo>
                        <a:lnTo>
                          <a:pt x="102" y="122"/>
                        </a:lnTo>
                        <a:lnTo>
                          <a:pt x="107" y="123"/>
                        </a:lnTo>
                        <a:lnTo>
                          <a:pt x="113" y="128"/>
                        </a:lnTo>
                        <a:lnTo>
                          <a:pt x="117" y="128"/>
                        </a:lnTo>
                        <a:lnTo>
                          <a:pt x="123" y="130"/>
                        </a:lnTo>
                        <a:lnTo>
                          <a:pt x="129" y="130"/>
                        </a:lnTo>
                        <a:lnTo>
                          <a:pt x="132" y="131"/>
                        </a:lnTo>
                        <a:lnTo>
                          <a:pt x="136" y="130"/>
                        </a:lnTo>
                        <a:lnTo>
                          <a:pt x="143" y="128"/>
                        </a:lnTo>
                        <a:lnTo>
                          <a:pt x="147" y="125"/>
                        </a:lnTo>
                        <a:lnTo>
                          <a:pt x="147" y="122"/>
                        </a:lnTo>
                        <a:lnTo>
                          <a:pt x="147" y="119"/>
                        </a:lnTo>
                        <a:lnTo>
                          <a:pt x="145" y="119"/>
                        </a:lnTo>
                        <a:lnTo>
                          <a:pt x="143" y="119"/>
                        </a:lnTo>
                        <a:lnTo>
                          <a:pt x="140" y="118"/>
                        </a:lnTo>
                        <a:lnTo>
                          <a:pt x="138" y="118"/>
                        </a:lnTo>
                        <a:lnTo>
                          <a:pt x="136" y="119"/>
                        </a:lnTo>
                        <a:lnTo>
                          <a:pt x="128" y="122"/>
                        </a:lnTo>
                        <a:lnTo>
                          <a:pt x="123" y="122"/>
                        </a:lnTo>
                        <a:lnTo>
                          <a:pt x="120" y="119"/>
                        </a:lnTo>
                        <a:lnTo>
                          <a:pt x="117" y="115"/>
                        </a:lnTo>
                        <a:lnTo>
                          <a:pt x="116" y="115"/>
                        </a:lnTo>
                        <a:lnTo>
                          <a:pt x="107" y="115"/>
                        </a:lnTo>
                        <a:lnTo>
                          <a:pt x="103" y="109"/>
                        </a:lnTo>
                        <a:lnTo>
                          <a:pt x="99" y="109"/>
                        </a:lnTo>
                        <a:lnTo>
                          <a:pt x="97" y="108"/>
                        </a:lnTo>
                        <a:lnTo>
                          <a:pt x="92" y="109"/>
                        </a:lnTo>
                        <a:lnTo>
                          <a:pt x="89" y="109"/>
                        </a:lnTo>
                        <a:lnTo>
                          <a:pt x="85" y="109"/>
                        </a:lnTo>
                        <a:lnTo>
                          <a:pt x="81" y="113"/>
                        </a:lnTo>
                        <a:lnTo>
                          <a:pt x="78" y="118"/>
                        </a:lnTo>
                        <a:lnTo>
                          <a:pt x="39" y="118"/>
                        </a:lnTo>
                        <a:lnTo>
                          <a:pt x="37" y="118"/>
                        </a:lnTo>
                        <a:lnTo>
                          <a:pt x="35" y="113"/>
                        </a:lnTo>
                        <a:lnTo>
                          <a:pt x="30" y="108"/>
                        </a:lnTo>
                        <a:lnTo>
                          <a:pt x="30" y="99"/>
                        </a:lnTo>
                        <a:lnTo>
                          <a:pt x="29" y="96"/>
                        </a:lnTo>
                        <a:lnTo>
                          <a:pt x="24" y="93"/>
                        </a:lnTo>
                        <a:lnTo>
                          <a:pt x="20" y="86"/>
                        </a:lnTo>
                        <a:lnTo>
                          <a:pt x="14" y="80"/>
                        </a:lnTo>
                        <a:lnTo>
                          <a:pt x="11" y="75"/>
                        </a:lnTo>
                        <a:lnTo>
                          <a:pt x="8" y="75"/>
                        </a:lnTo>
                        <a:lnTo>
                          <a:pt x="6" y="75"/>
                        </a:lnTo>
                        <a:lnTo>
                          <a:pt x="3" y="78"/>
                        </a:lnTo>
                        <a:lnTo>
                          <a:pt x="1" y="75"/>
                        </a:lnTo>
                        <a:lnTo>
                          <a:pt x="0" y="72"/>
                        </a:lnTo>
                        <a:lnTo>
                          <a:pt x="1" y="72"/>
                        </a:lnTo>
                        <a:lnTo>
                          <a:pt x="4" y="72"/>
                        </a:lnTo>
                        <a:lnTo>
                          <a:pt x="13" y="68"/>
                        </a:lnTo>
                        <a:lnTo>
                          <a:pt x="23" y="61"/>
                        </a:lnTo>
                        <a:lnTo>
                          <a:pt x="26" y="57"/>
                        </a:lnTo>
                        <a:lnTo>
                          <a:pt x="29" y="51"/>
                        </a:lnTo>
                        <a:lnTo>
                          <a:pt x="39" y="37"/>
                        </a:lnTo>
                        <a:lnTo>
                          <a:pt x="41" y="34"/>
                        </a:lnTo>
                        <a:lnTo>
                          <a:pt x="41" y="21"/>
                        </a:lnTo>
                        <a:lnTo>
                          <a:pt x="44" y="19"/>
                        </a:lnTo>
                        <a:lnTo>
                          <a:pt x="47" y="14"/>
                        </a:lnTo>
                        <a:lnTo>
                          <a:pt x="49" y="5"/>
                        </a:lnTo>
                        <a:lnTo>
                          <a:pt x="52" y="5"/>
                        </a:lnTo>
                        <a:lnTo>
                          <a:pt x="54" y="4"/>
                        </a:lnTo>
                        <a:lnTo>
                          <a:pt x="59" y="4"/>
                        </a:lnTo>
                        <a:lnTo>
                          <a:pt x="65" y="4"/>
                        </a:lnTo>
                        <a:lnTo>
                          <a:pt x="72" y="7"/>
                        </a:lnTo>
                        <a:lnTo>
                          <a:pt x="78" y="5"/>
                        </a:lnTo>
                        <a:lnTo>
                          <a:pt x="78" y="4"/>
                        </a:lnTo>
                        <a:lnTo>
                          <a:pt x="87" y="2"/>
                        </a:lnTo>
                        <a:lnTo>
                          <a:pt x="92" y="4"/>
                        </a:lnTo>
                        <a:lnTo>
                          <a:pt x="94" y="2"/>
                        </a:lnTo>
                        <a:lnTo>
                          <a:pt x="95" y="0"/>
                        </a:lnTo>
                        <a:lnTo>
                          <a:pt x="99" y="0"/>
                        </a:lnTo>
                        <a:lnTo>
                          <a:pt x="103" y="0"/>
                        </a:lnTo>
                        <a:lnTo>
                          <a:pt x="107" y="0"/>
                        </a:lnTo>
                        <a:lnTo>
                          <a:pt x="119" y="0"/>
                        </a:lnTo>
                        <a:lnTo>
                          <a:pt x="120" y="2"/>
                        </a:lnTo>
                        <a:lnTo>
                          <a:pt x="123" y="0"/>
                        </a:lnTo>
                        <a:lnTo>
                          <a:pt x="125" y="4"/>
                        </a:lnTo>
                        <a:lnTo>
                          <a:pt x="129" y="4"/>
                        </a:lnTo>
                        <a:lnTo>
                          <a:pt x="137" y="10"/>
                        </a:lnTo>
                        <a:lnTo>
                          <a:pt x="138" y="15"/>
                        </a:lnTo>
                        <a:lnTo>
                          <a:pt x="143" y="19"/>
                        </a:lnTo>
                        <a:lnTo>
                          <a:pt x="147" y="19"/>
                        </a:lnTo>
                        <a:lnTo>
                          <a:pt x="150" y="18"/>
                        </a:lnTo>
                        <a:lnTo>
                          <a:pt x="150" y="20"/>
                        </a:lnTo>
                        <a:lnTo>
                          <a:pt x="152" y="21"/>
                        </a:lnTo>
                        <a:lnTo>
                          <a:pt x="155" y="19"/>
                        </a:lnTo>
                        <a:lnTo>
                          <a:pt x="158" y="19"/>
                        </a:lnTo>
                        <a:lnTo>
                          <a:pt x="164" y="28"/>
                        </a:lnTo>
                        <a:lnTo>
                          <a:pt x="168" y="35"/>
                        </a:lnTo>
                        <a:lnTo>
                          <a:pt x="168" y="37"/>
                        </a:lnTo>
                        <a:lnTo>
                          <a:pt x="171" y="40"/>
                        </a:lnTo>
                        <a:lnTo>
                          <a:pt x="173" y="41"/>
                        </a:lnTo>
                        <a:lnTo>
                          <a:pt x="174" y="44"/>
                        </a:lnTo>
                        <a:lnTo>
                          <a:pt x="175" y="45"/>
                        </a:lnTo>
                        <a:lnTo>
                          <a:pt x="177" y="44"/>
                        </a:lnTo>
                        <a:lnTo>
                          <a:pt x="178" y="44"/>
                        </a:lnTo>
                        <a:lnTo>
                          <a:pt x="180" y="48"/>
                        </a:lnTo>
                        <a:lnTo>
                          <a:pt x="181" y="50"/>
                        </a:lnTo>
                        <a:lnTo>
                          <a:pt x="184" y="52"/>
                        </a:lnTo>
                        <a:lnTo>
                          <a:pt x="180" y="53"/>
                        </a:lnTo>
                        <a:lnTo>
                          <a:pt x="185" y="55"/>
                        </a:lnTo>
                        <a:lnTo>
                          <a:pt x="186" y="57"/>
                        </a:lnTo>
                        <a:lnTo>
                          <a:pt x="188" y="58"/>
                        </a:lnTo>
                        <a:lnTo>
                          <a:pt x="191" y="58"/>
                        </a:lnTo>
                        <a:lnTo>
                          <a:pt x="195" y="61"/>
                        </a:lnTo>
                        <a:lnTo>
                          <a:pt x="198" y="62"/>
                        </a:lnTo>
                        <a:lnTo>
                          <a:pt x="198" y="67"/>
                        </a:lnTo>
                        <a:lnTo>
                          <a:pt x="200" y="68"/>
                        </a:lnTo>
                        <a:lnTo>
                          <a:pt x="205" y="68"/>
                        </a:lnTo>
                        <a:lnTo>
                          <a:pt x="209" y="72"/>
                        </a:lnTo>
                        <a:lnTo>
                          <a:pt x="212" y="75"/>
                        </a:lnTo>
                        <a:lnTo>
                          <a:pt x="212" y="77"/>
                        </a:lnTo>
                        <a:lnTo>
                          <a:pt x="209" y="82"/>
                        </a:lnTo>
                        <a:lnTo>
                          <a:pt x="210" y="86"/>
                        </a:lnTo>
                        <a:lnTo>
                          <a:pt x="212" y="86"/>
                        </a:lnTo>
                        <a:lnTo>
                          <a:pt x="212" y="89"/>
                        </a:lnTo>
                        <a:lnTo>
                          <a:pt x="213" y="89"/>
                        </a:lnTo>
                        <a:lnTo>
                          <a:pt x="216" y="92"/>
                        </a:lnTo>
                        <a:lnTo>
                          <a:pt x="217" y="96"/>
                        </a:lnTo>
                        <a:lnTo>
                          <a:pt x="217" y="100"/>
                        </a:lnTo>
                        <a:lnTo>
                          <a:pt x="218" y="104"/>
                        </a:lnTo>
                        <a:lnTo>
                          <a:pt x="218" y="108"/>
                        </a:lnTo>
                        <a:lnTo>
                          <a:pt x="216" y="112"/>
                        </a:lnTo>
                        <a:lnTo>
                          <a:pt x="215" y="114"/>
                        </a:lnTo>
                        <a:lnTo>
                          <a:pt x="220" y="121"/>
                        </a:lnTo>
                        <a:lnTo>
                          <a:pt x="222" y="125"/>
                        </a:lnTo>
                        <a:lnTo>
                          <a:pt x="224" y="126"/>
                        </a:lnTo>
                        <a:lnTo>
                          <a:pt x="226" y="126"/>
                        </a:lnTo>
                        <a:lnTo>
                          <a:pt x="228" y="125"/>
                        </a:lnTo>
                        <a:lnTo>
                          <a:pt x="231" y="125"/>
                        </a:lnTo>
                        <a:lnTo>
                          <a:pt x="231" y="128"/>
                        </a:lnTo>
                        <a:lnTo>
                          <a:pt x="234" y="130"/>
                        </a:lnTo>
                        <a:lnTo>
                          <a:pt x="234" y="133"/>
                        </a:lnTo>
                        <a:lnTo>
                          <a:pt x="236" y="133"/>
                        </a:lnTo>
                        <a:lnTo>
                          <a:pt x="238" y="136"/>
                        </a:lnTo>
                        <a:lnTo>
                          <a:pt x="241" y="140"/>
                        </a:lnTo>
                        <a:lnTo>
                          <a:pt x="241" y="143"/>
                        </a:lnTo>
                        <a:lnTo>
                          <a:pt x="239" y="144"/>
                        </a:lnTo>
                        <a:lnTo>
                          <a:pt x="239" y="145"/>
                        </a:lnTo>
                        <a:lnTo>
                          <a:pt x="241" y="146"/>
                        </a:lnTo>
                        <a:lnTo>
                          <a:pt x="241" y="150"/>
                        </a:lnTo>
                        <a:lnTo>
                          <a:pt x="239" y="151"/>
                        </a:lnTo>
                        <a:lnTo>
                          <a:pt x="239" y="157"/>
                        </a:lnTo>
                        <a:lnTo>
                          <a:pt x="243" y="160"/>
                        </a:lnTo>
                        <a:lnTo>
                          <a:pt x="243" y="161"/>
                        </a:lnTo>
                        <a:lnTo>
                          <a:pt x="241" y="161"/>
                        </a:lnTo>
                        <a:lnTo>
                          <a:pt x="234" y="161"/>
                        </a:lnTo>
                        <a:lnTo>
                          <a:pt x="229" y="163"/>
                        </a:lnTo>
                        <a:lnTo>
                          <a:pt x="226" y="164"/>
                        </a:lnTo>
                        <a:lnTo>
                          <a:pt x="219" y="163"/>
                        </a:lnTo>
                        <a:lnTo>
                          <a:pt x="217" y="163"/>
                        </a:lnTo>
                        <a:lnTo>
                          <a:pt x="212" y="163"/>
                        </a:lnTo>
                        <a:lnTo>
                          <a:pt x="207" y="166"/>
                        </a:lnTo>
                        <a:lnTo>
                          <a:pt x="202" y="166"/>
                        </a:lnTo>
                        <a:lnTo>
                          <a:pt x="198" y="163"/>
                        </a:lnTo>
                        <a:lnTo>
                          <a:pt x="196" y="164"/>
                        </a:lnTo>
                        <a:lnTo>
                          <a:pt x="191" y="161"/>
                        </a:lnTo>
                        <a:lnTo>
                          <a:pt x="186" y="161"/>
                        </a:lnTo>
                        <a:lnTo>
                          <a:pt x="181" y="158"/>
                        </a:lnTo>
                        <a:lnTo>
                          <a:pt x="180" y="158"/>
                        </a:lnTo>
                        <a:lnTo>
                          <a:pt x="180" y="161"/>
                        </a:lnTo>
                        <a:lnTo>
                          <a:pt x="175" y="161"/>
                        </a:lnTo>
                        <a:lnTo>
                          <a:pt x="175" y="156"/>
                        </a:lnTo>
                        <a:lnTo>
                          <a:pt x="173" y="154"/>
                        </a:lnTo>
                        <a:lnTo>
                          <a:pt x="168" y="153"/>
                        </a:lnTo>
                        <a:lnTo>
                          <a:pt x="162" y="154"/>
                        </a:lnTo>
                        <a:lnTo>
                          <a:pt x="160" y="151"/>
                        </a:lnTo>
                        <a:lnTo>
                          <a:pt x="150" y="151"/>
                        </a:lnTo>
                        <a:lnTo>
                          <a:pt x="114" y="151"/>
                        </a:lnTo>
                        <a:lnTo>
                          <a:pt x="113" y="151"/>
                        </a:lnTo>
                        <a:lnTo>
                          <a:pt x="95" y="151"/>
                        </a:lnTo>
                        <a:lnTo>
                          <a:pt x="87" y="155"/>
                        </a:lnTo>
                        <a:lnTo>
                          <a:pt x="78" y="160"/>
                        </a:lnTo>
                        <a:lnTo>
                          <a:pt x="72" y="161"/>
                        </a:lnTo>
                        <a:lnTo>
                          <a:pt x="52" y="161"/>
                        </a:lnTo>
                        <a:lnTo>
                          <a:pt x="49" y="161"/>
                        </a:lnTo>
                        <a:lnTo>
                          <a:pt x="41" y="166"/>
                        </a:lnTo>
                        <a:lnTo>
                          <a:pt x="36" y="166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0" name="Freeform 38"/>
                  <p:cNvSpPr>
                    <a:spLocks/>
                  </p:cNvSpPr>
                  <p:nvPr/>
                </p:nvSpPr>
                <p:spPr bwMode="auto">
                  <a:xfrm>
                    <a:off x="2508" y="2562"/>
                    <a:ext cx="450" cy="435"/>
                  </a:xfrm>
                  <a:custGeom>
                    <a:avLst/>
                    <a:gdLst>
                      <a:gd name="T0" fmla="*/ 35454 w 420"/>
                      <a:gd name="T1" fmla="*/ 3796 h 414"/>
                      <a:gd name="T2" fmla="*/ 33719 w 420"/>
                      <a:gd name="T3" fmla="*/ 5152 h 414"/>
                      <a:gd name="T4" fmla="*/ 35454 w 420"/>
                      <a:gd name="T5" fmla="*/ 5891 h 414"/>
                      <a:gd name="T6" fmla="*/ 36128 w 420"/>
                      <a:gd name="T7" fmla="*/ 6280 h 414"/>
                      <a:gd name="T8" fmla="*/ 35853 w 420"/>
                      <a:gd name="T9" fmla="*/ 6886 h 414"/>
                      <a:gd name="T10" fmla="*/ 35586 w 420"/>
                      <a:gd name="T11" fmla="*/ 7279 h 414"/>
                      <a:gd name="T12" fmla="*/ 36128 w 420"/>
                      <a:gd name="T13" fmla="*/ 7914 h 414"/>
                      <a:gd name="T14" fmla="*/ 36957 w 420"/>
                      <a:gd name="T15" fmla="*/ 8444 h 414"/>
                      <a:gd name="T16" fmla="*/ 37401 w 420"/>
                      <a:gd name="T17" fmla="*/ 8881 h 414"/>
                      <a:gd name="T18" fmla="*/ 38709 w 420"/>
                      <a:gd name="T19" fmla="*/ 9375 h 414"/>
                      <a:gd name="T20" fmla="*/ 39944 w 420"/>
                      <a:gd name="T21" fmla="*/ 9664 h 414"/>
                      <a:gd name="T22" fmla="*/ 37401 w 420"/>
                      <a:gd name="T23" fmla="*/ 10154 h 414"/>
                      <a:gd name="T24" fmla="*/ 32720 w 420"/>
                      <a:gd name="T25" fmla="*/ 10454 h 414"/>
                      <a:gd name="T26" fmla="*/ 29373 w 420"/>
                      <a:gd name="T27" fmla="*/ 10669 h 414"/>
                      <a:gd name="T28" fmla="*/ 25824 w 420"/>
                      <a:gd name="T29" fmla="*/ 10806 h 414"/>
                      <a:gd name="T30" fmla="*/ 24286 w 420"/>
                      <a:gd name="T31" fmla="*/ 10806 h 414"/>
                      <a:gd name="T32" fmla="*/ 22367 w 420"/>
                      <a:gd name="T33" fmla="*/ 10715 h 414"/>
                      <a:gd name="T34" fmla="*/ 19054 w 420"/>
                      <a:gd name="T35" fmla="*/ 10454 h 414"/>
                      <a:gd name="T36" fmla="*/ 18537 w 420"/>
                      <a:gd name="T37" fmla="*/ 9851 h 414"/>
                      <a:gd name="T38" fmla="*/ 17454 w 420"/>
                      <a:gd name="T39" fmla="*/ 8922 h 414"/>
                      <a:gd name="T40" fmla="*/ 15491 w 420"/>
                      <a:gd name="T41" fmla="*/ 8791 h 414"/>
                      <a:gd name="T42" fmla="*/ 14060 w 420"/>
                      <a:gd name="T43" fmla="*/ 8791 h 414"/>
                      <a:gd name="T44" fmla="*/ 12248 w 420"/>
                      <a:gd name="T45" fmla="*/ 8452 h 414"/>
                      <a:gd name="T46" fmla="*/ 10435 w 420"/>
                      <a:gd name="T47" fmla="*/ 8367 h 414"/>
                      <a:gd name="T48" fmla="*/ 6921 w 420"/>
                      <a:gd name="T49" fmla="*/ 7847 h 414"/>
                      <a:gd name="T50" fmla="*/ 4721 w 420"/>
                      <a:gd name="T51" fmla="*/ 7301 h 414"/>
                      <a:gd name="T52" fmla="*/ 3355 w 420"/>
                      <a:gd name="T53" fmla="*/ 6227 h 414"/>
                      <a:gd name="T54" fmla="*/ 4 w 420"/>
                      <a:gd name="T55" fmla="*/ 5218 h 414"/>
                      <a:gd name="T56" fmla="*/ 6 w 420"/>
                      <a:gd name="T57" fmla="*/ 4531 h 414"/>
                      <a:gd name="T58" fmla="*/ 0 w 420"/>
                      <a:gd name="T59" fmla="*/ 3796 h 414"/>
                      <a:gd name="T60" fmla="*/ 1931 w 420"/>
                      <a:gd name="T61" fmla="*/ 3273 h 414"/>
                      <a:gd name="T62" fmla="*/ 3985 w 420"/>
                      <a:gd name="T63" fmla="*/ 2374 h 414"/>
                      <a:gd name="T64" fmla="*/ 3838 w 420"/>
                      <a:gd name="T65" fmla="*/ 1929 h 414"/>
                      <a:gd name="T66" fmla="*/ 3240 w 420"/>
                      <a:gd name="T67" fmla="*/ 1663 h 414"/>
                      <a:gd name="T68" fmla="*/ 4575 w 420"/>
                      <a:gd name="T69" fmla="*/ 965 h 414"/>
                      <a:gd name="T70" fmla="*/ 3024 w 420"/>
                      <a:gd name="T71" fmla="*/ 1 h 414"/>
                      <a:gd name="T72" fmla="*/ 7918 w 420"/>
                      <a:gd name="T73" fmla="*/ 0 h 414"/>
                      <a:gd name="T74" fmla="*/ 7651 w 420"/>
                      <a:gd name="T75" fmla="*/ 1082 h 414"/>
                      <a:gd name="T76" fmla="*/ 8784 w 420"/>
                      <a:gd name="T77" fmla="*/ 1747 h 414"/>
                      <a:gd name="T78" fmla="*/ 9447 w 420"/>
                      <a:gd name="T79" fmla="*/ 1299 h 414"/>
                      <a:gd name="T80" fmla="*/ 11436 w 420"/>
                      <a:gd name="T81" fmla="*/ 1531 h 414"/>
                      <a:gd name="T82" fmla="*/ 12274 w 420"/>
                      <a:gd name="T83" fmla="*/ 1747 h 414"/>
                      <a:gd name="T84" fmla="*/ 13799 w 420"/>
                      <a:gd name="T85" fmla="*/ 1521 h 414"/>
                      <a:gd name="T86" fmla="*/ 14984 w 420"/>
                      <a:gd name="T87" fmla="*/ 1176 h 414"/>
                      <a:gd name="T88" fmla="*/ 14237 w 420"/>
                      <a:gd name="T89" fmla="*/ 933 h 414"/>
                      <a:gd name="T90" fmla="*/ 14870 w 420"/>
                      <a:gd name="T91" fmla="*/ 728 h 414"/>
                      <a:gd name="T92" fmla="*/ 15753 w 420"/>
                      <a:gd name="T93" fmla="*/ 347 h 414"/>
                      <a:gd name="T94" fmla="*/ 16140 w 420"/>
                      <a:gd name="T95" fmla="*/ 3 h 414"/>
                      <a:gd name="T96" fmla="*/ 29861 w 420"/>
                      <a:gd name="T97" fmla="*/ 2277 h 41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420"/>
                      <a:gd name="T148" fmla="*/ 0 h 414"/>
                      <a:gd name="T149" fmla="*/ 420 w 420"/>
                      <a:gd name="T150" fmla="*/ 414 h 41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420" h="414">
                        <a:moveTo>
                          <a:pt x="317" y="100"/>
                        </a:moveTo>
                        <a:lnTo>
                          <a:pt x="320" y="108"/>
                        </a:lnTo>
                        <a:lnTo>
                          <a:pt x="374" y="142"/>
                        </a:lnTo>
                        <a:lnTo>
                          <a:pt x="373" y="145"/>
                        </a:lnTo>
                        <a:lnTo>
                          <a:pt x="367" y="166"/>
                        </a:lnTo>
                        <a:lnTo>
                          <a:pt x="365" y="171"/>
                        </a:lnTo>
                        <a:lnTo>
                          <a:pt x="363" y="179"/>
                        </a:lnTo>
                        <a:lnTo>
                          <a:pt x="356" y="197"/>
                        </a:lnTo>
                        <a:lnTo>
                          <a:pt x="356" y="204"/>
                        </a:lnTo>
                        <a:lnTo>
                          <a:pt x="358" y="209"/>
                        </a:lnTo>
                        <a:lnTo>
                          <a:pt x="368" y="216"/>
                        </a:lnTo>
                        <a:lnTo>
                          <a:pt x="373" y="224"/>
                        </a:lnTo>
                        <a:lnTo>
                          <a:pt x="379" y="227"/>
                        </a:lnTo>
                        <a:lnTo>
                          <a:pt x="383" y="235"/>
                        </a:lnTo>
                        <a:lnTo>
                          <a:pt x="383" y="239"/>
                        </a:lnTo>
                        <a:lnTo>
                          <a:pt x="381" y="241"/>
                        </a:lnTo>
                        <a:lnTo>
                          <a:pt x="377" y="245"/>
                        </a:lnTo>
                        <a:lnTo>
                          <a:pt x="377" y="254"/>
                        </a:lnTo>
                        <a:lnTo>
                          <a:pt x="377" y="258"/>
                        </a:lnTo>
                        <a:lnTo>
                          <a:pt x="377" y="263"/>
                        </a:lnTo>
                        <a:lnTo>
                          <a:pt x="377" y="267"/>
                        </a:lnTo>
                        <a:lnTo>
                          <a:pt x="379" y="270"/>
                        </a:lnTo>
                        <a:lnTo>
                          <a:pt x="377" y="277"/>
                        </a:lnTo>
                        <a:lnTo>
                          <a:pt x="374" y="278"/>
                        </a:lnTo>
                        <a:lnTo>
                          <a:pt x="373" y="282"/>
                        </a:lnTo>
                        <a:lnTo>
                          <a:pt x="374" y="289"/>
                        </a:lnTo>
                        <a:lnTo>
                          <a:pt x="377" y="298"/>
                        </a:lnTo>
                        <a:lnTo>
                          <a:pt x="381" y="301"/>
                        </a:lnTo>
                        <a:lnTo>
                          <a:pt x="381" y="303"/>
                        </a:lnTo>
                        <a:lnTo>
                          <a:pt x="379" y="305"/>
                        </a:lnTo>
                        <a:lnTo>
                          <a:pt x="388" y="319"/>
                        </a:lnTo>
                        <a:lnTo>
                          <a:pt x="389" y="323"/>
                        </a:lnTo>
                        <a:lnTo>
                          <a:pt x="388" y="328"/>
                        </a:lnTo>
                        <a:lnTo>
                          <a:pt x="391" y="332"/>
                        </a:lnTo>
                        <a:lnTo>
                          <a:pt x="394" y="335"/>
                        </a:lnTo>
                        <a:lnTo>
                          <a:pt x="394" y="340"/>
                        </a:lnTo>
                        <a:lnTo>
                          <a:pt x="396" y="343"/>
                        </a:lnTo>
                        <a:lnTo>
                          <a:pt x="396" y="347"/>
                        </a:lnTo>
                        <a:lnTo>
                          <a:pt x="403" y="352"/>
                        </a:lnTo>
                        <a:lnTo>
                          <a:pt x="408" y="359"/>
                        </a:lnTo>
                        <a:lnTo>
                          <a:pt x="413" y="360"/>
                        </a:lnTo>
                        <a:lnTo>
                          <a:pt x="418" y="364"/>
                        </a:lnTo>
                        <a:lnTo>
                          <a:pt x="420" y="364"/>
                        </a:lnTo>
                        <a:lnTo>
                          <a:pt x="420" y="368"/>
                        </a:lnTo>
                        <a:lnTo>
                          <a:pt x="419" y="369"/>
                        </a:lnTo>
                        <a:lnTo>
                          <a:pt x="409" y="376"/>
                        </a:lnTo>
                        <a:lnTo>
                          <a:pt x="398" y="384"/>
                        </a:lnTo>
                        <a:lnTo>
                          <a:pt x="394" y="387"/>
                        </a:lnTo>
                        <a:lnTo>
                          <a:pt x="381" y="390"/>
                        </a:lnTo>
                        <a:lnTo>
                          <a:pt x="358" y="399"/>
                        </a:lnTo>
                        <a:lnTo>
                          <a:pt x="351" y="400"/>
                        </a:lnTo>
                        <a:lnTo>
                          <a:pt x="345" y="399"/>
                        </a:lnTo>
                        <a:lnTo>
                          <a:pt x="335" y="395"/>
                        </a:lnTo>
                        <a:lnTo>
                          <a:pt x="329" y="397"/>
                        </a:lnTo>
                        <a:lnTo>
                          <a:pt x="319" y="398"/>
                        </a:lnTo>
                        <a:lnTo>
                          <a:pt x="310" y="407"/>
                        </a:lnTo>
                        <a:lnTo>
                          <a:pt x="308" y="408"/>
                        </a:lnTo>
                        <a:lnTo>
                          <a:pt x="303" y="408"/>
                        </a:lnTo>
                        <a:lnTo>
                          <a:pt x="281" y="407"/>
                        </a:lnTo>
                        <a:lnTo>
                          <a:pt x="272" y="412"/>
                        </a:lnTo>
                        <a:lnTo>
                          <a:pt x="267" y="412"/>
                        </a:lnTo>
                        <a:lnTo>
                          <a:pt x="260" y="414"/>
                        </a:lnTo>
                        <a:lnTo>
                          <a:pt x="259" y="413"/>
                        </a:lnTo>
                        <a:lnTo>
                          <a:pt x="255" y="412"/>
                        </a:lnTo>
                        <a:lnTo>
                          <a:pt x="250" y="406"/>
                        </a:lnTo>
                        <a:lnTo>
                          <a:pt x="246" y="405"/>
                        </a:lnTo>
                        <a:lnTo>
                          <a:pt x="240" y="405"/>
                        </a:lnTo>
                        <a:lnTo>
                          <a:pt x="236" y="408"/>
                        </a:lnTo>
                        <a:lnTo>
                          <a:pt x="233" y="408"/>
                        </a:lnTo>
                        <a:lnTo>
                          <a:pt x="205" y="408"/>
                        </a:lnTo>
                        <a:lnTo>
                          <a:pt x="205" y="405"/>
                        </a:lnTo>
                        <a:lnTo>
                          <a:pt x="201" y="399"/>
                        </a:lnTo>
                        <a:lnTo>
                          <a:pt x="198" y="397"/>
                        </a:lnTo>
                        <a:lnTo>
                          <a:pt x="195" y="392"/>
                        </a:lnTo>
                        <a:lnTo>
                          <a:pt x="193" y="390"/>
                        </a:lnTo>
                        <a:lnTo>
                          <a:pt x="195" y="377"/>
                        </a:lnTo>
                        <a:lnTo>
                          <a:pt x="191" y="371"/>
                        </a:lnTo>
                        <a:lnTo>
                          <a:pt x="190" y="359"/>
                        </a:lnTo>
                        <a:lnTo>
                          <a:pt x="186" y="346"/>
                        </a:lnTo>
                        <a:lnTo>
                          <a:pt x="184" y="342"/>
                        </a:lnTo>
                        <a:lnTo>
                          <a:pt x="176" y="334"/>
                        </a:lnTo>
                        <a:lnTo>
                          <a:pt x="167" y="332"/>
                        </a:lnTo>
                        <a:lnTo>
                          <a:pt x="163" y="336"/>
                        </a:lnTo>
                        <a:lnTo>
                          <a:pt x="163" y="334"/>
                        </a:lnTo>
                        <a:lnTo>
                          <a:pt x="161" y="333"/>
                        </a:lnTo>
                        <a:lnTo>
                          <a:pt x="159" y="330"/>
                        </a:lnTo>
                        <a:lnTo>
                          <a:pt x="157" y="330"/>
                        </a:lnTo>
                        <a:lnTo>
                          <a:pt x="147" y="334"/>
                        </a:lnTo>
                        <a:lnTo>
                          <a:pt x="147" y="333"/>
                        </a:lnTo>
                        <a:lnTo>
                          <a:pt x="144" y="329"/>
                        </a:lnTo>
                        <a:lnTo>
                          <a:pt x="136" y="329"/>
                        </a:lnTo>
                        <a:lnTo>
                          <a:pt x="128" y="324"/>
                        </a:lnTo>
                        <a:lnTo>
                          <a:pt x="126" y="321"/>
                        </a:lnTo>
                        <a:lnTo>
                          <a:pt x="125" y="320"/>
                        </a:lnTo>
                        <a:lnTo>
                          <a:pt x="116" y="320"/>
                        </a:lnTo>
                        <a:lnTo>
                          <a:pt x="109" y="318"/>
                        </a:lnTo>
                        <a:lnTo>
                          <a:pt x="88" y="309"/>
                        </a:lnTo>
                        <a:lnTo>
                          <a:pt x="82" y="308"/>
                        </a:lnTo>
                        <a:lnTo>
                          <a:pt x="77" y="304"/>
                        </a:lnTo>
                        <a:lnTo>
                          <a:pt x="73" y="299"/>
                        </a:lnTo>
                        <a:lnTo>
                          <a:pt x="66" y="294"/>
                        </a:lnTo>
                        <a:lnTo>
                          <a:pt x="61" y="292"/>
                        </a:lnTo>
                        <a:lnTo>
                          <a:pt x="57" y="293"/>
                        </a:lnTo>
                        <a:lnTo>
                          <a:pt x="49" y="280"/>
                        </a:lnTo>
                        <a:lnTo>
                          <a:pt x="45" y="272"/>
                        </a:lnTo>
                        <a:lnTo>
                          <a:pt x="40" y="263"/>
                        </a:lnTo>
                        <a:lnTo>
                          <a:pt x="35" y="247"/>
                        </a:lnTo>
                        <a:lnTo>
                          <a:pt x="35" y="237"/>
                        </a:lnTo>
                        <a:lnTo>
                          <a:pt x="35" y="230"/>
                        </a:lnTo>
                        <a:lnTo>
                          <a:pt x="23" y="217"/>
                        </a:lnTo>
                        <a:lnTo>
                          <a:pt x="7" y="209"/>
                        </a:lnTo>
                        <a:lnTo>
                          <a:pt x="4" y="199"/>
                        </a:lnTo>
                        <a:lnTo>
                          <a:pt x="9" y="196"/>
                        </a:lnTo>
                        <a:lnTo>
                          <a:pt x="10" y="191"/>
                        </a:lnTo>
                        <a:lnTo>
                          <a:pt x="7" y="183"/>
                        </a:lnTo>
                        <a:lnTo>
                          <a:pt x="6" y="173"/>
                        </a:lnTo>
                        <a:lnTo>
                          <a:pt x="7" y="163"/>
                        </a:lnTo>
                        <a:lnTo>
                          <a:pt x="3" y="158"/>
                        </a:lnTo>
                        <a:lnTo>
                          <a:pt x="1" y="156"/>
                        </a:lnTo>
                        <a:lnTo>
                          <a:pt x="0" y="145"/>
                        </a:lnTo>
                        <a:lnTo>
                          <a:pt x="1" y="131"/>
                        </a:lnTo>
                        <a:lnTo>
                          <a:pt x="2" y="131"/>
                        </a:lnTo>
                        <a:lnTo>
                          <a:pt x="10" y="130"/>
                        </a:lnTo>
                        <a:lnTo>
                          <a:pt x="20" y="125"/>
                        </a:lnTo>
                        <a:lnTo>
                          <a:pt x="29" y="111"/>
                        </a:lnTo>
                        <a:lnTo>
                          <a:pt x="32" y="107"/>
                        </a:lnTo>
                        <a:lnTo>
                          <a:pt x="35" y="97"/>
                        </a:lnTo>
                        <a:lnTo>
                          <a:pt x="42" y="90"/>
                        </a:lnTo>
                        <a:lnTo>
                          <a:pt x="44" y="85"/>
                        </a:lnTo>
                        <a:lnTo>
                          <a:pt x="44" y="79"/>
                        </a:lnTo>
                        <a:lnTo>
                          <a:pt x="44" y="74"/>
                        </a:lnTo>
                        <a:lnTo>
                          <a:pt x="40" y="73"/>
                        </a:lnTo>
                        <a:lnTo>
                          <a:pt x="37" y="71"/>
                        </a:lnTo>
                        <a:lnTo>
                          <a:pt x="34" y="69"/>
                        </a:lnTo>
                        <a:lnTo>
                          <a:pt x="34" y="67"/>
                        </a:lnTo>
                        <a:lnTo>
                          <a:pt x="34" y="63"/>
                        </a:lnTo>
                        <a:lnTo>
                          <a:pt x="35" y="58"/>
                        </a:lnTo>
                        <a:lnTo>
                          <a:pt x="39" y="54"/>
                        </a:lnTo>
                        <a:lnTo>
                          <a:pt x="45" y="44"/>
                        </a:lnTo>
                        <a:lnTo>
                          <a:pt x="48" y="37"/>
                        </a:lnTo>
                        <a:lnTo>
                          <a:pt x="47" y="32"/>
                        </a:lnTo>
                        <a:lnTo>
                          <a:pt x="44" y="22"/>
                        </a:lnTo>
                        <a:lnTo>
                          <a:pt x="35" y="6"/>
                        </a:lnTo>
                        <a:lnTo>
                          <a:pt x="32" y="1"/>
                        </a:lnTo>
                        <a:lnTo>
                          <a:pt x="47" y="3"/>
                        </a:lnTo>
                        <a:lnTo>
                          <a:pt x="51" y="1"/>
                        </a:lnTo>
                        <a:lnTo>
                          <a:pt x="51" y="0"/>
                        </a:lnTo>
                        <a:lnTo>
                          <a:pt x="83" y="0"/>
                        </a:lnTo>
                        <a:lnTo>
                          <a:pt x="85" y="4"/>
                        </a:lnTo>
                        <a:lnTo>
                          <a:pt x="83" y="18"/>
                        </a:lnTo>
                        <a:lnTo>
                          <a:pt x="82" y="27"/>
                        </a:lnTo>
                        <a:lnTo>
                          <a:pt x="80" y="42"/>
                        </a:lnTo>
                        <a:lnTo>
                          <a:pt x="83" y="58"/>
                        </a:lnTo>
                        <a:lnTo>
                          <a:pt x="82" y="63"/>
                        </a:lnTo>
                        <a:lnTo>
                          <a:pt x="85" y="69"/>
                        </a:lnTo>
                        <a:lnTo>
                          <a:pt x="92" y="66"/>
                        </a:lnTo>
                        <a:lnTo>
                          <a:pt x="93" y="61"/>
                        </a:lnTo>
                        <a:lnTo>
                          <a:pt x="99" y="61"/>
                        </a:lnTo>
                        <a:lnTo>
                          <a:pt x="97" y="54"/>
                        </a:lnTo>
                        <a:lnTo>
                          <a:pt x="100" y="49"/>
                        </a:lnTo>
                        <a:lnTo>
                          <a:pt x="104" y="52"/>
                        </a:lnTo>
                        <a:lnTo>
                          <a:pt x="111" y="59"/>
                        </a:lnTo>
                        <a:lnTo>
                          <a:pt x="115" y="63"/>
                        </a:lnTo>
                        <a:lnTo>
                          <a:pt x="120" y="59"/>
                        </a:lnTo>
                        <a:lnTo>
                          <a:pt x="122" y="61"/>
                        </a:lnTo>
                        <a:lnTo>
                          <a:pt x="125" y="74"/>
                        </a:lnTo>
                        <a:lnTo>
                          <a:pt x="130" y="70"/>
                        </a:lnTo>
                        <a:lnTo>
                          <a:pt x="130" y="66"/>
                        </a:lnTo>
                        <a:lnTo>
                          <a:pt x="130" y="59"/>
                        </a:lnTo>
                        <a:lnTo>
                          <a:pt x="133" y="58"/>
                        </a:lnTo>
                        <a:lnTo>
                          <a:pt x="141" y="58"/>
                        </a:lnTo>
                        <a:lnTo>
                          <a:pt x="145" y="58"/>
                        </a:lnTo>
                        <a:lnTo>
                          <a:pt x="151" y="55"/>
                        </a:lnTo>
                        <a:lnTo>
                          <a:pt x="159" y="49"/>
                        </a:lnTo>
                        <a:lnTo>
                          <a:pt x="159" y="48"/>
                        </a:lnTo>
                        <a:lnTo>
                          <a:pt x="157" y="45"/>
                        </a:lnTo>
                        <a:lnTo>
                          <a:pt x="147" y="45"/>
                        </a:lnTo>
                        <a:lnTo>
                          <a:pt x="141" y="43"/>
                        </a:lnTo>
                        <a:lnTo>
                          <a:pt x="143" y="40"/>
                        </a:lnTo>
                        <a:lnTo>
                          <a:pt x="150" y="36"/>
                        </a:lnTo>
                        <a:lnTo>
                          <a:pt x="147" y="33"/>
                        </a:lnTo>
                        <a:lnTo>
                          <a:pt x="150" y="32"/>
                        </a:lnTo>
                        <a:lnTo>
                          <a:pt x="154" y="32"/>
                        </a:lnTo>
                        <a:lnTo>
                          <a:pt x="156" y="28"/>
                        </a:lnTo>
                        <a:lnTo>
                          <a:pt x="159" y="23"/>
                        </a:lnTo>
                        <a:lnTo>
                          <a:pt x="159" y="20"/>
                        </a:lnTo>
                        <a:lnTo>
                          <a:pt x="163" y="20"/>
                        </a:lnTo>
                        <a:lnTo>
                          <a:pt x="164" y="13"/>
                        </a:lnTo>
                        <a:lnTo>
                          <a:pt x="168" y="14"/>
                        </a:lnTo>
                        <a:lnTo>
                          <a:pt x="169" y="11"/>
                        </a:lnTo>
                        <a:lnTo>
                          <a:pt x="167" y="7"/>
                        </a:lnTo>
                        <a:lnTo>
                          <a:pt x="169" y="3"/>
                        </a:lnTo>
                        <a:lnTo>
                          <a:pt x="178" y="0"/>
                        </a:lnTo>
                        <a:lnTo>
                          <a:pt x="312" y="78"/>
                        </a:lnTo>
                        <a:lnTo>
                          <a:pt x="313" y="81"/>
                        </a:lnTo>
                        <a:lnTo>
                          <a:pt x="313" y="87"/>
                        </a:lnTo>
                        <a:lnTo>
                          <a:pt x="317" y="100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1" name="Freeform 39"/>
                  <p:cNvSpPr>
                    <a:spLocks/>
                  </p:cNvSpPr>
                  <p:nvPr/>
                </p:nvSpPr>
                <p:spPr bwMode="auto">
                  <a:xfrm>
                    <a:off x="2508" y="2562"/>
                    <a:ext cx="450" cy="435"/>
                  </a:xfrm>
                  <a:custGeom>
                    <a:avLst/>
                    <a:gdLst>
                      <a:gd name="T0" fmla="*/ 35454 w 420"/>
                      <a:gd name="T1" fmla="*/ 3796 h 414"/>
                      <a:gd name="T2" fmla="*/ 33719 w 420"/>
                      <a:gd name="T3" fmla="*/ 5152 h 414"/>
                      <a:gd name="T4" fmla="*/ 35454 w 420"/>
                      <a:gd name="T5" fmla="*/ 5891 h 414"/>
                      <a:gd name="T6" fmla="*/ 36128 w 420"/>
                      <a:gd name="T7" fmla="*/ 6280 h 414"/>
                      <a:gd name="T8" fmla="*/ 35853 w 420"/>
                      <a:gd name="T9" fmla="*/ 6886 h 414"/>
                      <a:gd name="T10" fmla="*/ 35586 w 420"/>
                      <a:gd name="T11" fmla="*/ 7279 h 414"/>
                      <a:gd name="T12" fmla="*/ 36128 w 420"/>
                      <a:gd name="T13" fmla="*/ 7914 h 414"/>
                      <a:gd name="T14" fmla="*/ 36957 w 420"/>
                      <a:gd name="T15" fmla="*/ 8444 h 414"/>
                      <a:gd name="T16" fmla="*/ 37401 w 420"/>
                      <a:gd name="T17" fmla="*/ 8881 h 414"/>
                      <a:gd name="T18" fmla="*/ 38709 w 420"/>
                      <a:gd name="T19" fmla="*/ 9375 h 414"/>
                      <a:gd name="T20" fmla="*/ 39944 w 420"/>
                      <a:gd name="T21" fmla="*/ 9664 h 414"/>
                      <a:gd name="T22" fmla="*/ 37401 w 420"/>
                      <a:gd name="T23" fmla="*/ 10154 h 414"/>
                      <a:gd name="T24" fmla="*/ 32720 w 420"/>
                      <a:gd name="T25" fmla="*/ 10454 h 414"/>
                      <a:gd name="T26" fmla="*/ 29373 w 420"/>
                      <a:gd name="T27" fmla="*/ 10669 h 414"/>
                      <a:gd name="T28" fmla="*/ 25824 w 420"/>
                      <a:gd name="T29" fmla="*/ 10806 h 414"/>
                      <a:gd name="T30" fmla="*/ 24286 w 420"/>
                      <a:gd name="T31" fmla="*/ 10806 h 414"/>
                      <a:gd name="T32" fmla="*/ 22367 w 420"/>
                      <a:gd name="T33" fmla="*/ 10715 h 414"/>
                      <a:gd name="T34" fmla="*/ 19054 w 420"/>
                      <a:gd name="T35" fmla="*/ 10454 h 414"/>
                      <a:gd name="T36" fmla="*/ 18537 w 420"/>
                      <a:gd name="T37" fmla="*/ 9851 h 414"/>
                      <a:gd name="T38" fmla="*/ 17454 w 420"/>
                      <a:gd name="T39" fmla="*/ 8922 h 414"/>
                      <a:gd name="T40" fmla="*/ 15491 w 420"/>
                      <a:gd name="T41" fmla="*/ 8791 h 414"/>
                      <a:gd name="T42" fmla="*/ 14060 w 420"/>
                      <a:gd name="T43" fmla="*/ 8791 h 414"/>
                      <a:gd name="T44" fmla="*/ 12248 w 420"/>
                      <a:gd name="T45" fmla="*/ 8452 h 414"/>
                      <a:gd name="T46" fmla="*/ 10435 w 420"/>
                      <a:gd name="T47" fmla="*/ 8367 h 414"/>
                      <a:gd name="T48" fmla="*/ 6921 w 420"/>
                      <a:gd name="T49" fmla="*/ 7847 h 414"/>
                      <a:gd name="T50" fmla="*/ 4721 w 420"/>
                      <a:gd name="T51" fmla="*/ 7301 h 414"/>
                      <a:gd name="T52" fmla="*/ 3355 w 420"/>
                      <a:gd name="T53" fmla="*/ 6227 h 414"/>
                      <a:gd name="T54" fmla="*/ 4 w 420"/>
                      <a:gd name="T55" fmla="*/ 5218 h 414"/>
                      <a:gd name="T56" fmla="*/ 6 w 420"/>
                      <a:gd name="T57" fmla="*/ 4531 h 414"/>
                      <a:gd name="T58" fmla="*/ 0 w 420"/>
                      <a:gd name="T59" fmla="*/ 3796 h 414"/>
                      <a:gd name="T60" fmla="*/ 1931 w 420"/>
                      <a:gd name="T61" fmla="*/ 3273 h 414"/>
                      <a:gd name="T62" fmla="*/ 3985 w 420"/>
                      <a:gd name="T63" fmla="*/ 2374 h 414"/>
                      <a:gd name="T64" fmla="*/ 3838 w 420"/>
                      <a:gd name="T65" fmla="*/ 1929 h 414"/>
                      <a:gd name="T66" fmla="*/ 3240 w 420"/>
                      <a:gd name="T67" fmla="*/ 1663 h 414"/>
                      <a:gd name="T68" fmla="*/ 4575 w 420"/>
                      <a:gd name="T69" fmla="*/ 965 h 414"/>
                      <a:gd name="T70" fmla="*/ 3024 w 420"/>
                      <a:gd name="T71" fmla="*/ 1 h 414"/>
                      <a:gd name="T72" fmla="*/ 7918 w 420"/>
                      <a:gd name="T73" fmla="*/ 0 h 414"/>
                      <a:gd name="T74" fmla="*/ 7651 w 420"/>
                      <a:gd name="T75" fmla="*/ 1082 h 414"/>
                      <a:gd name="T76" fmla="*/ 8784 w 420"/>
                      <a:gd name="T77" fmla="*/ 1747 h 414"/>
                      <a:gd name="T78" fmla="*/ 9447 w 420"/>
                      <a:gd name="T79" fmla="*/ 1299 h 414"/>
                      <a:gd name="T80" fmla="*/ 11436 w 420"/>
                      <a:gd name="T81" fmla="*/ 1531 h 414"/>
                      <a:gd name="T82" fmla="*/ 12274 w 420"/>
                      <a:gd name="T83" fmla="*/ 1747 h 414"/>
                      <a:gd name="T84" fmla="*/ 13799 w 420"/>
                      <a:gd name="T85" fmla="*/ 1521 h 414"/>
                      <a:gd name="T86" fmla="*/ 14984 w 420"/>
                      <a:gd name="T87" fmla="*/ 1176 h 414"/>
                      <a:gd name="T88" fmla="*/ 14237 w 420"/>
                      <a:gd name="T89" fmla="*/ 933 h 414"/>
                      <a:gd name="T90" fmla="*/ 14870 w 420"/>
                      <a:gd name="T91" fmla="*/ 728 h 414"/>
                      <a:gd name="T92" fmla="*/ 15753 w 420"/>
                      <a:gd name="T93" fmla="*/ 347 h 414"/>
                      <a:gd name="T94" fmla="*/ 16140 w 420"/>
                      <a:gd name="T95" fmla="*/ 3 h 414"/>
                      <a:gd name="T96" fmla="*/ 29861 w 420"/>
                      <a:gd name="T97" fmla="*/ 2277 h 414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420"/>
                      <a:gd name="T148" fmla="*/ 0 h 414"/>
                      <a:gd name="T149" fmla="*/ 420 w 420"/>
                      <a:gd name="T150" fmla="*/ 414 h 414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420" h="414">
                        <a:moveTo>
                          <a:pt x="317" y="100"/>
                        </a:moveTo>
                        <a:lnTo>
                          <a:pt x="320" y="108"/>
                        </a:lnTo>
                        <a:lnTo>
                          <a:pt x="374" y="142"/>
                        </a:lnTo>
                        <a:lnTo>
                          <a:pt x="373" y="145"/>
                        </a:lnTo>
                        <a:lnTo>
                          <a:pt x="367" y="166"/>
                        </a:lnTo>
                        <a:lnTo>
                          <a:pt x="365" y="171"/>
                        </a:lnTo>
                        <a:lnTo>
                          <a:pt x="363" y="179"/>
                        </a:lnTo>
                        <a:lnTo>
                          <a:pt x="356" y="197"/>
                        </a:lnTo>
                        <a:lnTo>
                          <a:pt x="356" y="204"/>
                        </a:lnTo>
                        <a:lnTo>
                          <a:pt x="358" y="209"/>
                        </a:lnTo>
                        <a:lnTo>
                          <a:pt x="368" y="216"/>
                        </a:lnTo>
                        <a:lnTo>
                          <a:pt x="373" y="224"/>
                        </a:lnTo>
                        <a:lnTo>
                          <a:pt x="379" y="227"/>
                        </a:lnTo>
                        <a:lnTo>
                          <a:pt x="383" y="235"/>
                        </a:lnTo>
                        <a:lnTo>
                          <a:pt x="383" y="239"/>
                        </a:lnTo>
                        <a:lnTo>
                          <a:pt x="381" y="241"/>
                        </a:lnTo>
                        <a:lnTo>
                          <a:pt x="377" y="245"/>
                        </a:lnTo>
                        <a:lnTo>
                          <a:pt x="377" y="254"/>
                        </a:lnTo>
                        <a:lnTo>
                          <a:pt x="377" y="258"/>
                        </a:lnTo>
                        <a:lnTo>
                          <a:pt x="377" y="263"/>
                        </a:lnTo>
                        <a:lnTo>
                          <a:pt x="377" y="267"/>
                        </a:lnTo>
                        <a:lnTo>
                          <a:pt x="379" y="270"/>
                        </a:lnTo>
                        <a:lnTo>
                          <a:pt x="377" y="277"/>
                        </a:lnTo>
                        <a:lnTo>
                          <a:pt x="374" y="278"/>
                        </a:lnTo>
                        <a:lnTo>
                          <a:pt x="373" y="282"/>
                        </a:lnTo>
                        <a:lnTo>
                          <a:pt x="374" y="289"/>
                        </a:lnTo>
                        <a:lnTo>
                          <a:pt x="377" y="298"/>
                        </a:lnTo>
                        <a:lnTo>
                          <a:pt x="381" y="301"/>
                        </a:lnTo>
                        <a:lnTo>
                          <a:pt x="381" y="303"/>
                        </a:lnTo>
                        <a:lnTo>
                          <a:pt x="379" y="305"/>
                        </a:lnTo>
                        <a:lnTo>
                          <a:pt x="388" y="319"/>
                        </a:lnTo>
                        <a:lnTo>
                          <a:pt x="389" y="323"/>
                        </a:lnTo>
                        <a:lnTo>
                          <a:pt x="388" y="328"/>
                        </a:lnTo>
                        <a:lnTo>
                          <a:pt x="391" y="332"/>
                        </a:lnTo>
                        <a:lnTo>
                          <a:pt x="394" y="335"/>
                        </a:lnTo>
                        <a:lnTo>
                          <a:pt x="394" y="340"/>
                        </a:lnTo>
                        <a:lnTo>
                          <a:pt x="396" y="343"/>
                        </a:lnTo>
                        <a:lnTo>
                          <a:pt x="396" y="347"/>
                        </a:lnTo>
                        <a:lnTo>
                          <a:pt x="403" y="352"/>
                        </a:lnTo>
                        <a:lnTo>
                          <a:pt x="408" y="359"/>
                        </a:lnTo>
                        <a:lnTo>
                          <a:pt x="413" y="360"/>
                        </a:lnTo>
                        <a:lnTo>
                          <a:pt x="418" y="364"/>
                        </a:lnTo>
                        <a:lnTo>
                          <a:pt x="420" y="364"/>
                        </a:lnTo>
                        <a:lnTo>
                          <a:pt x="420" y="368"/>
                        </a:lnTo>
                        <a:lnTo>
                          <a:pt x="419" y="369"/>
                        </a:lnTo>
                        <a:lnTo>
                          <a:pt x="409" y="376"/>
                        </a:lnTo>
                        <a:lnTo>
                          <a:pt x="398" y="384"/>
                        </a:lnTo>
                        <a:lnTo>
                          <a:pt x="394" y="387"/>
                        </a:lnTo>
                        <a:lnTo>
                          <a:pt x="381" y="390"/>
                        </a:lnTo>
                        <a:lnTo>
                          <a:pt x="358" y="399"/>
                        </a:lnTo>
                        <a:lnTo>
                          <a:pt x="351" y="400"/>
                        </a:lnTo>
                        <a:lnTo>
                          <a:pt x="345" y="399"/>
                        </a:lnTo>
                        <a:lnTo>
                          <a:pt x="335" y="395"/>
                        </a:lnTo>
                        <a:lnTo>
                          <a:pt x="329" y="397"/>
                        </a:lnTo>
                        <a:lnTo>
                          <a:pt x="319" y="398"/>
                        </a:lnTo>
                        <a:lnTo>
                          <a:pt x="310" y="407"/>
                        </a:lnTo>
                        <a:lnTo>
                          <a:pt x="308" y="408"/>
                        </a:lnTo>
                        <a:lnTo>
                          <a:pt x="303" y="408"/>
                        </a:lnTo>
                        <a:lnTo>
                          <a:pt x="281" y="407"/>
                        </a:lnTo>
                        <a:lnTo>
                          <a:pt x="272" y="412"/>
                        </a:lnTo>
                        <a:lnTo>
                          <a:pt x="267" y="412"/>
                        </a:lnTo>
                        <a:lnTo>
                          <a:pt x="260" y="414"/>
                        </a:lnTo>
                        <a:lnTo>
                          <a:pt x="259" y="413"/>
                        </a:lnTo>
                        <a:lnTo>
                          <a:pt x="255" y="412"/>
                        </a:lnTo>
                        <a:lnTo>
                          <a:pt x="250" y="406"/>
                        </a:lnTo>
                        <a:lnTo>
                          <a:pt x="246" y="405"/>
                        </a:lnTo>
                        <a:lnTo>
                          <a:pt x="240" y="405"/>
                        </a:lnTo>
                        <a:lnTo>
                          <a:pt x="236" y="408"/>
                        </a:lnTo>
                        <a:lnTo>
                          <a:pt x="233" y="408"/>
                        </a:lnTo>
                        <a:lnTo>
                          <a:pt x="205" y="408"/>
                        </a:lnTo>
                        <a:lnTo>
                          <a:pt x="205" y="405"/>
                        </a:lnTo>
                        <a:lnTo>
                          <a:pt x="201" y="399"/>
                        </a:lnTo>
                        <a:lnTo>
                          <a:pt x="198" y="397"/>
                        </a:lnTo>
                        <a:lnTo>
                          <a:pt x="195" y="392"/>
                        </a:lnTo>
                        <a:lnTo>
                          <a:pt x="193" y="390"/>
                        </a:lnTo>
                        <a:lnTo>
                          <a:pt x="195" y="377"/>
                        </a:lnTo>
                        <a:lnTo>
                          <a:pt x="191" y="371"/>
                        </a:lnTo>
                        <a:lnTo>
                          <a:pt x="190" y="359"/>
                        </a:lnTo>
                        <a:lnTo>
                          <a:pt x="186" y="346"/>
                        </a:lnTo>
                        <a:lnTo>
                          <a:pt x="184" y="342"/>
                        </a:lnTo>
                        <a:lnTo>
                          <a:pt x="176" y="334"/>
                        </a:lnTo>
                        <a:lnTo>
                          <a:pt x="167" y="332"/>
                        </a:lnTo>
                        <a:lnTo>
                          <a:pt x="163" y="336"/>
                        </a:lnTo>
                        <a:lnTo>
                          <a:pt x="163" y="334"/>
                        </a:lnTo>
                        <a:lnTo>
                          <a:pt x="161" y="333"/>
                        </a:lnTo>
                        <a:lnTo>
                          <a:pt x="159" y="330"/>
                        </a:lnTo>
                        <a:lnTo>
                          <a:pt x="157" y="330"/>
                        </a:lnTo>
                        <a:lnTo>
                          <a:pt x="147" y="334"/>
                        </a:lnTo>
                        <a:lnTo>
                          <a:pt x="147" y="333"/>
                        </a:lnTo>
                        <a:lnTo>
                          <a:pt x="144" y="329"/>
                        </a:lnTo>
                        <a:lnTo>
                          <a:pt x="136" y="329"/>
                        </a:lnTo>
                        <a:lnTo>
                          <a:pt x="128" y="324"/>
                        </a:lnTo>
                        <a:lnTo>
                          <a:pt x="126" y="321"/>
                        </a:lnTo>
                        <a:lnTo>
                          <a:pt x="125" y="320"/>
                        </a:lnTo>
                        <a:lnTo>
                          <a:pt x="116" y="320"/>
                        </a:lnTo>
                        <a:lnTo>
                          <a:pt x="109" y="318"/>
                        </a:lnTo>
                        <a:lnTo>
                          <a:pt x="88" y="309"/>
                        </a:lnTo>
                        <a:lnTo>
                          <a:pt x="82" y="308"/>
                        </a:lnTo>
                        <a:lnTo>
                          <a:pt x="77" y="304"/>
                        </a:lnTo>
                        <a:lnTo>
                          <a:pt x="73" y="299"/>
                        </a:lnTo>
                        <a:lnTo>
                          <a:pt x="66" y="294"/>
                        </a:lnTo>
                        <a:lnTo>
                          <a:pt x="61" y="292"/>
                        </a:lnTo>
                        <a:lnTo>
                          <a:pt x="57" y="293"/>
                        </a:lnTo>
                        <a:lnTo>
                          <a:pt x="49" y="280"/>
                        </a:lnTo>
                        <a:lnTo>
                          <a:pt x="45" y="272"/>
                        </a:lnTo>
                        <a:lnTo>
                          <a:pt x="40" y="263"/>
                        </a:lnTo>
                        <a:lnTo>
                          <a:pt x="35" y="247"/>
                        </a:lnTo>
                        <a:lnTo>
                          <a:pt x="35" y="237"/>
                        </a:lnTo>
                        <a:lnTo>
                          <a:pt x="35" y="230"/>
                        </a:lnTo>
                        <a:lnTo>
                          <a:pt x="23" y="217"/>
                        </a:lnTo>
                        <a:lnTo>
                          <a:pt x="7" y="209"/>
                        </a:lnTo>
                        <a:lnTo>
                          <a:pt x="4" y="199"/>
                        </a:lnTo>
                        <a:lnTo>
                          <a:pt x="9" y="196"/>
                        </a:lnTo>
                        <a:lnTo>
                          <a:pt x="10" y="191"/>
                        </a:lnTo>
                        <a:lnTo>
                          <a:pt x="7" y="183"/>
                        </a:lnTo>
                        <a:lnTo>
                          <a:pt x="6" y="173"/>
                        </a:lnTo>
                        <a:lnTo>
                          <a:pt x="7" y="163"/>
                        </a:lnTo>
                        <a:lnTo>
                          <a:pt x="3" y="158"/>
                        </a:lnTo>
                        <a:lnTo>
                          <a:pt x="1" y="156"/>
                        </a:lnTo>
                        <a:lnTo>
                          <a:pt x="0" y="145"/>
                        </a:lnTo>
                        <a:lnTo>
                          <a:pt x="1" y="131"/>
                        </a:lnTo>
                        <a:lnTo>
                          <a:pt x="2" y="131"/>
                        </a:lnTo>
                        <a:lnTo>
                          <a:pt x="10" y="130"/>
                        </a:lnTo>
                        <a:lnTo>
                          <a:pt x="20" y="125"/>
                        </a:lnTo>
                        <a:lnTo>
                          <a:pt x="29" y="111"/>
                        </a:lnTo>
                        <a:lnTo>
                          <a:pt x="32" y="107"/>
                        </a:lnTo>
                        <a:lnTo>
                          <a:pt x="35" y="97"/>
                        </a:lnTo>
                        <a:lnTo>
                          <a:pt x="42" y="90"/>
                        </a:lnTo>
                        <a:lnTo>
                          <a:pt x="44" y="85"/>
                        </a:lnTo>
                        <a:lnTo>
                          <a:pt x="44" y="79"/>
                        </a:lnTo>
                        <a:lnTo>
                          <a:pt x="44" y="74"/>
                        </a:lnTo>
                        <a:lnTo>
                          <a:pt x="40" y="73"/>
                        </a:lnTo>
                        <a:lnTo>
                          <a:pt x="37" y="71"/>
                        </a:lnTo>
                        <a:lnTo>
                          <a:pt x="34" y="69"/>
                        </a:lnTo>
                        <a:lnTo>
                          <a:pt x="34" y="67"/>
                        </a:lnTo>
                        <a:lnTo>
                          <a:pt x="34" y="63"/>
                        </a:lnTo>
                        <a:lnTo>
                          <a:pt x="35" y="58"/>
                        </a:lnTo>
                        <a:lnTo>
                          <a:pt x="39" y="54"/>
                        </a:lnTo>
                        <a:lnTo>
                          <a:pt x="45" y="44"/>
                        </a:lnTo>
                        <a:lnTo>
                          <a:pt x="48" y="37"/>
                        </a:lnTo>
                        <a:lnTo>
                          <a:pt x="47" y="32"/>
                        </a:lnTo>
                        <a:lnTo>
                          <a:pt x="44" y="22"/>
                        </a:lnTo>
                        <a:lnTo>
                          <a:pt x="35" y="6"/>
                        </a:lnTo>
                        <a:lnTo>
                          <a:pt x="32" y="1"/>
                        </a:lnTo>
                        <a:lnTo>
                          <a:pt x="47" y="3"/>
                        </a:lnTo>
                        <a:lnTo>
                          <a:pt x="51" y="1"/>
                        </a:lnTo>
                        <a:lnTo>
                          <a:pt x="51" y="0"/>
                        </a:lnTo>
                        <a:lnTo>
                          <a:pt x="83" y="0"/>
                        </a:lnTo>
                        <a:lnTo>
                          <a:pt x="85" y="4"/>
                        </a:lnTo>
                        <a:lnTo>
                          <a:pt x="83" y="18"/>
                        </a:lnTo>
                        <a:lnTo>
                          <a:pt x="82" y="27"/>
                        </a:lnTo>
                        <a:lnTo>
                          <a:pt x="80" y="42"/>
                        </a:lnTo>
                        <a:lnTo>
                          <a:pt x="83" y="58"/>
                        </a:lnTo>
                        <a:lnTo>
                          <a:pt x="82" y="63"/>
                        </a:lnTo>
                        <a:lnTo>
                          <a:pt x="85" y="69"/>
                        </a:lnTo>
                        <a:lnTo>
                          <a:pt x="92" y="66"/>
                        </a:lnTo>
                        <a:lnTo>
                          <a:pt x="93" y="61"/>
                        </a:lnTo>
                        <a:lnTo>
                          <a:pt x="99" y="61"/>
                        </a:lnTo>
                        <a:lnTo>
                          <a:pt x="97" y="54"/>
                        </a:lnTo>
                        <a:lnTo>
                          <a:pt x="100" y="49"/>
                        </a:lnTo>
                        <a:lnTo>
                          <a:pt x="104" y="52"/>
                        </a:lnTo>
                        <a:lnTo>
                          <a:pt x="111" y="59"/>
                        </a:lnTo>
                        <a:lnTo>
                          <a:pt x="115" y="63"/>
                        </a:lnTo>
                        <a:lnTo>
                          <a:pt x="120" y="59"/>
                        </a:lnTo>
                        <a:lnTo>
                          <a:pt x="122" y="61"/>
                        </a:lnTo>
                        <a:lnTo>
                          <a:pt x="125" y="74"/>
                        </a:lnTo>
                        <a:lnTo>
                          <a:pt x="130" y="70"/>
                        </a:lnTo>
                        <a:lnTo>
                          <a:pt x="130" y="66"/>
                        </a:lnTo>
                        <a:lnTo>
                          <a:pt x="130" y="59"/>
                        </a:lnTo>
                        <a:lnTo>
                          <a:pt x="133" y="58"/>
                        </a:lnTo>
                        <a:lnTo>
                          <a:pt x="141" y="58"/>
                        </a:lnTo>
                        <a:lnTo>
                          <a:pt x="145" y="58"/>
                        </a:lnTo>
                        <a:lnTo>
                          <a:pt x="151" y="55"/>
                        </a:lnTo>
                        <a:lnTo>
                          <a:pt x="159" y="49"/>
                        </a:lnTo>
                        <a:lnTo>
                          <a:pt x="159" y="48"/>
                        </a:lnTo>
                        <a:lnTo>
                          <a:pt x="157" y="45"/>
                        </a:lnTo>
                        <a:lnTo>
                          <a:pt x="147" y="45"/>
                        </a:lnTo>
                        <a:lnTo>
                          <a:pt x="141" y="43"/>
                        </a:lnTo>
                        <a:lnTo>
                          <a:pt x="143" y="40"/>
                        </a:lnTo>
                        <a:lnTo>
                          <a:pt x="150" y="36"/>
                        </a:lnTo>
                        <a:lnTo>
                          <a:pt x="147" y="33"/>
                        </a:lnTo>
                        <a:lnTo>
                          <a:pt x="150" y="32"/>
                        </a:lnTo>
                        <a:lnTo>
                          <a:pt x="154" y="32"/>
                        </a:lnTo>
                        <a:lnTo>
                          <a:pt x="156" y="28"/>
                        </a:lnTo>
                        <a:lnTo>
                          <a:pt x="159" y="23"/>
                        </a:lnTo>
                        <a:lnTo>
                          <a:pt x="159" y="20"/>
                        </a:lnTo>
                        <a:lnTo>
                          <a:pt x="163" y="20"/>
                        </a:lnTo>
                        <a:lnTo>
                          <a:pt x="164" y="13"/>
                        </a:lnTo>
                        <a:lnTo>
                          <a:pt x="168" y="14"/>
                        </a:lnTo>
                        <a:lnTo>
                          <a:pt x="169" y="11"/>
                        </a:lnTo>
                        <a:lnTo>
                          <a:pt x="167" y="7"/>
                        </a:lnTo>
                        <a:lnTo>
                          <a:pt x="169" y="3"/>
                        </a:lnTo>
                        <a:lnTo>
                          <a:pt x="178" y="0"/>
                        </a:lnTo>
                        <a:lnTo>
                          <a:pt x="312" y="78"/>
                        </a:lnTo>
                        <a:lnTo>
                          <a:pt x="313" y="81"/>
                        </a:lnTo>
                        <a:lnTo>
                          <a:pt x="313" y="87"/>
                        </a:lnTo>
                        <a:lnTo>
                          <a:pt x="317" y="10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2" name="Freeform 40"/>
                  <p:cNvSpPr>
                    <a:spLocks/>
                  </p:cNvSpPr>
                  <p:nvPr/>
                </p:nvSpPr>
                <p:spPr bwMode="auto">
                  <a:xfrm>
                    <a:off x="740" y="1067"/>
                    <a:ext cx="495" cy="330"/>
                  </a:xfrm>
                  <a:custGeom>
                    <a:avLst/>
                    <a:gdLst>
                      <a:gd name="T0" fmla="*/ 0 w 463"/>
                      <a:gd name="T1" fmla="*/ 8375 h 314"/>
                      <a:gd name="T2" fmla="*/ 1392 w 463"/>
                      <a:gd name="T3" fmla="*/ 8073 h 314"/>
                      <a:gd name="T4" fmla="*/ 4959 w 463"/>
                      <a:gd name="T5" fmla="*/ 7674 h 314"/>
                      <a:gd name="T6" fmla="*/ 6469 w 463"/>
                      <a:gd name="T7" fmla="*/ 7310 h 314"/>
                      <a:gd name="T8" fmla="*/ 8379 w 463"/>
                      <a:gd name="T9" fmla="*/ 6917 h 314"/>
                      <a:gd name="T10" fmla="*/ 9648 w 463"/>
                      <a:gd name="T11" fmla="*/ 6443 h 314"/>
                      <a:gd name="T12" fmla="*/ 10363 w 463"/>
                      <a:gd name="T13" fmla="*/ 5669 h 314"/>
                      <a:gd name="T14" fmla="*/ 10239 w 463"/>
                      <a:gd name="T15" fmla="*/ 4757 h 314"/>
                      <a:gd name="T16" fmla="*/ 11184 w 463"/>
                      <a:gd name="T17" fmla="*/ 4098 h 314"/>
                      <a:gd name="T18" fmla="*/ 11823 w 463"/>
                      <a:gd name="T19" fmla="*/ 4003 h 314"/>
                      <a:gd name="T20" fmla="*/ 13514 w 463"/>
                      <a:gd name="T21" fmla="*/ 3041 h 314"/>
                      <a:gd name="T22" fmla="*/ 15611 w 463"/>
                      <a:gd name="T23" fmla="*/ 2560 h 314"/>
                      <a:gd name="T24" fmla="*/ 19449 w 463"/>
                      <a:gd name="T25" fmla="*/ 1997 h 314"/>
                      <a:gd name="T26" fmla="*/ 21136 w 463"/>
                      <a:gd name="T27" fmla="*/ 1378 h 314"/>
                      <a:gd name="T28" fmla="*/ 23027 w 463"/>
                      <a:gd name="T29" fmla="*/ 3 h 314"/>
                      <a:gd name="T30" fmla="*/ 25638 w 463"/>
                      <a:gd name="T31" fmla="*/ 449 h 314"/>
                      <a:gd name="T32" fmla="*/ 28938 w 463"/>
                      <a:gd name="T33" fmla="*/ 576 h 314"/>
                      <a:gd name="T34" fmla="*/ 31384 w 463"/>
                      <a:gd name="T35" fmla="*/ 605 h 314"/>
                      <a:gd name="T36" fmla="*/ 32581 w 463"/>
                      <a:gd name="T37" fmla="*/ 738 h 314"/>
                      <a:gd name="T38" fmla="*/ 33757 w 463"/>
                      <a:gd name="T39" fmla="*/ 776 h 314"/>
                      <a:gd name="T40" fmla="*/ 35041 w 463"/>
                      <a:gd name="T41" fmla="*/ 972 h 314"/>
                      <a:gd name="T42" fmla="*/ 35872 w 463"/>
                      <a:gd name="T43" fmla="*/ 1129 h 314"/>
                      <a:gd name="T44" fmla="*/ 35885 w 463"/>
                      <a:gd name="T45" fmla="*/ 1277 h 314"/>
                      <a:gd name="T46" fmla="*/ 36021 w 463"/>
                      <a:gd name="T47" fmla="*/ 1558 h 314"/>
                      <a:gd name="T48" fmla="*/ 36090 w 463"/>
                      <a:gd name="T49" fmla="*/ 1997 h 314"/>
                      <a:gd name="T50" fmla="*/ 36487 w 463"/>
                      <a:gd name="T51" fmla="*/ 2318 h 314"/>
                      <a:gd name="T52" fmla="*/ 36487 w 463"/>
                      <a:gd name="T53" fmla="*/ 2560 h 314"/>
                      <a:gd name="T54" fmla="*/ 36762 w 463"/>
                      <a:gd name="T55" fmla="*/ 2827 h 314"/>
                      <a:gd name="T56" fmla="*/ 37774 w 463"/>
                      <a:gd name="T57" fmla="*/ 3312 h 314"/>
                      <a:gd name="T58" fmla="*/ 37774 w 463"/>
                      <a:gd name="T59" fmla="*/ 3448 h 314"/>
                      <a:gd name="T60" fmla="*/ 37774 w 463"/>
                      <a:gd name="T61" fmla="*/ 3729 h 314"/>
                      <a:gd name="T62" fmla="*/ 37193 w 463"/>
                      <a:gd name="T63" fmla="*/ 3729 h 314"/>
                      <a:gd name="T64" fmla="*/ 35421 w 463"/>
                      <a:gd name="T65" fmla="*/ 3729 h 314"/>
                      <a:gd name="T66" fmla="*/ 32897 w 463"/>
                      <a:gd name="T67" fmla="*/ 3827 h 314"/>
                      <a:gd name="T68" fmla="*/ 32129 w 463"/>
                      <a:gd name="T69" fmla="*/ 3809 h 314"/>
                      <a:gd name="T70" fmla="*/ 32020 w 463"/>
                      <a:gd name="T71" fmla="*/ 4098 h 314"/>
                      <a:gd name="T72" fmla="*/ 30475 w 463"/>
                      <a:gd name="T73" fmla="*/ 4246 h 314"/>
                      <a:gd name="T74" fmla="*/ 29365 w 463"/>
                      <a:gd name="T75" fmla="*/ 4207 h 314"/>
                      <a:gd name="T76" fmla="*/ 29140 w 463"/>
                      <a:gd name="T77" fmla="*/ 4462 h 314"/>
                      <a:gd name="T78" fmla="*/ 29365 w 463"/>
                      <a:gd name="T79" fmla="*/ 4555 h 314"/>
                      <a:gd name="T80" fmla="*/ 29358 w 463"/>
                      <a:gd name="T81" fmla="*/ 4782 h 314"/>
                      <a:gd name="T82" fmla="*/ 29858 w 463"/>
                      <a:gd name="T83" fmla="*/ 4884 h 314"/>
                      <a:gd name="T84" fmla="*/ 28488 w 463"/>
                      <a:gd name="T85" fmla="*/ 5031 h 314"/>
                      <a:gd name="T86" fmla="*/ 25829 w 463"/>
                      <a:gd name="T87" fmla="*/ 5443 h 314"/>
                      <a:gd name="T88" fmla="*/ 24938 w 463"/>
                      <a:gd name="T89" fmla="*/ 5720 h 314"/>
                      <a:gd name="T90" fmla="*/ 24159 w 463"/>
                      <a:gd name="T91" fmla="*/ 6011 h 314"/>
                      <a:gd name="T92" fmla="*/ 21805 w 463"/>
                      <a:gd name="T93" fmla="*/ 6137 h 314"/>
                      <a:gd name="T94" fmla="*/ 20395 w 463"/>
                      <a:gd name="T95" fmla="*/ 6262 h 314"/>
                      <a:gd name="T96" fmla="*/ 19779 w 463"/>
                      <a:gd name="T97" fmla="*/ 6367 h 314"/>
                      <a:gd name="T98" fmla="*/ 18760 w 463"/>
                      <a:gd name="T99" fmla="*/ 6298 h 314"/>
                      <a:gd name="T100" fmla="*/ 17656 w 463"/>
                      <a:gd name="T101" fmla="*/ 6581 h 314"/>
                      <a:gd name="T102" fmla="*/ 15421 w 463"/>
                      <a:gd name="T103" fmla="*/ 6900 h 314"/>
                      <a:gd name="T104" fmla="*/ 11823 w 463"/>
                      <a:gd name="T105" fmla="*/ 8375 h 314"/>
                      <a:gd name="T106" fmla="*/ 4632 w 463"/>
                      <a:gd name="T107" fmla="*/ 8375 h 314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463"/>
                      <a:gd name="T163" fmla="*/ 0 h 314"/>
                      <a:gd name="T164" fmla="*/ 463 w 463"/>
                      <a:gd name="T165" fmla="*/ 314 h 314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463" h="314">
                        <a:moveTo>
                          <a:pt x="29" y="314"/>
                        </a:moveTo>
                        <a:lnTo>
                          <a:pt x="7" y="314"/>
                        </a:lnTo>
                        <a:lnTo>
                          <a:pt x="0" y="314"/>
                        </a:lnTo>
                        <a:lnTo>
                          <a:pt x="3" y="307"/>
                        </a:lnTo>
                        <a:lnTo>
                          <a:pt x="10" y="304"/>
                        </a:lnTo>
                        <a:lnTo>
                          <a:pt x="18" y="304"/>
                        </a:lnTo>
                        <a:lnTo>
                          <a:pt x="33" y="303"/>
                        </a:lnTo>
                        <a:lnTo>
                          <a:pt x="53" y="294"/>
                        </a:lnTo>
                        <a:lnTo>
                          <a:pt x="61" y="288"/>
                        </a:lnTo>
                        <a:lnTo>
                          <a:pt x="68" y="282"/>
                        </a:lnTo>
                        <a:lnTo>
                          <a:pt x="71" y="281"/>
                        </a:lnTo>
                        <a:lnTo>
                          <a:pt x="78" y="275"/>
                        </a:lnTo>
                        <a:lnTo>
                          <a:pt x="91" y="270"/>
                        </a:lnTo>
                        <a:lnTo>
                          <a:pt x="99" y="263"/>
                        </a:lnTo>
                        <a:lnTo>
                          <a:pt x="101" y="260"/>
                        </a:lnTo>
                        <a:lnTo>
                          <a:pt x="104" y="259"/>
                        </a:lnTo>
                        <a:lnTo>
                          <a:pt x="108" y="256"/>
                        </a:lnTo>
                        <a:lnTo>
                          <a:pt x="116" y="242"/>
                        </a:lnTo>
                        <a:lnTo>
                          <a:pt x="127" y="226"/>
                        </a:lnTo>
                        <a:lnTo>
                          <a:pt x="129" y="222"/>
                        </a:lnTo>
                        <a:lnTo>
                          <a:pt x="127" y="212"/>
                        </a:lnTo>
                        <a:lnTo>
                          <a:pt x="120" y="201"/>
                        </a:lnTo>
                        <a:lnTo>
                          <a:pt x="123" y="195"/>
                        </a:lnTo>
                        <a:lnTo>
                          <a:pt x="123" y="178"/>
                        </a:lnTo>
                        <a:lnTo>
                          <a:pt x="124" y="174"/>
                        </a:lnTo>
                        <a:lnTo>
                          <a:pt x="137" y="155"/>
                        </a:lnTo>
                        <a:lnTo>
                          <a:pt x="137" y="153"/>
                        </a:lnTo>
                        <a:lnTo>
                          <a:pt x="144" y="150"/>
                        </a:lnTo>
                        <a:lnTo>
                          <a:pt x="146" y="148"/>
                        </a:lnTo>
                        <a:lnTo>
                          <a:pt x="144" y="150"/>
                        </a:lnTo>
                        <a:lnTo>
                          <a:pt x="151" y="137"/>
                        </a:lnTo>
                        <a:lnTo>
                          <a:pt x="149" y="129"/>
                        </a:lnTo>
                        <a:lnTo>
                          <a:pt x="165" y="114"/>
                        </a:lnTo>
                        <a:lnTo>
                          <a:pt x="171" y="106"/>
                        </a:lnTo>
                        <a:lnTo>
                          <a:pt x="179" y="101"/>
                        </a:lnTo>
                        <a:lnTo>
                          <a:pt x="190" y="96"/>
                        </a:lnTo>
                        <a:lnTo>
                          <a:pt x="210" y="89"/>
                        </a:lnTo>
                        <a:lnTo>
                          <a:pt x="220" y="85"/>
                        </a:lnTo>
                        <a:lnTo>
                          <a:pt x="237" y="75"/>
                        </a:lnTo>
                        <a:lnTo>
                          <a:pt x="244" y="69"/>
                        </a:lnTo>
                        <a:lnTo>
                          <a:pt x="249" y="59"/>
                        </a:lnTo>
                        <a:lnTo>
                          <a:pt x="257" y="51"/>
                        </a:lnTo>
                        <a:lnTo>
                          <a:pt x="265" y="31"/>
                        </a:lnTo>
                        <a:lnTo>
                          <a:pt x="276" y="7"/>
                        </a:lnTo>
                        <a:lnTo>
                          <a:pt x="280" y="3"/>
                        </a:lnTo>
                        <a:lnTo>
                          <a:pt x="295" y="0"/>
                        </a:lnTo>
                        <a:lnTo>
                          <a:pt x="302" y="10"/>
                        </a:lnTo>
                        <a:lnTo>
                          <a:pt x="311" y="18"/>
                        </a:lnTo>
                        <a:lnTo>
                          <a:pt x="327" y="27"/>
                        </a:lnTo>
                        <a:lnTo>
                          <a:pt x="334" y="28"/>
                        </a:lnTo>
                        <a:lnTo>
                          <a:pt x="351" y="23"/>
                        </a:lnTo>
                        <a:lnTo>
                          <a:pt x="356" y="24"/>
                        </a:lnTo>
                        <a:lnTo>
                          <a:pt x="369" y="24"/>
                        </a:lnTo>
                        <a:lnTo>
                          <a:pt x="381" y="24"/>
                        </a:lnTo>
                        <a:lnTo>
                          <a:pt x="385" y="22"/>
                        </a:lnTo>
                        <a:lnTo>
                          <a:pt x="391" y="24"/>
                        </a:lnTo>
                        <a:lnTo>
                          <a:pt x="397" y="28"/>
                        </a:lnTo>
                        <a:lnTo>
                          <a:pt x="404" y="30"/>
                        </a:lnTo>
                        <a:lnTo>
                          <a:pt x="409" y="30"/>
                        </a:lnTo>
                        <a:lnTo>
                          <a:pt x="412" y="29"/>
                        </a:lnTo>
                        <a:lnTo>
                          <a:pt x="425" y="31"/>
                        </a:lnTo>
                        <a:lnTo>
                          <a:pt x="425" y="33"/>
                        </a:lnTo>
                        <a:lnTo>
                          <a:pt x="426" y="37"/>
                        </a:lnTo>
                        <a:lnTo>
                          <a:pt x="430" y="39"/>
                        </a:lnTo>
                        <a:lnTo>
                          <a:pt x="431" y="41"/>
                        </a:lnTo>
                        <a:lnTo>
                          <a:pt x="435" y="43"/>
                        </a:lnTo>
                        <a:lnTo>
                          <a:pt x="437" y="44"/>
                        </a:lnTo>
                        <a:lnTo>
                          <a:pt x="438" y="48"/>
                        </a:lnTo>
                        <a:lnTo>
                          <a:pt x="437" y="48"/>
                        </a:lnTo>
                        <a:lnTo>
                          <a:pt x="437" y="49"/>
                        </a:lnTo>
                        <a:lnTo>
                          <a:pt x="440" y="55"/>
                        </a:lnTo>
                        <a:lnTo>
                          <a:pt x="438" y="59"/>
                        </a:lnTo>
                        <a:lnTo>
                          <a:pt x="440" y="63"/>
                        </a:lnTo>
                        <a:lnTo>
                          <a:pt x="442" y="69"/>
                        </a:lnTo>
                        <a:lnTo>
                          <a:pt x="440" y="75"/>
                        </a:lnTo>
                        <a:lnTo>
                          <a:pt x="440" y="80"/>
                        </a:lnTo>
                        <a:lnTo>
                          <a:pt x="440" y="82"/>
                        </a:lnTo>
                        <a:lnTo>
                          <a:pt x="443" y="87"/>
                        </a:lnTo>
                        <a:lnTo>
                          <a:pt x="443" y="89"/>
                        </a:lnTo>
                        <a:lnTo>
                          <a:pt x="443" y="92"/>
                        </a:lnTo>
                        <a:lnTo>
                          <a:pt x="443" y="96"/>
                        </a:lnTo>
                        <a:lnTo>
                          <a:pt x="443" y="99"/>
                        </a:lnTo>
                        <a:lnTo>
                          <a:pt x="443" y="103"/>
                        </a:lnTo>
                        <a:lnTo>
                          <a:pt x="447" y="106"/>
                        </a:lnTo>
                        <a:lnTo>
                          <a:pt x="447" y="111"/>
                        </a:lnTo>
                        <a:lnTo>
                          <a:pt x="451" y="119"/>
                        </a:lnTo>
                        <a:lnTo>
                          <a:pt x="458" y="125"/>
                        </a:lnTo>
                        <a:lnTo>
                          <a:pt x="463" y="127"/>
                        </a:lnTo>
                        <a:lnTo>
                          <a:pt x="463" y="128"/>
                        </a:lnTo>
                        <a:lnTo>
                          <a:pt x="458" y="129"/>
                        </a:lnTo>
                        <a:lnTo>
                          <a:pt x="455" y="133"/>
                        </a:lnTo>
                        <a:lnTo>
                          <a:pt x="455" y="138"/>
                        </a:lnTo>
                        <a:lnTo>
                          <a:pt x="458" y="140"/>
                        </a:lnTo>
                        <a:lnTo>
                          <a:pt x="458" y="142"/>
                        </a:lnTo>
                        <a:lnTo>
                          <a:pt x="455" y="143"/>
                        </a:lnTo>
                        <a:lnTo>
                          <a:pt x="451" y="140"/>
                        </a:lnTo>
                        <a:lnTo>
                          <a:pt x="442" y="140"/>
                        </a:lnTo>
                        <a:lnTo>
                          <a:pt x="433" y="140"/>
                        </a:lnTo>
                        <a:lnTo>
                          <a:pt x="430" y="140"/>
                        </a:lnTo>
                        <a:lnTo>
                          <a:pt x="409" y="140"/>
                        </a:lnTo>
                        <a:lnTo>
                          <a:pt x="402" y="143"/>
                        </a:lnTo>
                        <a:lnTo>
                          <a:pt x="399" y="144"/>
                        </a:lnTo>
                        <a:lnTo>
                          <a:pt x="395" y="144"/>
                        </a:lnTo>
                        <a:lnTo>
                          <a:pt x="391" y="143"/>
                        </a:lnTo>
                        <a:lnTo>
                          <a:pt x="390" y="143"/>
                        </a:lnTo>
                        <a:lnTo>
                          <a:pt x="388" y="147"/>
                        </a:lnTo>
                        <a:lnTo>
                          <a:pt x="388" y="150"/>
                        </a:lnTo>
                        <a:lnTo>
                          <a:pt x="388" y="153"/>
                        </a:lnTo>
                        <a:lnTo>
                          <a:pt x="387" y="154"/>
                        </a:lnTo>
                        <a:lnTo>
                          <a:pt x="377" y="158"/>
                        </a:lnTo>
                        <a:lnTo>
                          <a:pt x="371" y="160"/>
                        </a:lnTo>
                        <a:lnTo>
                          <a:pt x="366" y="160"/>
                        </a:lnTo>
                        <a:lnTo>
                          <a:pt x="362" y="158"/>
                        </a:lnTo>
                        <a:lnTo>
                          <a:pt x="358" y="158"/>
                        </a:lnTo>
                        <a:lnTo>
                          <a:pt x="354" y="161"/>
                        </a:lnTo>
                        <a:lnTo>
                          <a:pt x="354" y="164"/>
                        </a:lnTo>
                        <a:lnTo>
                          <a:pt x="354" y="168"/>
                        </a:lnTo>
                        <a:lnTo>
                          <a:pt x="354" y="169"/>
                        </a:lnTo>
                        <a:lnTo>
                          <a:pt x="358" y="170"/>
                        </a:lnTo>
                        <a:lnTo>
                          <a:pt x="358" y="171"/>
                        </a:lnTo>
                        <a:lnTo>
                          <a:pt x="354" y="174"/>
                        </a:lnTo>
                        <a:lnTo>
                          <a:pt x="354" y="181"/>
                        </a:lnTo>
                        <a:lnTo>
                          <a:pt x="357" y="179"/>
                        </a:lnTo>
                        <a:lnTo>
                          <a:pt x="358" y="179"/>
                        </a:lnTo>
                        <a:lnTo>
                          <a:pt x="359" y="181"/>
                        </a:lnTo>
                        <a:lnTo>
                          <a:pt x="362" y="184"/>
                        </a:lnTo>
                        <a:lnTo>
                          <a:pt x="364" y="186"/>
                        </a:lnTo>
                        <a:lnTo>
                          <a:pt x="362" y="188"/>
                        </a:lnTo>
                        <a:lnTo>
                          <a:pt x="346" y="189"/>
                        </a:lnTo>
                        <a:lnTo>
                          <a:pt x="328" y="201"/>
                        </a:lnTo>
                        <a:lnTo>
                          <a:pt x="324" y="201"/>
                        </a:lnTo>
                        <a:lnTo>
                          <a:pt x="314" y="205"/>
                        </a:lnTo>
                        <a:lnTo>
                          <a:pt x="308" y="209"/>
                        </a:lnTo>
                        <a:lnTo>
                          <a:pt x="304" y="214"/>
                        </a:lnTo>
                        <a:lnTo>
                          <a:pt x="304" y="215"/>
                        </a:lnTo>
                        <a:lnTo>
                          <a:pt x="303" y="218"/>
                        </a:lnTo>
                        <a:lnTo>
                          <a:pt x="298" y="221"/>
                        </a:lnTo>
                        <a:lnTo>
                          <a:pt x="294" y="226"/>
                        </a:lnTo>
                        <a:lnTo>
                          <a:pt x="282" y="229"/>
                        </a:lnTo>
                        <a:lnTo>
                          <a:pt x="271" y="231"/>
                        </a:lnTo>
                        <a:lnTo>
                          <a:pt x="265" y="231"/>
                        </a:lnTo>
                        <a:lnTo>
                          <a:pt x="260" y="232"/>
                        </a:lnTo>
                        <a:lnTo>
                          <a:pt x="249" y="231"/>
                        </a:lnTo>
                        <a:lnTo>
                          <a:pt x="248" y="234"/>
                        </a:lnTo>
                        <a:lnTo>
                          <a:pt x="248" y="239"/>
                        </a:lnTo>
                        <a:lnTo>
                          <a:pt x="247" y="240"/>
                        </a:lnTo>
                        <a:lnTo>
                          <a:pt x="241" y="240"/>
                        </a:lnTo>
                        <a:lnTo>
                          <a:pt x="237" y="237"/>
                        </a:lnTo>
                        <a:lnTo>
                          <a:pt x="232" y="239"/>
                        </a:lnTo>
                        <a:lnTo>
                          <a:pt x="227" y="237"/>
                        </a:lnTo>
                        <a:lnTo>
                          <a:pt x="223" y="240"/>
                        </a:lnTo>
                        <a:lnTo>
                          <a:pt x="220" y="244"/>
                        </a:lnTo>
                        <a:lnTo>
                          <a:pt x="215" y="246"/>
                        </a:lnTo>
                        <a:lnTo>
                          <a:pt x="210" y="250"/>
                        </a:lnTo>
                        <a:lnTo>
                          <a:pt x="201" y="250"/>
                        </a:lnTo>
                        <a:lnTo>
                          <a:pt x="187" y="258"/>
                        </a:lnTo>
                        <a:lnTo>
                          <a:pt x="168" y="270"/>
                        </a:lnTo>
                        <a:lnTo>
                          <a:pt x="168" y="314"/>
                        </a:lnTo>
                        <a:lnTo>
                          <a:pt x="144" y="314"/>
                        </a:lnTo>
                        <a:lnTo>
                          <a:pt x="113" y="314"/>
                        </a:lnTo>
                        <a:lnTo>
                          <a:pt x="84" y="314"/>
                        </a:lnTo>
                        <a:lnTo>
                          <a:pt x="56" y="314"/>
                        </a:lnTo>
                        <a:lnTo>
                          <a:pt x="29" y="31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3" name="Freeform 41"/>
                  <p:cNvSpPr>
                    <a:spLocks/>
                  </p:cNvSpPr>
                  <p:nvPr/>
                </p:nvSpPr>
                <p:spPr bwMode="auto">
                  <a:xfrm>
                    <a:off x="740" y="1067"/>
                    <a:ext cx="495" cy="330"/>
                  </a:xfrm>
                  <a:custGeom>
                    <a:avLst/>
                    <a:gdLst>
                      <a:gd name="T0" fmla="*/ 0 w 463"/>
                      <a:gd name="T1" fmla="*/ 8375 h 314"/>
                      <a:gd name="T2" fmla="*/ 1392 w 463"/>
                      <a:gd name="T3" fmla="*/ 8073 h 314"/>
                      <a:gd name="T4" fmla="*/ 4959 w 463"/>
                      <a:gd name="T5" fmla="*/ 7674 h 314"/>
                      <a:gd name="T6" fmla="*/ 6469 w 463"/>
                      <a:gd name="T7" fmla="*/ 7310 h 314"/>
                      <a:gd name="T8" fmla="*/ 8379 w 463"/>
                      <a:gd name="T9" fmla="*/ 6917 h 314"/>
                      <a:gd name="T10" fmla="*/ 9648 w 463"/>
                      <a:gd name="T11" fmla="*/ 6443 h 314"/>
                      <a:gd name="T12" fmla="*/ 10363 w 463"/>
                      <a:gd name="T13" fmla="*/ 5669 h 314"/>
                      <a:gd name="T14" fmla="*/ 10239 w 463"/>
                      <a:gd name="T15" fmla="*/ 4757 h 314"/>
                      <a:gd name="T16" fmla="*/ 11184 w 463"/>
                      <a:gd name="T17" fmla="*/ 4098 h 314"/>
                      <a:gd name="T18" fmla="*/ 11823 w 463"/>
                      <a:gd name="T19" fmla="*/ 4003 h 314"/>
                      <a:gd name="T20" fmla="*/ 13514 w 463"/>
                      <a:gd name="T21" fmla="*/ 3041 h 314"/>
                      <a:gd name="T22" fmla="*/ 15611 w 463"/>
                      <a:gd name="T23" fmla="*/ 2560 h 314"/>
                      <a:gd name="T24" fmla="*/ 19449 w 463"/>
                      <a:gd name="T25" fmla="*/ 1997 h 314"/>
                      <a:gd name="T26" fmla="*/ 21136 w 463"/>
                      <a:gd name="T27" fmla="*/ 1378 h 314"/>
                      <a:gd name="T28" fmla="*/ 23027 w 463"/>
                      <a:gd name="T29" fmla="*/ 3 h 314"/>
                      <a:gd name="T30" fmla="*/ 25638 w 463"/>
                      <a:gd name="T31" fmla="*/ 449 h 314"/>
                      <a:gd name="T32" fmla="*/ 28938 w 463"/>
                      <a:gd name="T33" fmla="*/ 576 h 314"/>
                      <a:gd name="T34" fmla="*/ 31384 w 463"/>
                      <a:gd name="T35" fmla="*/ 605 h 314"/>
                      <a:gd name="T36" fmla="*/ 32581 w 463"/>
                      <a:gd name="T37" fmla="*/ 738 h 314"/>
                      <a:gd name="T38" fmla="*/ 33757 w 463"/>
                      <a:gd name="T39" fmla="*/ 776 h 314"/>
                      <a:gd name="T40" fmla="*/ 35041 w 463"/>
                      <a:gd name="T41" fmla="*/ 972 h 314"/>
                      <a:gd name="T42" fmla="*/ 35872 w 463"/>
                      <a:gd name="T43" fmla="*/ 1129 h 314"/>
                      <a:gd name="T44" fmla="*/ 35885 w 463"/>
                      <a:gd name="T45" fmla="*/ 1277 h 314"/>
                      <a:gd name="T46" fmla="*/ 36021 w 463"/>
                      <a:gd name="T47" fmla="*/ 1558 h 314"/>
                      <a:gd name="T48" fmla="*/ 36090 w 463"/>
                      <a:gd name="T49" fmla="*/ 1997 h 314"/>
                      <a:gd name="T50" fmla="*/ 36487 w 463"/>
                      <a:gd name="T51" fmla="*/ 2318 h 314"/>
                      <a:gd name="T52" fmla="*/ 36487 w 463"/>
                      <a:gd name="T53" fmla="*/ 2560 h 314"/>
                      <a:gd name="T54" fmla="*/ 36762 w 463"/>
                      <a:gd name="T55" fmla="*/ 2827 h 314"/>
                      <a:gd name="T56" fmla="*/ 37774 w 463"/>
                      <a:gd name="T57" fmla="*/ 3312 h 314"/>
                      <a:gd name="T58" fmla="*/ 37774 w 463"/>
                      <a:gd name="T59" fmla="*/ 3448 h 314"/>
                      <a:gd name="T60" fmla="*/ 37774 w 463"/>
                      <a:gd name="T61" fmla="*/ 3729 h 314"/>
                      <a:gd name="T62" fmla="*/ 37193 w 463"/>
                      <a:gd name="T63" fmla="*/ 3729 h 314"/>
                      <a:gd name="T64" fmla="*/ 35421 w 463"/>
                      <a:gd name="T65" fmla="*/ 3729 h 314"/>
                      <a:gd name="T66" fmla="*/ 32897 w 463"/>
                      <a:gd name="T67" fmla="*/ 3827 h 314"/>
                      <a:gd name="T68" fmla="*/ 32129 w 463"/>
                      <a:gd name="T69" fmla="*/ 3809 h 314"/>
                      <a:gd name="T70" fmla="*/ 32020 w 463"/>
                      <a:gd name="T71" fmla="*/ 4098 h 314"/>
                      <a:gd name="T72" fmla="*/ 30475 w 463"/>
                      <a:gd name="T73" fmla="*/ 4246 h 314"/>
                      <a:gd name="T74" fmla="*/ 29365 w 463"/>
                      <a:gd name="T75" fmla="*/ 4207 h 314"/>
                      <a:gd name="T76" fmla="*/ 29140 w 463"/>
                      <a:gd name="T77" fmla="*/ 4462 h 314"/>
                      <a:gd name="T78" fmla="*/ 29365 w 463"/>
                      <a:gd name="T79" fmla="*/ 4555 h 314"/>
                      <a:gd name="T80" fmla="*/ 29358 w 463"/>
                      <a:gd name="T81" fmla="*/ 4782 h 314"/>
                      <a:gd name="T82" fmla="*/ 29858 w 463"/>
                      <a:gd name="T83" fmla="*/ 4884 h 314"/>
                      <a:gd name="T84" fmla="*/ 28488 w 463"/>
                      <a:gd name="T85" fmla="*/ 5031 h 314"/>
                      <a:gd name="T86" fmla="*/ 25829 w 463"/>
                      <a:gd name="T87" fmla="*/ 5443 h 314"/>
                      <a:gd name="T88" fmla="*/ 24938 w 463"/>
                      <a:gd name="T89" fmla="*/ 5720 h 314"/>
                      <a:gd name="T90" fmla="*/ 24159 w 463"/>
                      <a:gd name="T91" fmla="*/ 6011 h 314"/>
                      <a:gd name="T92" fmla="*/ 21805 w 463"/>
                      <a:gd name="T93" fmla="*/ 6137 h 314"/>
                      <a:gd name="T94" fmla="*/ 20395 w 463"/>
                      <a:gd name="T95" fmla="*/ 6262 h 314"/>
                      <a:gd name="T96" fmla="*/ 19779 w 463"/>
                      <a:gd name="T97" fmla="*/ 6367 h 314"/>
                      <a:gd name="T98" fmla="*/ 18760 w 463"/>
                      <a:gd name="T99" fmla="*/ 6298 h 314"/>
                      <a:gd name="T100" fmla="*/ 17656 w 463"/>
                      <a:gd name="T101" fmla="*/ 6581 h 314"/>
                      <a:gd name="T102" fmla="*/ 15421 w 463"/>
                      <a:gd name="T103" fmla="*/ 6900 h 314"/>
                      <a:gd name="T104" fmla="*/ 11823 w 463"/>
                      <a:gd name="T105" fmla="*/ 8375 h 314"/>
                      <a:gd name="T106" fmla="*/ 4632 w 463"/>
                      <a:gd name="T107" fmla="*/ 8375 h 314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463"/>
                      <a:gd name="T163" fmla="*/ 0 h 314"/>
                      <a:gd name="T164" fmla="*/ 463 w 463"/>
                      <a:gd name="T165" fmla="*/ 314 h 314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463" h="314">
                        <a:moveTo>
                          <a:pt x="29" y="314"/>
                        </a:moveTo>
                        <a:lnTo>
                          <a:pt x="7" y="314"/>
                        </a:lnTo>
                        <a:lnTo>
                          <a:pt x="0" y="314"/>
                        </a:lnTo>
                        <a:lnTo>
                          <a:pt x="3" y="307"/>
                        </a:lnTo>
                        <a:lnTo>
                          <a:pt x="10" y="304"/>
                        </a:lnTo>
                        <a:lnTo>
                          <a:pt x="18" y="304"/>
                        </a:lnTo>
                        <a:lnTo>
                          <a:pt x="33" y="303"/>
                        </a:lnTo>
                        <a:lnTo>
                          <a:pt x="53" y="294"/>
                        </a:lnTo>
                        <a:lnTo>
                          <a:pt x="61" y="288"/>
                        </a:lnTo>
                        <a:lnTo>
                          <a:pt x="68" y="282"/>
                        </a:lnTo>
                        <a:lnTo>
                          <a:pt x="71" y="281"/>
                        </a:lnTo>
                        <a:lnTo>
                          <a:pt x="78" y="275"/>
                        </a:lnTo>
                        <a:lnTo>
                          <a:pt x="91" y="270"/>
                        </a:lnTo>
                        <a:lnTo>
                          <a:pt x="99" y="263"/>
                        </a:lnTo>
                        <a:lnTo>
                          <a:pt x="101" y="260"/>
                        </a:lnTo>
                        <a:lnTo>
                          <a:pt x="104" y="259"/>
                        </a:lnTo>
                        <a:lnTo>
                          <a:pt x="108" y="256"/>
                        </a:lnTo>
                        <a:lnTo>
                          <a:pt x="116" y="242"/>
                        </a:lnTo>
                        <a:lnTo>
                          <a:pt x="127" y="226"/>
                        </a:lnTo>
                        <a:lnTo>
                          <a:pt x="129" y="222"/>
                        </a:lnTo>
                        <a:lnTo>
                          <a:pt x="127" y="212"/>
                        </a:lnTo>
                        <a:lnTo>
                          <a:pt x="120" y="201"/>
                        </a:lnTo>
                        <a:lnTo>
                          <a:pt x="123" y="195"/>
                        </a:lnTo>
                        <a:lnTo>
                          <a:pt x="123" y="178"/>
                        </a:lnTo>
                        <a:lnTo>
                          <a:pt x="124" y="174"/>
                        </a:lnTo>
                        <a:lnTo>
                          <a:pt x="137" y="155"/>
                        </a:lnTo>
                        <a:lnTo>
                          <a:pt x="137" y="153"/>
                        </a:lnTo>
                        <a:lnTo>
                          <a:pt x="144" y="150"/>
                        </a:lnTo>
                        <a:lnTo>
                          <a:pt x="146" y="148"/>
                        </a:lnTo>
                        <a:lnTo>
                          <a:pt x="144" y="150"/>
                        </a:lnTo>
                        <a:lnTo>
                          <a:pt x="151" y="137"/>
                        </a:lnTo>
                        <a:lnTo>
                          <a:pt x="149" y="129"/>
                        </a:lnTo>
                        <a:lnTo>
                          <a:pt x="165" y="114"/>
                        </a:lnTo>
                        <a:lnTo>
                          <a:pt x="171" y="106"/>
                        </a:lnTo>
                        <a:lnTo>
                          <a:pt x="179" y="101"/>
                        </a:lnTo>
                        <a:lnTo>
                          <a:pt x="190" y="96"/>
                        </a:lnTo>
                        <a:lnTo>
                          <a:pt x="210" y="89"/>
                        </a:lnTo>
                        <a:lnTo>
                          <a:pt x="220" y="85"/>
                        </a:lnTo>
                        <a:lnTo>
                          <a:pt x="237" y="75"/>
                        </a:lnTo>
                        <a:lnTo>
                          <a:pt x="244" y="69"/>
                        </a:lnTo>
                        <a:lnTo>
                          <a:pt x="249" y="59"/>
                        </a:lnTo>
                        <a:lnTo>
                          <a:pt x="257" y="51"/>
                        </a:lnTo>
                        <a:lnTo>
                          <a:pt x="265" y="31"/>
                        </a:lnTo>
                        <a:lnTo>
                          <a:pt x="276" y="7"/>
                        </a:lnTo>
                        <a:lnTo>
                          <a:pt x="280" y="3"/>
                        </a:lnTo>
                        <a:lnTo>
                          <a:pt x="295" y="0"/>
                        </a:lnTo>
                        <a:lnTo>
                          <a:pt x="302" y="10"/>
                        </a:lnTo>
                        <a:lnTo>
                          <a:pt x="311" y="18"/>
                        </a:lnTo>
                        <a:lnTo>
                          <a:pt x="327" y="27"/>
                        </a:lnTo>
                        <a:lnTo>
                          <a:pt x="334" y="28"/>
                        </a:lnTo>
                        <a:lnTo>
                          <a:pt x="351" y="23"/>
                        </a:lnTo>
                        <a:lnTo>
                          <a:pt x="356" y="24"/>
                        </a:lnTo>
                        <a:lnTo>
                          <a:pt x="369" y="24"/>
                        </a:lnTo>
                        <a:lnTo>
                          <a:pt x="381" y="24"/>
                        </a:lnTo>
                        <a:lnTo>
                          <a:pt x="385" y="22"/>
                        </a:lnTo>
                        <a:lnTo>
                          <a:pt x="391" y="24"/>
                        </a:lnTo>
                        <a:lnTo>
                          <a:pt x="397" y="28"/>
                        </a:lnTo>
                        <a:lnTo>
                          <a:pt x="404" y="30"/>
                        </a:lnTo>
                        <a:lnTo>
                          <a:pt x="409" y="30"/>
                        </a:lnTo>
                        <a:lnTo>
                          <a:pt x="412" y="29"/>
                        </a:lnTo>
                        <a:lnTo>
                          <a:pt x="425" y="31"/>
                        </a:lnTo>
                        <a:lnTo>
                          <a:pt x="425" y="33"/>
                        </a:lnTo>
                        <a:lnTo>
                          <a:pt x="426" y="37"/>
                        </a:lnTo>
                        <a:lnTo>
                          <a:pt x="430" y="39"/>
                        </a:lnTo>
                        <a:lnTo>
                          <a:pt x="431" y="41"/>
                        </a:lnTo>
                        <a:lnTo>
                          <a:pt x="435" y="43"/>
                        </a:lnTo>
                        <a:lnTo>
                          <a:pt x="437" y="44"/>
                        </a:lnTo>
                        <a:lnTo>
                          <a:pt x="438" y="48"/>
                        </a:lnTo>
                        <a:lnTo>
                          <a:pt x="437" y="48"/>
                        </a:lnTo>
                        <a:lnTo>
                          <a:pt x="437" y="49"/>
                        </a:lnTo>
                        <a:lnTo>
                          <a:pt x="440" y="55"/>
                        </a:lnTo>
                        <a:lnTo>
                          <a:pt x="438" y="59"/>
                        </a:lnTo>
                        <a:lnTo>
                          <a:pt x="440" y="63"/>
                        </a:lnTo>
                        <a:lnTo>
                          <a:pt x="442" y="69"/>
                        </a:lnTo>
                        <a:lnTo>
                          <a:pt x="440" y="75"/>
                        </a:lnTo>
                        <a:lnTo>
                          <a:pt x="440" y="80"/>
                        </a:lnTo>
                        <a:lnTo>
                          <a:pt x="440" y="82"/>
                        </a:lnTo>
                        <a:lnTo>
                          <a:pt x="443" y="87"/>
                        </a:lnTo>
                        <a:lnTo>
                          <a:pt x="443" y="89"/>
                        </a:lnTo>
                        <a:lnTo>
                          <a:pt x="443" y="92"/>
                        </a:lnTo>
                        <a:lnTo>
                          <a:pt x="443" y="96"/>
                        </a:lnTo>
                        <a:lnTo>
                          <a:pt x="443" y="99"/>
                        </a:lnTo>
                        <a:lnTo>
                          <a:pt x="443" y="103"/>
                        </a:lnTo>
                        <a:lnTo>
                          <a:pt x="447" y="106"/>
                        </a:lnTo>
                        <a:lnTo>
                          <a:pt x="447" y="111"/>
                        </a:lnTo>
                        <a:lnTo>
                          <a:pt x="451" y="119"/>
                        </a:lnTo>
                        <a:lnTo>
                          <a:pt x="458" y="125"/>
                        </a:lnTo>
                        <a:lnTo>
                          <a:pt x="463" y="127"/>
                        </a:lnTo>
                        <a:lnTo>
                          <a:pt x="463" y="128"/>
                        </a:lnTo>
                        <a:lnTo>
                          <a:pt x="458" y="129"/>
                        </a:lnTo>
                        <a:lnTo>
                          <a:pt x="455" y="133"/>
                        </a:lnTo>
                        <a:lnTo>
                          <a:pt x="455" y="138"/>
                        </a:lnTo>
                        <a:lnTo>
                          <a:pt x="458" y="140"/>
                        </a:lnTo>
                        <a:lnTo>
                          <a:pt x="458" y="142"/>
                        </a:lnTo>
                        <a:lnTo>
                          <a:pt x="455" y="143"/>
                        </a:lnTo>
                        <a:lnTo>
                          <a:pt x="451" y="140"/>
                        </a:lnTo>
                        <a:lnTo>
                          <a:pt x="442" y="140"/>
                        </a:lnTo>
                        <a:lnTo>
                          <a:pt x="433" y="140"/>
                        </a:lnTo>
                        <a:lnTo>
                          <a:pt x="430" y="140"/>
                        </a:lnTo>
                        <a:lnTo>
                          <a:pt x="409" y="140"/>
                        </a:lnTo>
                        <a:lnTo>
                          <a:pt x="402" y="143"/>
                        </a:lnTo>
                        <a:lnTo>
                          <a:pt x="399" y="144"/>
                        </a:lnTo>
                        <a:lnTo>
                          <a:pt x="395" y="144"/>
                        </a:lnTo>
                        <a:lnTo>
                          <a:pt x="391" y="143"/>
                        </a:lnTo>
                        <a:lnTo>
                          <a:pt x="390" y="143"/>
                        </a:lnTo>
                        <a:lnTo>
                          <a:pt x="388" y="147"/>
                        </a:lnTo>
                        <a:lnTo>
                          <a:pt x="388" y="150"/>
                        </a:lnTo>
                        <a:lnTo>
                          <a:pt x="388" y="153"/>
                        </a:lnTo>
                        <a:lnTo>
                          <a:pt x="387" y="154"/>
                        </a:lnTo>
                        <a:lnTo>
                          <a:pt x="377" y="158"/>
                        </a:lnTo>
                        <a:lnTo>
                          <a:pt x="371" y="160"/>
                        </a:lnTo>
                        <a:lnTo>
                          <a:pt x="366" y="160"/>
                        </a:lnTo>
                        <a:lnTo>
                          <a:pt x="362" y="158"/>
                        </a:lnTo>
                        <a:lnTo>
                          <a:pt x="358" y="158"/>
                        </a:lnTo>
                        <a:lnTo>
                          <a:pt x="354" y="161"/>
                        </a:lnTo>
                        <a:lnTo>
                          <a:pt x="354" y="164"/>
                        </a:lnTo>
                        <a:lnTo>
                          <a:pt x="354" y="168"/>
                        </a:lnTo>
                        <a:lnTo>
                          <a:pt x="354" y="169"/>
                        </a:lnTo>
                        <a:lnTo>
                          <a:pt x="358" y="170"/>
                        </a:lnTo>
                        <a:lnTo>
                          <a:pt x="358" y="171"/>
                        </a:lnTo>
                        <a:lnTo>
                          <a:pt x="354" y="174"/>
                        </a:lnTo>
                        <a:lnTo>
                          <a:pt x="354" y="181"/>
                        </a:lnTo>
                        <a:lnTo>
                          <a:pt x="357" y="179"/>
                        </a:lnTo>
                        <a:lnTo>
                          <a:pt x="358" y="179"/>
                        </a:lnTo>
                        <a:lnTo>
                          <a:pt x="359" y="181"/>
                        </a:lnTo>
                        <a:lnTo>
                          <a:pt x="362" y="184"/>
                        </a:lnTo>
                        <a:lnTo>
                          <a:pt x="364" y="186"/>
                        </a:lnTo>
                        <a:lnTo>
                          <a:pt x="362" y="188"/>
                        </a:lnTo>
                        <a:lnTo>
                          <a:pt x="346" y="189"/>
                        </a:lnTo>
                        <a:lnTo>
                          <a:pt x="328" y="201"/>
                        </a:lnTo>
                        <a:lnTo>
                          <a:pt x="324" y="201"/>
                        </a:lnTo>
                        <a:lnTo>
                          <a:pt x="314" y="205"/>
                        </a:lnTo>
                        <a:lnTo>
                          <a:pt x="308" y="209"/>
                        </a:lnTo>
                        <a:lnTo>
                          <a:pt x="304" y="214"/>
                        </a:lnTo>
                        <a:lnTo>
                          <a:pt x="304" y="215"/>
                        </a:lnTo>
                        <a:lnTo>
                          <a:pt x="303" y="218"/>
                        </a:lnTo>
                        <a:lnTo>
                          <a:pt x="298" y="221"/>
                        </a:lnTo>
                        <a:lnTo>
                          <a:pt x="294" y="226"/>
                        </a:lnTo>
                        <a:lnTo>
                          <a:pt x="282" y="229"/>
                        </a:lnTo>
                        <a:lnTo>
                          <a:pt x="271" y="231"/>
                        </a:lnTo>
                        <a:lnTo>
                          <a:pt x="265" y="231"/>
                        </a:lnTo>
                        <a:lnTo>
                          <a:pt x="260" y="232"/>
                        </a:lnTo>
                        <a:lnTo>
                          <a:pt x="249" y="231"/>
                        </a:lnTo>
                        <a:lnTo>
                          <a:pt x="248" y="234"/>
                        </a:lnTo>
                        <a:lnTo>
                          <a:pt x="248" y="239"/>
                        </a:lnTo>
                        <a:lnTo>
                          <a:pt x="247" y="240"/>
                        </a:lnTo>
                        <a:lnTo>
                          <a:pt x="241" y="240"/>
                        </a:lnTo>
                        <a:lnTo>
                          <a:pt x="237" y="237"/>
                        </a:lnTo>
                        <a:lnTo>
                          <a:pt x="232" y="239"/>
                        </a:lnTo>
                        <a:lnTo>
                          <a:pt x="227" y="237"/>
                        </a:lnTo>
                        <a:lnTo>
                          <a:pt x="223" y="240"/>
                        </a:lnTo>
                        <a:lnTo>
                          <a:pt x="220" y="244"/>
                        </a:lnTo>
                        <a:lnTo>
                          <a:pt x="215" y="246"/>
                        </a:lnTo>
                        <a:lnTo>
                          <a:pt x="210" y="250"/>
                        </a:lnTo>
                        <a:lnTo>
                          <a:pt x="201" y="250"/>
                        </a:lnTo>
                        <a:lnTo>
                          <a:pt x="187" y="258"/>
                        </a:lnTo>
                        <a:lnTo>
                          <a:pt x="168" y="270"/>
                        </a:lnTo>
                        <a:lnTo>
                          <a:pt x="168" y="314"/>
                        </a:lnTo>
                        <a:lnTo>
                          <a:pt x="144" y="314"/>
                        </a:lnTo>
                        <a:lnTo>
                          <a:pt x="113" y="314"/>
                        </a:lnTo>
                        <a:lnTo>
                          <a:pt x="84" y="314"/>
                        </a:lnTo>
                        <a:lnTo>
                          <a:pt x="56" y="314"/>
                        </a:lnTo>
                        <a:lnTo>
                          <a:pt x="29" y="31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4" name="Freeform 42"/>
                  <p:cNvSpPr>
                    <a:spLocks/>
                  </p:cNvSpPr>
                  <p:nvPr/>
                </p:nvSpPr>
                <p:spPr bwMode="auto">
                  <a:xfrm>
                    <a:off x="581" y="1961"/>
                    <a:ext cx="126" cy="33"/>
                  </a:xfrm>
                  <a:custGeom>
                    <a:avLst/>
                    <a:gdLst>
                      <a:gd name="T0" fmla="*/ 4059 w 117"/>
                      <a:gd name="T1" fmla="*/ 1531 h 31"/>
                      <a:gd name="T2" fmla="*/ 5 w 117"/>
                      <a:gd name="T3" fmla="*/ 1630 h 31"/>
                      <a:gd name="T4" fmla="*/ 1 w 117"/>
                      <a:gd name="T5" fmla="*/ 1883 h 31"/>
                      <a:gd name="T6" fmla="*/ 0 w 117"/>
                      <a:gd name="T7" fmla="*/ 1883 h 31"/>
                      <a:gd name="T8" fmla="*/ 0 w 117"/>
                      <a:gd name="T9" fmla="*/ 1769 h 31"/>
                      <a:gd name="T10" fmla="*/ 0 w 117"/>
                      <a:gd name="T11" fmla="*/ 1351 h 31"/>
                      <a:gd name="T12" fmla="*/ 0 w 117"/>
                      <a:gd name="T13" fmla="*/ 1052 h 31"/>
                      <a:gd name="T14" fmla="*/ 1 w 117"/>
                      <a:gd name="T15" fmla="*/ 988 h 31"/>
                      <a:gd name="T16" fmla="*/ 4 w 117"/>
                      <a:gd name="T17" fmla="*/ 819 h 31"/>
                      <a:gd name="T18" fmla="*/ 5 w 117"/>
                      <a:gd name="T19" fmla="*/ 819 h 31"/>
                      <a:gd name="T20" fmla="*/ 1134 w 117"/>
                      <a:gd name="T21" fmla="*/ 819 h 31"/>
                      <a:gd name="T22" fmla="*/ 1134 w 117"/>
                      <a:gd name="T23" fmla="*/ 678 h 31"/>
                      <a:gd name="T24" fmla="*/ 1134 w 117"/>
                      <a:gd name="T25" fmla="*/ 598 h 31"/>
                      <a:gd name="T26" fmla="*/ 1315 w 117"/>
                      <a:gd name="T27" fmla="*/ 598 h 31"/>
                      <a:gd name="T28" fmla="*/ 6331 w 117"/>
                      <a:gd name="T29" fmla="*/ 598 h 31"/>
                      <a:gd name="T30" fmla="*/ 6818 w 117"/>
                      <a:gd name="T31" fmla="*/ 5 h 31"/>
                      <a:gd name="T32" fmla="*/ 7342 w 117"/>
                      <a:gd name="T33" fmla="*/ 1 h 31"/>
                      <a:gd name="T34" fmla="*/ 7901 w 117"/>
                      <a:gd name="T35" fmla="*/ 1 h 31"/>
                      <a:gd name="T36" fmla="*/ 8490 w 117"/>
                      <a:gd name="T37" fmla="*/ 0 h 31"/>
                      <a:gd name="T38" fmla="*/ 9025 w 117"/>
                      <a:gd name="T39" fmla="*/ 0 h 31"/>
                      <a:gd name="T40" fmla="*/ 9170 w 117"/>
                      <a:gd name="T41" fmla="*/ 1 h 31"/>
                      <a:gd name="T42" fmla="*/ 9846 w 117"/>
                      <a:gd name="T43" fmla="*/ 1 h 31"/>
                      <a:gd name="T44" fmla="*/ 10193 w 117"/>
                      <a:gd name="T45" fmla="*/ 7 h 31"/>
                      <a:gd name="T46" fmla="*/ 11446 w 117"/>
                      <a:gd name="T47" fmla="*/ 7 h 31"/>
                      <a:gd name="T48" fmla="*/ 11673 w 117"/>
                      <a:gd name="T49" fmla="*/ 7 h 31"/>
                      <a:gd name="T50" fmla="*/ 12139 w 117"/>
                      <a:gd name="T51" fmla="*/ 678 h 31"/>
                      <a:gd name="T52" fmla="*/ 12326 w 117"/>
                      <a:gd name="T53" fmla="*/ 819 h 31"/>
                      <a:gd name="T54" fmla="*/ 13091 w 117"/>
                      <a:gd name="T55" fmla="*/ 819 h 31"/>
                      <a:gd name="T56" fmla="*/ 14098 w 117"/>
                      <a:gd name="T57" fmla="*/ 637 h 31"/>
                      <a:gd name="T58" fmla="*/ 14295 w 117"/>
                      <a:gd name="T59" fmla="*/ 598 h 31"/>
                      <a:gd name="T60" fmla="*/ 14579 w 117"/>
                      <a:gd name="T61" fmla="*/ 598 h 31"/>
                      <a:gd name="T62" fmla="*/ 15180 w 117"/>
                      <a:gd name="T63" fmla="*/ 637 h 31"/>
                      <a:gd name="T64" fmla="*/ 15359 w 117"/>
                      <a:gd name="T65" fmla="*/ 637 h 31"/>
                      <a:gd name="T66" fmla="*/ 15405 w 117"/>
                      <a:gd name="T67" fmla="*/ 637 h 31"/>
                      <a:gd name="T68" fmla="*/ 15405 w 117"/>
                      <a:gd name="T69" fmla="*/ 819 h 31"/>
                      <a:gd name="T70" fmla="*/ 15405 w 117"/>
                      <a:gd name="T71" fmla="*/ 928 h 31"/>
                      <a:gd name="T72" fmla="*/ 15180 w 117"/>
                      <a:gd name="T73" fmla="*/ 1120 h 31"/>
                      <a:gd name="T74" fmla="*/ 14098 w 117"/>
                      <a:gd name="T75" fmla="*/ 1269 h 31"/>
                      <a:gd name="T76" fmla="*/ 13538 w 117"/>
                      <a:gd name="T77" fmla="*/ 1351 h 31"/>
                      <a:gd name="T78" fmla="*/ 13243 w 117"/>
                      <a:gd name="T79" fmla="*/ 1269 h 31"/>
                      <a:gd name="T80" fmla="*/ 12326 w 117"/>
                      <a:gd name="T81" fmla="*/ 1269 h 31"/>
                      <a:gd name="T82" fmla="*/ 11673 w 117"/>
                      <a:gd name="T83" fmla="*/ 1120 h 31"/>
                      <a:gd name="T84" fmla="*/ 10977 w 117"/>
                      <a:gd name="T85" fmla="*/ 1120 h 31"/>
                      <a:gd name="T86" fmla="*/ 10193 w 117"/>
                      <a:gd name="T87" fmla="*/ 872 h 31"/>
                      <a:gd name="T88" fmla="*/ 9719 w 117"/>
                      <a:gd name="T89" fmla="*/ 819 h 31"/>
                      <a:gd name="T90" fmla="*/ 9170 w 117"/>
                      <a:gd name="T91" fmla="*/ 678 h 31"/>
                      <a:gd name="T92" fmla="*/ 8515 w 117"/>
                      <a:gd name="T93" fmla="*/ 637 h 31"/>
                      <a:gd name="T94" fmla="*/ 8490 w 117"/>
                      <a:gd name="T95" fmla="*/ 678 h 31"/>
                      <a:gd name="T96" fmla="*/ 7907 w 117"/>
                      <a:gd name="T97" fmla="*/ 872 h 31"/>
                      <a:gd name="T98" fmla="*/ 7225 w 117"/>
                      <a:gd name="T99" fmla="*/ 988 h 31"/>
                      <a:gd name="T100" fmla="*/ 5879 w 117"/>
                      <a:gd name="T101" fmla="*/ 1052 h 31"/>
                      <a:gd name="T102" fmla="*/ 5785 w 117"/>
                      <a:gd name="T103" fmla="*/ 988 h 31"/>
                      <a:gd name="T104" fmla="*/ 5372 w 117"/>
                      <a:gd name="T105" fmla="*/ 1052 h 31"/>
                      <a:gd name="T106" fmla="*/ 5064 w 117"/>
                      <a:gd name="T107" fmla="*/ 1351 h 31"/>
                      <a:gd name="T108" fmla="*/ 5064 w 117"/>
                      <a:gd name="T109" fmla="*/ 1531 h 31"/>
                      <a:gd name="T110" fmla="*/ 4059 w 117"/>
                      <a:gd name="T111" fmla="*/ 1531 h 31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117"/>
                      <a:gd name="T169" fmla="*/ 0 h 31"/>
                      <a:gd name="T170" fmla="*/ 117 w 117"/>
                      <a:gd name="T171" fmla="*/ 31 h 31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117" h="31">
                        <a:moveTo>
                          <a:pt x="31" y="24"/>
                        </a:moveTo>
                        <a:lnTo>
                          <a:pt x="5" y="26"/>
                        </a:lnTo>
                        <a:lnTo>
                          <a:pt x="1" y="31"/>
                        </a:lnTo>
                        <a:lnTo>
                          <a:pt x="0" y="31"/>
                        </a:lnTo>
                        <a:lnTo>
                          <a:pt x="0" y="29"/>
                        </a:lnTo>
                        <a:lnTo>
                          <a:pt x="0" y="22"/>
                        </a:lnTo>
                        <a:lnTo>
                          <a:pt x="0" y="18"/>
                        </a:lnTo>
                        <a:lnTo>
                          <a:pt x="1" y="17"/>
                        </a:lnTo>
                        <a:lnTo>
                          <a:pt x="4" y="14"/>
                        </a:lnTo>
                        <a:lnTo>
                          <a:pt x="5" y="14"/>
                        </a:lnTo>
                        <a:lnTo>
                          <a:pt x="8" y="14"/>
                        </a:lnTo>
                        <a:lnTo>
                          <a:pt x="8" y="11"/>
                        </a:lnTo>
                        <a:lnTo>
                          <a:pt x="8" y="9"/>
                        </a:lnTo>
                        <a:lnTo>
                          <a:pt x="10" y="9"/>
                        </a:lnTo>
                        <a:lnTo>
                          <a:pt x="48" y="9"/>
                        </a:lnTo>
                        <a:lnTo>
                          <a:pt x="52" y="5"/>
                        </a:lnTo>
                        <a:lnTo>
                          <a:pt x="56" y="1"/>
                        </a:lnTo>
                        <a:lnTo>
                          <a:pt x="59" y="1"/>
                        </a:lnTo>
                        <a:lnTo>
                          <a:pt x="63" y="0"/>
                        </a:lnTo>
                        <a:lnTo>
                          <a:pt x="67" y="0"/>
                        </a:lnTo>
                        <a:lnTo>
                          <a:pt x="70" y="1"/>
                        </a:lnTo>
                        <a:lnTo>
                          <a:pt x="73" y="1"/>
                        </a:lnTo>
                        <a:lnTo>
                          <a:pt x="77" y="7"/>
                        </a:lnTo>
                        <a:lnTo>
                          <a:pt x="86" y="7"/>
                        </a:lnTo>
                        <a:lnTo>
                          <a:pt x="88" y="7"/>
                        </a:lnTo>
                        <a:lnTo>
                          <a:pt x="90" y="11"/>
                        </a:lnTo>
                        <a:lnTo>
                          <a:pt x="93" y="14"/>
                        </a:lnTo>
                        <a:lnTo>
                          <a:pt x="98" y="14"/>
                        </a:lnTo>
                        <a:lnTo>
                          <a:pt x="106" y="10"/>
                        </a:lnTo>
                        <a:lnTo>
                          <a:pt x="108" y="9"/>
                        </a:lnTo>
                        <a:lnTo>
                          <a:pt x="110" y="9"/>
                        </a:lnTo>
                        <a:lnTo>
                          <a:pt x="113" y="10"/>
                        </a:lnTo>
                        <a:lnTo>
                          <a:pt x="115" y="10"/>
                        </a:lnTo>
                        <a:lnTo>
                          <a:pt x="117" y="10"/>
                        </a:lnTo>
                        <a:lnTo>
                          <a:pt x="117" y="14"/>
                        </a:lnTo>
                        <a:lnTo>
                          <a:pt x="117" y="16"/>
                        </a:lnTo>
                        <a:lnTo>
                          <a:pt x="113" y="19"/>
                        </a:lnTo>
                        <a:lnTo>
                          <a:pt x="106" y="21"/>
                        </a:lnTo>
                        <a:lnTo>
                          <a:pt x="102" y="22"/>
                        </a:lnTo>
                        <a:lnTo>
                          <a:pt x="99" y="21"/>
                        </a:lnTo>
                        <a:lnTo>
                          <a:pt x="93" y="21"/>
                        </a:lnTo>
                        <a:lnTo>
                          <a:pt x="88" y="19"/>
                        </a:lnTo>
                        <a:lnTo>
                          <a:pt x="83" y="19"/>
                        </a:lnTo>
                        <a:lnTo>
                          <a:pt x="77" y="15"/>
                        </a:lnTo>
                        <a:lnTo>
                          <a:pt x="72" y="14"/>
                        </a:lnTo>
                        <a:lnTo>
                          <a:pt x="70" y="11"/>
                        </a:lnTo>
                        <a:lnTo>
                          <a:pt x="65" y="10"/>
                        </a:lnTo>
                        <a:lnTo>
                          <a:pt x="63" y="11"/>
                        </a:lnTo>
                        <a:lnTo>
                          <a:pt x="60" y="15"/>
                        </a:lnTo>
                        <a:lnTo>
                          <a:pt x="54" y="17"/>
                        </a:lnTo>
                        <a:lnTo>
                          <a:pt x="45" y="18"/>
                        </a:lnTo>
                        <a:lnTo>
                          <a:pt x="43" y="17"/>
                        </a:lnTo>
                        <a:lnTo>
                          <a:pt x="40" y="18"/>
                        </a:lnTo>
                        <a:lnTo>
                          <a:pt x="38" y="22"/>
                        </a:lnTo>
                        <a:lnTo>
                          <a:pt x="38" y="24"/>
                        </a:lnTo>
                        <a:lnTo>
                          <a:pt x="31" y="2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5" name="Freeform 43"/>
                  <p:cNvSpPr>
                    <a:spLocks/>
                  </p:cNvSpPr>
                  <p:nvPr/>
                </p:nvSpPr>
                <p:spPr bwMode="auto">
                  <a:xfrm>
                    <a:off x="581" y="1961"/>
                    <a:ext cx="126" cy="33"/>
                  </a:xfrm>
                  <a:custGeom>
                    <a:avLst/>
                    <a:gdLst>
                      <a:gd name="T0" fmla="*/ 4059 w 117"/>
                      <a:gd name="T1" fmla="*/ 1531 h 31"/>
                      <a:gd name="T2" fmla="*/ 5 w 117"/>
                      <a:gd name="T3" fmla="*/ 1630 h 31"/>
                      <a:gd name="T4" fmla="*/ 1 w 117"/>
                      <a:gd name="T5" fmla="*/ 1883 h 31"/>
                      <a:gd name="T6" fmla="*/ 0 w 117"/>
                      <a:gd name="T7" fmla="*/ 1883 h 31"/>
                      <a:gd name="T8" fmla="*/ 0 w 117"/>
                      <a:gd name="T9" fmla="*/ 1769 h 31"/>
                      <a:gd name="T10" fmla="*/ 0 w 117"/>
                      <a:gd name="T11" fmla="*/ 1351 h 31"/>
                      <a:gd name="T12" fmla="*/ 0 w 117"/>
                      <a:gd name="T13" fmla="*/ 1052 h 31"/>
                      <a:gd name="T14" fmla="*/ 1 w 117"/>
                      <a:gd name="T15" fmla="*/ 988 h 31"/>
                      <a:gd name="T16" fmla="*/ 4 w 117"/>
                      <a:gd name="T17" fmla="*/ 819 h 31"/>
                      <a:gd name="T18" fmla="*/ 5 w 117"/>
                      <a:gd name="T19" fmla="*/ 819 h 31"/>
                      <a:gd name="T20" fmla="*/ 1134 w 117"/>
                      <a:gd name="T21" fmla="*/ 819 h 31"/>
                      <a:gd name="T22" fmla="*/ 1134 w 117"/>
                      <a:gd name="T23" fmla="*/ 678 h 31"/>
                      <a:gd name="T24" fmla="*/ 1134 w 117"/>
                      <a:gd name="T25" fmla="*/ 598 h 31"/>
                      <a:gd name="T26" fmla="*/ 1315 w 117"/>
                      <a:gd name="T27" fmla="*/ 598 h 31"/>
                      <a:gd name="T28" fmla="*/ 6331 w 117"/>
                      <a:gd name="T29" fmla="*/ 598 h 31"/>
                      <a:gd name="T30" fmla="*/ 6818 w 117"/>
                      <a:gd name="T31" fmla="*/ 5 h 31"/>
                      <a:gd name="T32" fmla="*/ 7342 w 117"/>
                      <a:gd name="T33" fmla="*/ 1 h 31"/>
                      <a:gd name="T34" fmla="*/ 7901 w 117"/>
                      <a:gd name="T35" fmla="*/ 1 h 31"/>
                      <a:gd name="T36" fmla="*/ 8490 w 117"/>
                      <a:gd name="T37" fmla="*/ 0 h 31"/>
                      <a:gd name="T38" fmla="*/ 9025 w 117"/>
                      <a:gd name="T39" fmla="*/ 0 h 31"/>
                      <a:gd name="T40" fmla="*/ 9170 w 117"/>
                      <a:gd name="T41" fmla="*/ 1 h 31"/>
                      <a:gd name="T42" fmla="*/ 9846 w 117"/>
                      <a:gd name="T43" fmla="*/ 1 h 31"/>
                      <a:gd name="T44" fmla="*/ 10193 w 117"/>
                      <a:gd name="T45" fmla="*/ 7 h 31"/>
                      <a:gd name="T46" fmla="*/ 11446 w 117"/>
                      <a:gd name="T47" fmla="*/ 7 h 31"/>
                      <a:gd name="T48" fmla="*/ 11673 w 117"/>
                      <a:gd name="T49" fmla="*/ 7 h 31"/>
                      <a:gd name="T50" fmla="*/ 12139 w 117"/>
                      <a:gd name="T51" fmla="*/ 678 h 31"/>
                      <a:gd name="T52" fmla="*/ 12326 w 117"/>
                      <a:gd name="T53" fmla="*/ 819 h 31"/>
                      <a:gd name="T54" fmla="*/ 13091 w 117"/>
                      <a:gd name="T55" fmla="*/ 819 h 31"/>
                      <a:gd name="T56" fmla="*/ 14098 w 117"/>
                      <a:gd name="T57" fmla="*/ 637 h 31"/>
                      <a:gd name="T58" fmla="*/ 14295 w 117"/>
                      <a:gd name="T59" fmla="*/ 598 h 31"/>
                      <a:gd name="T60" fmla="*/ 14579 w 117"/>
                      <a:gd name="T61" fmla="*/ 598 h 31"/>
                      <a:gd name="T62" fmla="*/ 15180 w 117"/>
                      <a:gd name="T63" fmla="*/ 637 h 31"/>
                      <a:gd name="T64" fmla="*/ 15359 w 117"/>
                      <a:gd name="T65" fmla="*/ 637 h 31"/>
                      <a:gd name="T66" fmla="*/ 15405 w 117"/>
                      <a:gd name="T67" fmla="*/ 637 h 31"/>
                      <a:gd name="T68" fmla="*/ 15405 w 117"/>
                      <a:gd name="T69" fmla="*/ 819 h 31"/>
                      <a:gd name="T70" fmla="*/ 15405 w 117"/>
                      <a:gd name="T71" fmla="*/ 928 h 31"/>
                      <a:gd name="T72" fmla="*/ 15180 w 117"/>
                      <a:gd name="T73" fmla="*/ 1120 h 31"/>
                      <a:gd name="T74" fmla="*/ 14098 w 117"/>
                      <a:gd name="T75" fmla="*/ 1269 h 31"/>
                      <a:gd name="T76" fmla="*/ 13538 w 117"/>
                      <a:gd name="T77" fmla="*/ 1351 h 31"/>
                      <a:gd name="T78" fmla="*/ 13243 w 117"/>
                      <a:gd name="T79" fmla="*/ 1269 h 31"/>
                      <a:gd name="T80" fmla="*/ 12326 w 117"/>
                      <a:gd name="T81" fmla="*/ 1269 h 31"/>
                      <a:gd name="T82" fmla="*/ 11673 w 117"/>
                      <a:gd name="T83" fmla="*/ 1120 h 31"/>
                      <a:gd name="T84" fmla="*/ 10977 w 117"/>
                      <a:gd name="T85" fmla="*/ 1120 h 31"/>
                      <a:gd name="T86" fmla="*/ 10193 w 117"/>
                      <a:gd name="T87" fmla="*/ 872 h 31"/>
                      <a:gd name="T88" fmla="*/ 9719 w 117"/>
                      <a:gd name="T89" fmla="*/ 819 h 31"/>
                      <a:gd name="T90" fmla="*/ 9170 w 117"/>
                      <a:gd name="T91" fmla="*/ 678 h 31"/>
                      <a:gd name="T92" fmla="*/ 8515 w 117"/>
                      <a:gd name="T93" fmla="*/ 637 h 31"/>
                      <a:gd name="T94" fmla="*/ 8490 w 117"/>
                      <a:gd name="T95" fmla="*/ 678 h 31"/>
                      <a:gd name="T96" fmla="*/ 7907 w 117"/>
                      <a:gd name="T97" fmla="*/ 872 h 31"/>
                      <a:gd name="T98" fmla="*/ 7225 w 117"/>
                      <a:gd name="T99" fmla="*/ 988 h 31"/>
                      <a:gd name="T100" fmla="*/ 5879 w 117"/>
                      <a:gd name="T101" fmla="*/ 1052 h 31"/>
                      <a:gd name="T102" fmla="*/ 5785 w 117"/>
                      <a:gd name="T103" fmla="*/ 988 h 31"/>
                      <a:gd name="T104" fmla="*/ 5372 w 117"/>
                      <a:gd name="T105" fmla="*/ 1052 h 31"/>
                      <a:gd name="T106" fmla="*/ 5064 w 117"/>
                      <a:gd name="T107" fmla="*/ 1351 h 31"/>
                      <a:gd name="T108" fmla="*/ 5064 w 117"/>
                      <a:gd name="T109" fmla="*/ 1531 h 31"/>
                      <a:gd name="T110" fmla="*/ 4059 w 117"/>
                      <a:gd name="T111" fmla="*/ 1531 h 31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117"/>
                      <a:gd name="T169" fmla="*/ 0 h 31"/>
                      <a:gd name="T170" fmla="*/ 117 w 117"/>
                      <a:gd name="T171" fmla="*/ 31 h 31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117" h="31">
                        <a:moveTo>
                          <a:pt x="31" y="24"/>
                        </a:moveTo>
                        <a:lnTo>
                          <a:pt x="5" y="26"/>
                        </a:lnTo>
                        <a:lnTo>
                          <a:pt x="1" y="31"/>
                        </a:lnTo>
                        <a:lnTo>
                          <a:pt x="0" y="31"/>
                        </a:lnTo>
                        <a:lnTo>
                          <a:pt x="0" y="29"/>
                        </a:lnTo>
                        <a:lnTo>
                          <a:pt x="0" y="22"/>
                        </a:lnTo>
                        <a:lnTo>
                          <a:pt x="0" y="18"/>
                        </a:lnTo>
                        <a:lnTo>
                          <a:pt x="1" y="17"/>
                        </a:lnTo>
                        <a:lnTo>
                          <a:pt x="4" y="14"/>
                        </a:lnTo>
                        <a:lnTo>
                          <a:pt x="5" y="14"/>
                        </a:lnTo>
                        <a:lnTo>
                          <a:pt x="8" y="14"/>
                        </a:lnTo>
                        <a:lnTo>
                          <a:pt x="8" y="11"/>
                        </a:lnTo>
                        <a:lnTo>
                          <a:pt x="8" y="9"/>
                        </a:lnTo>
                        <a:lnTo>
                          <a:pt x="10" y="9"/>
                        </a:lnTo>
                        <a:lnTo>
                          <a:pt x="48" y="9"/>
                        </a:lnTo>
                        <a:lnTo>
                          <a:pt x="52" y="5"/>
                        </a:lnTo>
                        <a:lnTo>
                          <a:pt x="56" y="1"/>
                        </a:lnTo>
                        <a:lnTo>
                          <a:pt x="59" y="1"/>
                        </a:lnTo>
                        <a:lnTo>
                          <a:pt x="63" y="0"/>
                        </a:lnTo>
                        <a:lnTo>
                          <a:pt x="67" y="0"/>
                        </a:lnTo>
                        <a:lnTo>
                          <a:pt x="70" y="1"/>
                        </a:lnTo>
                        <a:lnTo>
                          <a:pt x="73" y="1"/>
                        </a:lnTo>
                        <a:lnTo>
                          <a:pt x="77" y="7"/>
                        </a:lnTo>
                        <a:lnTo>
                          <a:pt x="86" y="7"/>
                        </a:lnTo>
                        <a:lnTo>
                          <a:pt x="88" y="7"/>
                        </a:lnTo>
                        <a:lnTo>
                          <a:pt x="90" y="11"/>
                        </a:lnTo>
                        <a:lnTo>
                          <a:pt x="93" y="14"/>
                        </a:lnTo>
                        <a:lnTo>
                          <a:pt x="98" y="14"/>
                        </a:lnTo>
                        <a:lnTo>
                          <a:pt x="106" y="10"/>
                        </a:lnTo>
                        <a:lnTo>
                          <a:pt x="108" y="9"/>
                        </a:lnTo>
                        <a:lnTo>
                          <a:pt x="110" y="9"/>
                        </a:lnTo>
                        <a:lnTo>
                          <a:pt x="113" y="10"/>
                        </a:lnTo>
                        <a:lnTo>
                          <a:pt x="115" y="10"/>
                        </a:lnTo>
                        <a:lnTo>
                          <a:pt x="117" y="10"/>
                        </a:lnTo>
                        <a:lnTo>
                          <a:pt x="117" y="14"/>
                        </a:lnTo>
                        <a:lnTo>
                          <a:pt x="117" y="16"/>
                        </a:lnTo>
                        <a:lnTo>
                          <a:pt x="113" y="19"/>
                        </a:lnTo>
                        <a:lnTo>
                          <a:pt x="106" y="21"/>
                        </a:lnTo>
                        <a:lnTo>
                          <a:pt x="102" y="22"/>
                        </a:lnTo>
                        <a:lnTo>
                          <a:pt x="99" y="21"/>
                        </a:lnTo>
                        <a:lnTo>
                          <a:pt x="93" y="21"/>
                        </a:lnTo>
                        <a:lnTo>
                          <a:pt x="88" y="19"/>
                        </a:lnTo>
                        <a:lnTo>
                          <a:pt x="83" y="19"/>
                        </a:lnTo>
                        <a:lnTo>
                          <a:pt x="77" y="15"/>
                        </a:lnTo>
                        <a:lnTo>
                          <a:pt x="72" y="14"/>
                        </a:lnTo>
                        <a:lnTo>
                          <a:pt x="70" y="11"/>
                        </a:lnTo>
                        <a:lnTo>
                          <a:pt x="65" y="10"/>
                        </a:lnTo>
                        <a:lnTo>
                          <a:pt x="63" y="11"/>
                        </a:lnTo>
                        <a:lnTo>
                          <a:pt x="60" y="15"/>
                        </a:lnTo>
                        <a:lnTo>
                          <a:pt x="54" y="17"/>
                        </a:lnTo>
                        <a:lnTo>
                          <a:pt x="45" y="18"/>
                        </a:lnTo>
                        <a:lnTo>
                          <a:pt x="43" y="17"/>
                        </a:lnTo>
                        <a:lnTo>
                          <a:pt x="40" y="18"/>
                        </a:lnTo>
                        <a:lnTo>
                          <a:pt x="38" y="22"/>
                        </a:lnTo>
                        <a:lnTo>
                          <a:pt x="38" y="24"/>
                        </a:lnTo>
                        <a:lnTo>
                          <a:pt x="31" y="2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6" name="Freeform 44"/>
                  <p:cNvSpPr>
                    <a:spLocks/>
                  </p:cNvSpPr>
                  <p:nvPr/>
                </p:nvSpPr>
                <p:spPr bwMode="auto">
                  <a:xfrm>
                    <a:off x="581" y="2006"/>
                    <a:ext cx="132" cy="72"/>
                  </a:xfrm>
                  <a:custGeom>
                    <a:avLst/>
                    <a:gdLst>
                      <a:gd name="T0" fmla="*/ 7884 w 123"/>
                      <a:gd name="T1" fmla="*/ 2739 h 68"/>
                      <a:gd name="T2" fmla="*/ 7412 w 123"/>
                      <a:gd name="T3" fmla="*/ 2843 h 68"/>
                      <a:gd name="T4" fmla="*/ 6907 w 123"/>
                      <a:gd name="T5" fmla="*/ 2933 h 68"/>
                      <a:gd name="T6" fmla="*/ 6907 w 123"/>
                      <a:gd name="T7" fmla="*/ 2770 h 68"/>
                      <a:gd name="T8" fmla="*/ 7120 w 123"/>
                      <a:gd name="T9" fmla="*/ 2739 h 68"/>
                      <a:gd name="T10" fmla="*/ 6436 w 123"/>
                      <a:gd name="T11" fmla="*/ 2739 h 68"/>
                      <a:gd name="T12" fmla="*/ 5943 w 123"/>
                      <a:gd name="T13" fmla="*/ 2739 h 68"/>
                      <a:gd name="T14" fmla="*/ 5761 w 123"/>
                      <a:gd name="T15" fmla="*/ 2536 h 68"/>
                      <a:gd name="T16" fmla="*/ 5588 w 123"/>
                      <a:gd name="T17" fmla="*/ 2334 h 68"/>
                      <a:gd name="T18" fmla="*/ 5821 w 123"/>
                      <a:gd name="T19" fmla="*/ 2017 h 68"/>
                      <a:gd name="T20" fmla="*/ 5424 w 123"/>
                      <a:gd name="T21" fmla="*/ 1697 h 68"/>
                      <a:gd name="T22" fmla="*/ 5943 w 123"/>
                      <a:gd name="T23" fmla="*/ 1514 h 68"/>
                      <a:gd name="T24" fmla="*/ 6247 w 123"/>
                      <a:gd name="T25" fmla="*/ 1514 h 68"/>
                      <a:gd name="T26" fmla="*/ 7884 w 123"/>
                      <a:gd name="T27" fmla="*/ 1432 h 68"/>
                      <a:gd name="T28" fmla="*/ 7884 w 123"/>
                      <a:gd name="T29" fmla="*/ 1277 h 68"/>
                      <a:gd name="T30" fmla="*/ 5943 w 123"/>
                      <a:gd name="T31" fmla="*/ 1352 h 68"/>
                      <a:gd name="T32" fmla="*/ 5538 w 123"/>
                      <a:gd name="T33" fmla="*/ 1432 h 68"/>
                      <a:gd name="T34" fmla="*/ 4343 w 123"/>
                      <a:gd name="T35" fmla="*/ 1697 h 68"/>
                      <a:gd name="T36" fmla="*/ 3890 w 123"/>
                      <a:gd name="T37" fmla="*/ 1697 h 68"/>
                      <a:gd name="T38" fmla="*/ 3514 w 123"/>
                      <a:gd name="T39" fmla="*/ 1697 h 68"/>
                      <a:gd name="T40" fmla="*/ 3514 w 123"/>
                      <a:gd name="T41" fmla="*/ 1352 h 68"/>
                      <a:gd name="T42" fmla="*/ 3051 w 123"/>
                      <a:gd name="T43" fmla="*/ 1432 h 68"/>
                      <a:gd name="T44" fmla="*/ 2373 w 123"/>
                      <a:gd name="T45" fmla="*/ 1352 h 68"/>
                      <a:gd name="T46" fmla="*/ 2143 w 123"/>
                      <a:gd name="T47" fmla="*/ 1276 h 68"/>
                      <a:gd name="T48" fmla="*/ 1997 w 123"/>
                      <a:gd name="T49" fmla="*/ 907 h 68"/>
                      <a:gd name="T50" fmla="*/ 4 w 123"/>
                      <a:gd name="T51" fmla="*/ 764 h 68"/>
                      <a:gd name="T52" fmla="*/ 0 w 123"/>
                      <a:gd name="T53" fmla="*/ 574 h 68"/>
                      <a:gd name="T54" fmla="*/ 1 w 123"/>
                      <a:gd name="T55" fmla="*/ 484 h 68"/>
                      <a:gd name="T56" fmla="*/ 3 w 123"/>
                      <a:gd name="T57" fmla="*/ 512 h 68"/>
                      <a:gd name="T58" fmla="*/ 6 w 123"/>
                      <a:gd name="T59" fmla="*/ 574 h 68"/>
                      <a:gd name="T60" fmla="*/ 1135 w 123"/>
                      <a:gd name="T61" fmla="*/ 574 h 68"/>
                      <a:gd name="T62" fmla="*/ 1997 w 123"/>
                      <a:gd name="T63" fmla="*/ 457 h 68"/>
                      <a:gd name="T64" fmla="*/ 2300 w 123"/>
                      <a:gd name="T65" fmla="*/ 432 h 68"/>
                      <a:gd name="T66" fmla="*/ 4343 w 123"/>
                      <a:gd name="T67" fmla="*/ 432 h 68"/>
                      <a:gd name="T68" fmla="*/ 5160 w 123"/>
                      <a:gd name="T69" fmla="*/ 8 h 68"/>
                      <a:gd name="T70" fmla="*/ 5943 w 123"/>
                      <a:gd name="T71" fmla="*/ 4 h 68"/>
                      <a:gd name="T72" fmla="*/ 6845 w 123"/>
                      <a:gd name="T73" fmla="*/ 0 h 68"/>
                      <a:gd name="T74" fmla="*/ 8557 w 123"/>
                      <a:gd name="T75" fmla="*/ 0 h 68"/>
                      <a:gd name="T76" fmla="*/ 8892 w 123"/>
                      <a:gd name="T77" fmla="*/ 0 h 68"/>
                      <a:gd name="T78" fmla="*/ 12527 w 123"/>
                      <a:gd name="T79" fmla="*/ 0 h 68"/>
                      <a:gd name="T80" fmla="*/ 12527 w 123"/>
                      <a:gd name="T81" fmla="*/ 4 h 68"/>
                      <a:gd name="T82" fmla="*/ 13067 w 123"/>
                      <a:gd name="T83" fmla="*/ 432 h 68"/>
                      <a:gd name="T84" fmla="*/ 13067 w 123"/>
                      <a:gd name="T85" fmla="*/ 512 h 68"/>
                      <a:gd name="T86" fmla="*/ 12657 w 123"/>
                      <a:gd name="T87" fmla="*/ 608 h 68"/>
                      <a:gd name="T88" fmla="*/ 12464 w 123"/>
                      <a:gd name="T89" fmla="*/ 682 h 68"/>
                      <a:gd name="T90" fmla="*/ 12176 w 123"/>
                      <a:gd name="T91" fmla="*/ 682 h 68"/>
                      <a:gd name="T92" fmla="*/ 12043 w 123"/>
                      <a:gd name="T93" fmla="*/ 722 h 68"/>
                      <a:gd name="T94" fmla="*/ 11794 w 123"/>
                      <a:gd name="T95" fmla="*/ 809 h 68"/>
                      <a:gd name="T96" fmla="*/ 12180 w 123"/>
                      <a:gd name="T97" fmla="*/ 907 h 68"/>
                      <a:gd name="T98" fmla="*/ 12464 w 123"/>
                      <a:gd name="T99" fmla="*/ 1076 h 68"/>
                      <a:gd name="T100" fmla="*/ 12527 w 123"/>
                      <a:gd name="T101" fmla="*/ 1697 h 68"/>
                      <a:gd name="T102" fmla="*/ 12043 w 123"/>
                      <a:gd name="T103" fmla="*/ 1697 h 68"/>
                      <a:gd name="T104" fmla="*/ 11794 w 123"/>
                      <a:gd name="T105" fmla="*/ 1699 h 68"/>
                      <a:gd name="T106" fmla="*/ 10241 w 123"/>
                      <a:gd name="T107" fmla="*/ 1699 h 68"/>
                      <a:gd name="T108" fmla="*/ 9161 w 123"/>
                      <a:gd name="T109" fmla="*/ 2015 h 68"/>
                      <a:gd name="T110" fmla="*/ 8553 w 123"/>
                      <a:gd name="T111" fmla="*/ 2136 h 68"/>
                      <a:gd name="T112" fmla="*/ 8286 w 123"/>
                      <a:gd name="T113" fmla="*/ 2334 h 68"/>
                      <a:gd name="T114" fmla="*/ 7954 w 123"/>
                      <a:gd name="T115" fmla="*/ 2683 h 68"/>
                      <a:gd name="T116" fmla="*/ 7884 w 123"/>
                      <a:gd name="T117" fmla="*/ 2739 h 68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23"/>
                      <a:gd name="T178" fmla="*/ 0 h 68"/>
                      <a:gd name="T179" fmla="*/ 123 w 123"/>
                      <a:gd name="T180" fmla="*/ 68 h 68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23" h="68">
                        <a:moveTo>
                          <a:pt x="74" y="63"/>
                        </a:moveTo>
                        <a:lnTo>
                          <a:pt x="70" y="66"/>
                        </a:lnTo>
                        <a:lnTo>
                          <a:pt x="65" y="68"/>
                        </a:lnTo>
                        <a:lnTo>
                          <a:pt x="65" y="64"/>
                        </a:lnTo>
                        <a:lnTo>
                          <a:pt x="67" y="63"/>
                        </a:lnTo>
                        <a:lnTo>
                          <a:pt x="61" y="63"/>
                        </a:lnTo>
                        <a:lnTo>
                          <a:pt x="56" y="63"/>
                        </a:lnTo>
                        <a:lnTo>
                          <a:pt x="54" y="59"/>
                        </a:lnTo>
                        <a:lnTo>
                          <a:pt x="53" y="54"/>
                        </a:lnTo>
                        <a:lnTo>
                          <a:pt x="55" y="47"/>
                        </a:lnTo>
                        <a:lnTo>
                          <a:pt x="51" y="39"/>
                        </a:lnTo>
                        <a:lnTo>
                          <a:pt x="56" y="35"/>
                        </a:lnTo>
                        <a:lnTo>
                          <a:pt x="59" y="35"/>
                        </a:lnTo>
                        <a:lnTo>
                          <a:pt x="74" y="34"/>
                        </a:lnTo>
                        <a:lnTo>
                          <a:pt x="74" y="30"/>
                        </a:lnTo>
                        <a:lnTo>
                          <a:pt x="56" y="32"/>
                        </a:lnTo>
                        <a:lnTo>
                          <a:pt x="52" y="34"/>
                        </a:lnTo>
                        <a:lnTo>
                          <a:pt x="41" y="39"/>
                        </a:lnTo>
                        <a:lnTo>
                          <a:pt x="36" y="39"/>
                        </a:lnTo>
                        <a:lnTo>
                          <a:pt x="33" y="39"/>
                        </a:lnTo>
                        <a:lnTo>
                          <a:pt x="33" y="32"/>
                        </a:lnTo>
                        <a:lnTo>
                          <a:pt x="29" y="34"/>
                        </a:lnTo>
                        <a:lnTo>
                          <a:pt x="22" y="32"/>
                        </a:lnTo>
                        <a:lnTo>
                          <a:pt x="20" y="29"/>
                        </a:lnTo>
                        <a:lnTo>
                          <a:pt x="19" y="22"/>
                        </a:lnTo>
                        <a:lnTo>
                          <a:pt x="4" y="19"/>
                        </a:lnTo>
                        <a:lnTo>
                          <a:pt x="0" y="14"/>
                        </a:lnTo>
                        <a:lnTo>
                          <a:pt x="1" y="11"/>
                        </a:lnTo>
                        <a:lnTo>
                          <a:pt x="3" y="12"/>
                        </a:lnTo>
                        <a:lnTo>
                          <a:pt x="6" y="14"/>
                        </a:lnTo>
                        <a:lnTo>
                          <a:pt x="11" y="14"/>
                        </a:lnTo>
                        <a:lnTo>
                          <a:pt x="19" y="10"/>
                        </a:lnTo>
                        <a:lnTo>
                          <a:pt x="21" y="9"/>
                        </a:lnTo>
                        <a:lnTo>
                          <a:pt x="41" y="9"/>
                        </a:lnTo>
                        <a:lnTo>
                          <a:pt x="48" y="8"/>
                        </a:lnTo>
                        <a:lnTo>
                          <a:pt x="56" y="4"/>
                        </a:lnTo>
                        <a:lnTo>
                          <a:pt x="64" y="0"/>
                        </a:lnTo>
                        <a:lnTo>
                          <a:pt x="82" y="0"/>
                        </a:lnTo>
                        <a:lnTo>
                          <a:pt x="84" y="0"/>
                        </a:lnTo>
                        <a:lnTo>
                          <a:pt x="119" y="0"/>
                        </a:lnTo>
                        <a:lnTo>
                          <a:pt x="119" y="4"/>
                        </a:lnTo>
                        <a:lnTo>
                          <a:pt x="123" y="9"/>
                        </a:lnTo>
                        <a:lnTo>
                          <a:pt x="123" y="12"/>
                        </a:lnTo>
                        <a:lnTo>
                          <a:pt x="120" y="15"/>
                        </a:lnTo>
                        <a:lnTo>
                          <a:pt x="118" y="17"/>
                        </a:lnTo>
                        <a:lnTo>
                          <a:pt x="115" y="17"/>
                        </a:lnTo>
                        <a:lnTo>
                          <a:pt x="113" y="18"/>
                        </a:lnTo>
                        <a:lnTo>
                          <a:pt x="112" y="20"/>
                        </a:lnTo>
                        <a:lnTo>
                          <a:pt x="116" y="22"/>
                        </a:lnTo>
                        <a:lnTo>
                          <a:pt x="118" y="25"/>
                        </a:lnTo>
                        <a:lnTo>
                          <a:pt x="119" y="39"/>
                        </a:lnTo>
                        <a:lnTo>
                          <a:pt x="113" y="39"/>
                        </a:lnTo>
                        <a:lnTo>
                          <a:pt x="112" y="40"/>
                        </a:lnTo>
                        <a:lnTo>
                          <a:pt x="97" y="40"/>
                        </a:lnTo>
                        <a:lnTo>
                          <a:pt x="86" y="46"/>
                        </a:lnTo>
                        <a:lnTo>
                          <a:pt x="81" y="50"/>
                        </a:lnTo>
                        <a:lnTo>
                          <a:pt x="78" y="54"/>
                        </a:lnTo>
                        <a:lnTo>
                          <a:pt x="75" y="61"/>
                        </a:lnTo>
                        <a:lnTo>
                          <a:pt x="74" y="6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7" name="Freeform 45"/>
                  <p:cNvSpPr>
                    <a:spLocks/>
                  </p:cNvSpPr>
                  <p:nvPr/>
                </p:nvSpPr>
                <p:spPr bwMode="auto">
                  <a:xfrm>
                    <a:off x="581" y="2006"/>
                    <a:ext cx="132" cy="72"/>
                  </a:xfrm>
                  <a:custGeom>
                    <a:avLst/>
                    <a:gdLst>
                      <a:gd name="T0" fmla="*/ 7884 w 123"/>
                      <a:gd name="T1" fmla="*/ 2739 h 68"/>
                      <a:gd name="T2" fmla="*/ 7412 w 123"/>
                      <a:gd name="T3" fmla="*/ 2843 h 68"/>
                      <a:gd name="T4" fmla="*/ 6907 w 123"/>
                      <a:gd name="T5" fmla="*/ 2933 h 68"/>
                      <a:gd name="T6" fmla="*/ 6907 w 123"/>
                      <a:gd name="T7" fmla="*/ 2770 h 68"/>
                      <a:gd name="T8" fmla="*/ 7120 w 123"/>
                      <a:gd name="T9" fmla="*/ 2739 h 68"/>
                      <a:gd name="T10" fmla="*/ 6436 w 123"/>
                      <a:gd name="T11" fmla="*/ 2739 h 68"/>
                      <a:gd name="T12" fmla="*/ 5943 w 123"/>
                      <a:gd name="T13" fmla="*/ 2739 h 68"/>
                      <a:gd name="T14" fmla="*/ 5761 w 123"/>
                      <a:gd name="T15" fmla="*/ 2536 h 68"/>
                      <a:gd name="T16" fmla="*/ 5588 w 123"/>
                      <a:gd name="T17" fmla="*/ 2334 h 68"/>
                      <a:gd name="T18" fmla="*/ 5821 w 123"/>
                      <a:gd name="T19" fmla="*/ 2017 h 68"/>
                      <a:gd name="T20" fmla="*/ 5424 w 123"/>
                      <a:gd name="T21" fmla="*/ 1697 h 68"/>
                      <a:gd name="T22" fmla="*/ 5943 w 123"/>
                      <a:gd name="T23" fmla="*/ 1514 h 68"/>
                      <a:gd name="T24" fmla="*/ 6247 w 123"/>
                      <a:gd name="T25" fmla="*/ 1514 h 68"/>
                      <a:gd name="T26" fmla="*/ 7884 w 123"/>
                      <a:gd name="T27" fmla="*/ 1432 h 68"/>
                      <a:gd name="T28" fmla="*/ 7884 w 123"/>
                      <a:gd name="T29" fmla="*/ 1277 h 68"/>
                      <a:gd name="T30" fmla="*/ 5943 w 123"/>
                      <a:gd name="T31" fmla="*/ 1352 h 68"/>
                      <a:gd name="T32" fmla="*/ 5538 w 123"/>
                      <a:gd name="T33" fmla="*/ 1432 h 68"/>
                      <a:gd name="T34" fmla="*/ 4343 w 123"/>
                      <a:gd name="T35" fmla="*/ 1697 h 68"/>
                      <a:gd name="T36" fmla="*/ 3890 w 123"/>
                      <a:gd name="T37" fmla="*/ 1697 h 68"/>
                      <a:gd name="T38" fmla="*/ 3514 w 123"/>
                      <a:gd name="T39" fmla="*/ 1697 h 68"/>
                      <a:gd name="T40" fmla="*/ 3514 w 123"/>
                      <a:gd name="T41" fmla="*/ 1352 h 68"/>
                      <a:gd name="T42" fmla="*/ 3051 w 123"/>
                      <a:gd name="T43" fmla="*/ 1432 h 68"/>
                      <a:gd name="T44" fmla="*/ 2373 w 123"/>
                      <a:gd name="T45" fmla="*/ 1352 h 68"/>
                      <a:gd name="T46" fmla="*/ 2143 w 123"/>
                      <a:gd name="T47" fmla="*/ 1276 h 68"/>
                      <a:gd name="T48" fmla="*/ 1997 w 123"/>
                      <a:gd name="T49" fmla="*/ 907 h 68"/>
                      <a:gd name="T50" fmla="*/ 4 w 123"/>
                      <a:gd name="T51" fmla="*/ 764 h 68"/>
                      <a:gd name="T52" fmla="*/ 0 w 123"/>
                      <a:gd name="T53" fmla="*/ 574 h 68"/>
                      <a:gd name="T54" fmla="*/ 1 w 123"/>
                      <a:gd name="T55" fmla="*/ 484 h 68"/>
                      <a:gd name="T56" fmla="*/ 3 w 123"/>
                      <a:gd name="T57" fmla="*/ 512 h 68"/>
                      <a:gd name="T58" fmla="*/ 6 w 123"/>
                      <a:gd name="T59" fmla="*/ 574 h 68"/>
                      <a:gd name="T60" fmla="*/ 1135 w 123"/>
                      <a:gd name="T61" fmla="*/ 574 h 68"/>
                      <a:gd name="T62" fmla="*/ 1997 w 123"/>
                      <a:gd name="T63" fmla="*/ 457 h 68"/>
                      <a:gd name="T64" fmla="*/ 2300 w 123"/>
                      <a:gd name="T65" fmla="*/ 432 h 68"/>
                      <a:gd name="T66" fmla="*/ 4343 w 123"/>
                      <a:gd name="T67" fmla="*/ 432 h 68"/>
                      <a:gd name="T68" fmla="*/ 5160 w 123"/>
                      <a:gd name="T69" fmla="*/ 8 h 68"/>
                      <a:gd name="T70" fmla="*/ 5943 w 123"/>
                      <a:gd name="T71" fmla="*/ 4 h 68"/>
                      <a:gd name="T72" fmla="*/ 6845 w 123"/>
                      <a:gd name="T73" fmla="*/ 0 h 68"/>
                      <a:gd name="T74" fmla="*/ 8557 w 123"/>
                      <a:gd name="T75" fmla="*/ 0 h 68"/>
                      <a:gd name="T76" fmla="*/ 8892 w 123"/>
                      <a:gd name="T77" fmla="*/ 0 h 68"/>
                      <a:gd name="T78" fmla="*/ 12527 w 123"/>
                      <a:gd name="T79" fmla="*/ 0 h 68"/>
                      <a:gd name="T80" fmla="*/ 12527 w 123"/>
                      <a:gd name="T81" fmla="*/ 4 h 68"/>
                      <a:gd name="T82" fmla="*/ 13067 w 123"/>
                      <a:gd name="T83" fmla="*/ 432 h 68"/>
                      <a:gd name="T84" fmla="*/ 13067 w 123"/>
                      <a:gd name="T85" fmla="*/ 512 h 68"/>
                      <a:gd name="T86" fmla="*/ 12657 w 123"/>
                      <a:gd name="T87" fmla="*/ 608 h 68"/>
                      <a:gd name="T88" fmla="*/ 12464 w 123"/>
                      <a:gd name="T89" fmla="*/ 682 h 68"/>
                      <a:gd name="T90" fmla="*/ 12176 w 123"/>
                      <a:gd name="T91" fmla="*/ 682 h 68"/>
                      <a:gd name="T92" fmla="*/ 12043 w 123"/>
                      <a:gd name="T93" fmla="*/ 722 h 68"/>
                      <a:gd name="T94" fmla="*/ 11794 w 123"/>
                      <a:gd name="T95" fmla="*/ 809 h 68"/>
                      <a:gd name="T96" fmla="*/ 12180 w 123"/>
                      <a:gd name="T97" fmla="*/ 907 h 68"/>
                      <a:gd name="T98" fmla="*/ 12464 w 123"/>
                      <a:gd name="T99" fmla="*/ 1076 h 68"/>
                      <a:gd name="T100" fmla="*/ 12527 w 123"/>
                      <a:gd name="T101" fmla="*/ 1697 h 68"/>
                      <a:gd name="T102" fmla="*/ 12043 w 123"/>
                      <a:gd name="T103" fmla="*/ 1697 h 68"/>
                      <a:gd name="T104" fmla="*/ 11794 w 123"/>
                      <a:gd name="T105" fmla="*/ 1699 h 68"/>
                      <a:gd name="T106" fmla="*/ 10241 w 123"/>
                      <a:gd name="T107" fmla="*/ 1699 h 68"/>
                      <a:gd name="T108" fmla="*/ 9161 w 123"/>
                      <a:gd name="T109" fmla="*/ 2015 h 68"/>
                      <a:gd name="T110" fmla="*/ 8553 w 123"/>
                      <a:gd name="T111" fmla="*/ 2136 h 68"/>
                      <a:gd name="T112" fmla="*/ 8286 w 123"/>
                      <a:gd name="T113" fmla="*/ 2334 h 68"/>
                      <a:gd name="T114" fmla="*/ 7954 w 123"/>
                      <a:gd name="T115" fmla="*/ 2683 h 68"/>
                      <a:gd name="T116" fmla="*/ 7884 w 123"/>
                      <a:gd name="T117" fmla="*/ 2739 h 68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23"/>
                      <a:gd name="T178" fmla="*/ 0 h 68"/>
                      <a:gd name="T179" fmla="*/ 123 w 123"/>
                      <a:gd name="T180" fmla="*/ 68 h 68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23" h="68">
                        <a:moveTo>
                          <a:pt x="74" y="63"/>
                        </a:moveTo>
                        <a:lnTo>
                          <a:pt x="70" y="66"/>
                        </a:lnTo>
                        <a:lnTo>
                          <a:pt x="65" y="68"/>
                        </a:lnTo>
                        <a:lnTo>
                          <a:pt x="65" y="64"/>
                        </a:lnTo>
                        <a:lnTo>
                          <a:pt x="67" y="63"/>
                        </a:lnTo>
                        <a:lnTo>
                          <a:pt x="61" y="63"/>
                        </a:lnTo>
                        <a:lnTo>
                          <a:pt x="56" y="63"/>
                        </a:lnTo>
                        <a:lnTo>
                          <a:pt x="54" y="59"/>
                        </a:lnTo>
                        <a:lnTo>
                          <a:pt x="53" y="54"/>
                        </a:lnTo>
                        <a:lnTo>
                          <a:pt x="55" y="47"/>
                        </a:lnTo>
                        <a:lnTo>
                          <a:pt x="51" y="39"/>
                        </a:lnTo>
                        <a:lnTo>
                          <a:pt x="56" y="35"/>
                        </a:lnTo>
                        <a:lnTo>
                          <a:pt x="59" y="35"/>
                        </a:lnTo>
                        <a:lnTo>
                          <a:pt x="74" y="34"/>
                        </a:lnTo>
                        <a:lnTo>
                          <a:pt x="74" y="30"/>
                        </a:lnTo>
                        <a:lnTo>
                          <a:pt x="56" y="32"/>
                        </a:lnTo>
                        <a:lnTo>
                          <a:pt x="52" y="34"/>
                        </a:lnTo>
                        <a:lnTo>
                          <a:pt x="41" y="39"/>
                        </a:lnTo>
                        <a:lnTo>
                          <a:pt x="36" y="39"/>
                        </a:lnTo>
                        <a:lnTo>
                          <a:pt x="33" y="39"/>
                        </a:lnTo>
                        <a:lnTo>
                          <a:pt x="33" y="32"/>
                        </a:lnTo>
                        <a:lnTo>
                          <a:pt x="29" y="34"/>
                        </a:lnTo>
                        <a:lnTo>
                          <a:pt x="22" y="32"/>
                        </a:lnTo>
                        <a:lnTo>
                          <a:pt x="20" y="29"/>
                        </a:lnTo>
                        <a:lnTo>
                          <a:pt x="19" y="22"/>
                        </a:lnTo>
                        <a:lnTo>
                          <a:pt x="4" y="19"/>
                        </a:lnTo>
                        <a:lnTo>
                          <a:pt x="0" y="14"/>
                        </a:lnTo>
                        <a:lnTo>
                          <a:pt x="1" y="11"/>
                        </a:lnTo>
                        <a:lnTo>
                          <a:pt x="3" y="12"/>
                        </a:lnTo>
                        <a:lnTo>
                          <a:pt x="6" y="14"/>
                        </a:lnTo>
                        <a:lnTo>
                          <a:pt x="11" y="14"/>
                        </a:lnTo>
                        <a:lnTo>
                          <a:pt x="19" y="10"/>
                        </a:lnTo>
                        <a:lnTo>
                          <a:pt x="21" y="9"/>
                        </a:lnTo>
                        <a:lnTo>
                          <a:pt x="41" y="9"/>
                        </a:lnTo>
                        <a:lnTo>
                          <a:pt x="48" y="8"/>
                        </a:lnTo>
                        <a:lnTo>
                          <a:pt x="56" y="4"/>
                        </a:lnTo>
                        <a:lnTo>
                          <a:pt x="64" y="0"/>
                        </a:lnTo>
                        <a:lnTo>
                          <a:pt x="82" y="0"/>
                        </a:lnTo>
                        <a:lnTo>
                          <a:pt x="84" y="0"/>
                        </a:lnTo>
                        <a:lnTo>
                          <a:pt x="119" y="0"/>
                        </a:lnTo>
                        <a:lnTo>
                          <a:pt x="119" y="4"/>
                        </a:lnTo>
                        <a:lnTo>
                          <a:pt x="123" y="9"/>
                        </a:lnTo>
                        <a:lnTo>
                          <a:pt x="123" y="12"/>
                        </a:lnTo>
                        <a:lnTo>
                          <a:pt x="120" y="15"/>
                        </a:lnTo>
                        <a:lnTo>
                          <a:pt x="118" y="17"/>
                        </a:lnTo>
                        <a:lnTo>
                          <a:pt x="115" y="17"/>
                        </a:lnTo>
                        <a:lnTo>
                          <a:pt x="113" y="18"/>
                        </a:lnTo>
                        <a:lnTo>
                          <a:pt x="112" y="20"/>
                        </a:lnTo>
                        <a:lnTo>
                          <a:pt x="116" y="22"/>
                        </a:lnTo>
                        <a:lnTo>
                          <a:pt x="118" y="25"/>
                        </a:lnTo>
                        <a:lnTo>
                          <a:pt x="119" y="39"/>
                        </a:lnTo>
                        <a:lnTo>
                          <a:pt x="113" y="39"/>
                        </a:lnTo>
                        <a:lnTo>
                          <a:pt x="112" y="40"/>
                        </a:lnTo>
                        <a:lnTo>
                          <a:pt x="97" y="40"/>
                        </a:lnTo>
                        <a:lnTo>
                          <a:pt x="86" y="46"/>
                        </a:lnTo>
                        <a:lnTo>
                          <a:pt x="81" y="50"/>
                        </a:lnTo>
                        <a:lnTo>
                          <a:pt x="78" y="54"/>
                        </a:lnTo>
                        <a:lnTo>
                          <a:pt x="75" y="61"/>
                        </a:lnTo>
                        <a:lnTo>
                          <a:pt x="74" y="6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8" name="Freeform 46"/>
                  <p:cNvSpPr>
                    <a:spLocks/>
                  </p:cNvSpPr>
                  <p:nvPr/>
                </p:nvSpPr>
                <p:spPr bwMode="auto">
                  <a:xfrm>
                    <a:off x="1062" y="1915"/>
                    <a:ext cx="314" cy="221"/>
                  </a:xfrm>
                  <a:custGeom>
                    <a:avLst/>
                    <a:gdLst>
                      <a:gd name="T0" fmla="*/ 28279 w 293"/>
                      <a:gd name="T1" fmla="*/ 2492 h 211"/>
                      <a:gd name="T2" fmla="*/ 27652 w 293"/>
                      <a:gd name="T3" fmla="*/ 2610 h 211"/>
                      <a:gd name="T4" fmla="*/ 26838 w 293"/>
                      <a:gd name="T5" fmla="*/ 2842 h 211"/>
                      <a:gd name="T6" fmla="*/ 25568 w 293"/>
                      <a:gd name="T7" fmla="*/ 2865 h 211"/>
                      <a:gd name="T8" fmla="*/ 24292 w 293"/>
                      <a:gd name="T9" fmla="*/ 2842 h 211"/>
                      <a:gd name="T10" fmla="*/ 23368 w 293"/>
                      <a:gd name="T11" fmla="*/ 3052 h 211"/>
                      <a:gd name="T12" fmla="*/ 23089 w 293"/>
                      <a:gd name="T13" fmla="*/ 3197 h 211"/>
                      <a:gd name="T14" fmla="*/ 22460 w 293"/>
                      <a:gd name="T15" fmla="*/ 3263 h 211"/>
                      <a:gd name="T16" fmla="*/ 21151 w 293"/>
                      <a:gd name="T17" fmla="*/ 3292 h 211"/>
                      <a:gd name="T18" fmla="*/ 18566 w 293"/>
                      <a:gd name="T19" fmla="*/ 3142 h 211"/>
                      <a:gd name="T20" fmla="*/ 16310 w 293"/>
                      <a:gd name="T21" fmla="*/ 3292 h 211"/>
                      <a:gd name="T22" fmla="*/ 11555 w 293"/>
                      <a:gd name="T23" fmla="*/ 3263 h 211"/>
                      <a:gd name="T24" fmla="*/ 8866 w 293"/>
                      <a:gd name="T25" fmla="*/ 3263 h 211"/>
                      <a:gd name="T26" fmla="*/ 8787 w 293"/>
                      <a:gd name="T27" fmla="*/ 3610 h 211"/>
                      <a:gd name="T28" fmla="*/ 9207 w 293"/>
                      <a:gd name="T29" fmla="*/ 3781 h 211"/>
                      <a:gd name="T30" fmla="*/ 9207 w 293"/>
                      <a:gd name="T31" fmla="*/ 4237 h 211"/>
                      <a:gd name="T32" fmla="*/ 9216 w 293"/>
                      <a:gd name="T33" fmla="*/ 4468 h 211"/>
                      <a:gd name="T34" fmla="*/ 8326 w 293"/>
                      <a:gd name="T35" fmla="*/ 4312 h 211"/>
                      <a:gd name="T36" fmla="*/ 7651 w 293"/>
                      <a:gd name="T37" fmla="*/ 4114 h 211"/>
                      <a:gd name="T38" fmla="*/ 6312 w 293"/>
                      <a:gd name="T39" fmla="*/ 4114 h 211"/>
                      <a:gd name="T40" fmla="*/ 4438 w 293"/>
                      <a:gd name="T41" fmla="*/ 4149 h 211"/>
                      <a:gd name="T42" fmla="*/ 3262 w 293"/>
                      <a:gd name="T43" fmla="*/ 4312 h 211"/>
                      <a:gd name="T44" fmla="*/ 2394 w 293"/>
                      <a:gd name="T45" fmla="*/ 4237 h 211"/>
                      <a:gd name="T46" fmla="*/ 2085 w 293"/>
                      <a:gd name="T47" fmla="*/ 4266 h 211"/>
                      <a:gd name="T48" fmla="*/ 1377 w 293"/>
                      <a:gd name="T49" fmla="*/ 4211 h 211"/>
                      <a:gd name="T50" fmla="*/ 974 w 293"/>
                      <a:gd name="T51" fmla="*/ 4045 h 211"/>
                      <a:gd name="T52" fmla="*/ 5 w 293"/>
                      <a:gd name="T53" fmla="*/ 3931 h 211"/>
                      <a:gd name="T54" fmla="*/ 3 w 293"/>
                      <a:gd name="T55" fmla="*/ 3782 h 211"/>
                      <a:gd name="T56" fmla="*/ 0 w 293"/>
                      <a:gd name="T57" fmla="*/ 3610 h 211"/>
                      <a:gd name="T58" fmla="*/ 791 w 293"/>
                      <a:gd name="T59" fmla="*/ 3001 h 211"/>
                      <a:gd name="T60" fmla="*/ 1199 w 293"/>
                      <a:gd name="T61" fmla="*/ 2611 h 211"/>
                      <a:gd name="T62" fmla="*/ 3606 w 293"/>
                      <a:gd name="T63" fmla="*/ 2206 h 211"/>
                      <a:gd name="T64" fmla="*/ 4612 w 293"/>
                      <a:gd name="T65" fmla="*/ 1554 h 211"/>
                      <a:gd name="T66" fmla="*/ 5853 w 293"/>
                      <a:gd name="T67" fmla="*/ 1365 h 211"/>
                      <a:gd name="T68" fmla="*/ 10182 w 293"/>
                      <a:gd name="T69" fmla="*/ 1134 h 211"/>
                      <a:gd name="T70" fmla="*/ 14831 w 293"/>
                      <a:gd name="T71" fmla="*/ 350 h 211"/>
                      <a:gd name="T72" fmla="*/ 17557 w 293"/>
                      <a:gd name="T73" fmla="*/ 0 h 211"/>
                      <a:gd name="T74" fmla="*/ 19736 w 293"/>
                      <a:gd name="T75" fmla="*/ 265 h 211"/>
                      <a:gd name="T76" fmla="*/ 20288 w 293"/>
                      <a:gd name="T77" fmla="*/ 484 h 211"/>
                      <a:gd name="T78" fmla="*/ 20347 w 293"/>
                      <a:gd name="T79" fmla="*/ 805 h 211"/>
                      <a:gd name="T80" fmla="*/ 22976 w 293"/>
                      <a:gd name="T81" fmla="*/ 1340 h 211"/>
                      <a:gd name="T82" fmla="*/ 24292 w 293"/>
                      <a:gd name="T83" fmla="*/ 1854 h 211"/>
                      <a:gd name="T84" fmla="*/ 25722 w 293"/>
                      <a:gd name="T85" fmla="*/ 1942 h 211"/>
                      <a:gd name="T86" fmla="*/ 26760 w 293"/>
                      <a:gd name="T87" fmla="*/ 1854 h 211"/>
                      <a:gd name="T88" fmla="*/ 27644 w 293"/>
                      <a:gd name="T89" fmla="*/ 2070 h 211"/>
                      <a:gd name="T90" fmla="*/ 27009 w 293"/>
                      <a:gd name="T91" fmla="*/ 2106 h 211"/>
                      <a:gd name="T92" fmla="*/ 27422 w 293"/>
                      <a:gd name="T93" fmla="*/ 2311 h 211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93"/>
                      <a:gd name="T142" fmla="*/ 0 h 211"/>
                      <a:gd name="T143" fmla="*/ 293 w 293"/>
                      <a:gd name="T144" fmla="*/ 211 h 211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93" h="211">
                        <a:moveTo>
                          <a:pt x="285" y="109"/>
                        </a:moveTo>
                        <a:lnTo>
                          <a:pt x="291" y="117"/>
                        </a:lnTo>
                        <a:lnTo>
                          <a:pt x="293" y="117"/>
                        </a:lnTo>
                        <a:lnTo>
                          <a:pt x="291" y="121"/>
                        </a:lnTo>
                        <a:lnTo>
                          <a:pt x="288" y="123"/>
                        </a:lnTo>
                        <a:lnTo>
                          <a:pt x="289" y="124"/>
                        </a:lnTo>
                        <a:lnTo>
                          <a:pt x="287" y="127"/>
                        </a:lnTo>
                        <a:lnTo>
                          <a:pt x="279" y="134"/>
                        </a:lnTo>
                        <a:lnTo>
                          <a:pt x="275" y="136"/>
                        </a:lnTo>
                        <a:lnTo>
                          <a:pt x="270" y="134"/>
                        </a:lnTo>
                        <a:lnTo>
                          <a:pt x="265" y="136"/>
                        </a:lnTo>
                        <a:lnTo>
                          <a:pt x="259" y="133"/>
                        </a:lnTo>
                        <a:lnTo>
                          <a:pt x="255" y="133"/>
                        </a:lnTo>
                        <a:lnTo>
                          <a:pt x="253" y="134"/>
                        </a:lnTo>
                        <a:lnTo>
                          <a:pt x="248" y="143"/>
                        </a:lnTo>
                        <a:lnTo>
                          <a:pt x="245" y="143"/>
                        </a:lnTo>
                        <a:lnTo>
                          <a:pt x="243" y="143"/>
                        </a:lnTo>
                        <a:lnTo>
                          <a:pt x="243" y="145"/>
                        </a:lnTo>
                        <a:lnTo>
                          <a:pt x="240" y="147"/>
                        </a:lnTo>
                        <a:lnTo>
                          <a:pt x="240" y="150"/>
                        </a:lnTo>
                        <a:lnTo>
                          <a:pt x="237" y="150"/>
                        </a:lnTo>
                        <a:lnTo>
                          <a:pt x="234" y="153"/>
                        </a:lnTo>
                        <a:lnTo>
                          <a:pt x="233" y="153"/>
                        </a:lnTo>
                        <a:lnTo>
                          <a:pt x="223" y="153"/>
                        </a:lnTo>
                        <a:lnTo>
                          <a:pt x="222" y="155"/>
                        </a:lnTo>
                        <a:lnTo>
                          <a:pt x="220" y="156"/>
                        </a:lnTo>
                        <a:lnTo>
                          <a:pt x="216" y="152"/>
                        </a:lnTo>
                        <a:lnTo>
                          <a:pt x="194" y="148"/>
                        </a:lnTo>
                        <a:lnTo>
                          <a:pt x="192" y="148"/>
                        </a:lnTo>
                        <a:lnTo>
                          <a:pt x="181" y="149"/>
                        </a:lnTo>
                        <a:lnTo>
                          <a:pt x="172" y="155"/>
                        </a:lnTo>
                        <a:lnTo>
                          <a:pt x="169" y="156"/>
                        </a:lnTo>
                        <a:lnTo>
                          <a:pt x="157" y="156"/>
                        </a:lnTo>
                        <a:lnTo>
                          <a:pt x="139" y="153"/>
                        </a:lnTo>
                        <a:lnTo>
                          <a:pt x="120" y="153"/>
                        </a:lnTo>
                        <a:lnTo>
                          <a:pt x="111" y="152"/>
                        </a:lnTo>
                        <a:lnTo>
                          <a:pt x="104" y="152"/>
                        </a:lnTo>
                        <a:lnTo>
                          <a:pt x="92" y="153"/>
                        </a:lnTo>
                        <a:lnTo>
                          <a:pt x="88" y="159"/>
                        </a:lnTo>
                        <a:lnTo>
                          <a:pt x="88" y="164"/>
                        </a:lnTo>
                        <a:lnTo>
                          <a:pt x="91" y="170"/>
                        </a:lnTo>
                        <a:lnTo>
                          <a:pt x="93" y="172"/>
                        </a:lnTo>
                        <a:lnTo>
                          <a:pt x="92" y="177"/>
                        </a:lnTo>
                        <a:lnTo>
                          <a:pt x="95" y="178"/>
                        </a:lnTo>
                        <a:lnTo>
                          <a:pt x="94" y="187"/>
                        </a:lnTo>
                        <a:lnTo>
                          <a:pt x="96" y="193"/>
                        </a:lnTo>
                        <a:lnTo>
                          <a:pt x="95" y="200"/>
                        </a:lnTo>
                        <a:lnTo>
                          <a:pt x="96" y="204"/>
                        </a:lnTo>
                        <a:lnTo>
                          <a:pt x="98" y="210"/>
                        </a:lnTo>
                        <a:lnTo>
                          <a:pt x="96" y="211"/>
                        </a:lnTo>
                        <a:lnTo>
                          <a:pt x="93" y="211"/>
                        </a:lnTo>
                        <a:lnTo>
                          <a:pt x="91" y="210"/>
                        </a:lnTo>
                        <a:lnTo>
                          <a:pt x="87" y="203"/>
                        </a:lnTo>
                        <a:lnTo>
                          <a:pt x="86" y="200"/>
                        </a:lnTo>
                        <a:lnTo>
                          <a:pt x="82" y="198"/>
                        </a:lnTo>
                        <a:lnTo>
                          <a:pt x="79" y="193"/>
                        </a:lnTo>
                        <a:lnTo>
                          <a:pt x="78" y="193"/>
                        </a:lnTo>
                        <a:lnTo>
                          <a:pt x="75" y="195"/>
                        </a:lnTo>
                        <a:lnTo>
                          <a:pt x="66" y="193"/>
                        </a:lnTo>
                        <a:lnTo>
                          <a:pt x="61" y="191"/>
                        </a:lnTo>
                        <a:lnTo>
                          <a:pt x="55" y="194"/>
                        </a:lnTo>
                        <a:lnTo>
                          <a:pt x="46" y="196"/>
                        </a:lnTo>
                        <a:lnTo>
                          <a:pt x="40" y="198"/>
                        </a:lnTo>
                        <a:lnTo>
                          <a:pt x="37" y="198"/>
                        </a:lnTo>
                        <a:lnTo>
                          <a:pt x="34" y="203"/>
                        </a:lnTo>
                        <a:lnTo>
                          <a:pt x="33" y="205"/>
                        </a:lnTo>
                        <a:lnTo>
                          <a:pt x="27" y="203"/>
                        </a:lnTo>
                        <a:lnTo>
                          <a:pt x="25" y="200"/>
                        </a:lnTo>
                        <a:lnTo>
                          <a:pt x="24" y="200"/>
                        </a:lnTo>
                        <a:lnTo>
                          <a:pt x="24" y="201"/>
                        </a:lnTo>
                        <a:lnTo>
                          <a:pt x="21" y="201"/>
                        </a:lnTo>
                        <a:lnTo>
                          <a:pt x="21" y="203"/>
                        </a:lnTo>
                        <a:lnTo>
                          <a:pt x="15" y="200"/>
                        </a:lnTo>
                        <a:lnTo>
                          <a:pt x="15" y="197"/>
                        </a:lnTo>
                        <a:lnTo>
                          <a:pt x="12" y="195"/>
                        </a:lnTo>
                        <a:lnTo>
                          <a:pt x="10" y="195"/>
                        </a:lnTo>
                        <a:lnTo>
                          <a:pt x="10" y="191"/>
                        </a:lnTo>
                        <a:lnTo>
                          <a:pt x="10" y="189"/>
                        </a:lnTo>
                        <a:lnTo>
                          <a:pt x="7" y="188"/>
                        </a:lnTo>
                        <a:lnTo>
                          <a:pt x="5" y="185"/>
                        </a:lnTo>
                        <a:lnTo>
                          <a:pt x="3" y="184"/>
                        </a:lnTo>
                        <a:lnTo>
                          <a:pt x="3" y="182"/>
                        </a:lnTo>
                        <a:lnTo>
                          <a:pt x="3" y="179"/>
                        </a:lnTo>
                        <a:lnTo>
                          <a:pt x="2" y="178"/>
                        </a:lnTo>
                        <a:lnTo>
                          <a:pt x="0" y="178"/>
                        </a:lnTo>
                        <a:lnTo>
                          <a:pt x="0" y="170"/>
                        </a:lnTo>
                        <a:lnTo>
                          <a:pt x="0" y="160"/>
                        </a:lnTo>
                        <a:lnTo>
                          <a:pt x="0" y="153"/>
                        </a:lnTo>
                        <a:lnTo>
                          <a:pt x="7" y="142"/>
                        </a:lnTo>
                        <a:lnTo>
                          <a:pt x="7" y="134"/>
                        </a:lnTo>
                        <a:lnTo>
                          <a:pt x="11" y="127"/>
                        </a:lnTo>
                        <a:lnTo>
                          <a:pt x="13" y="124"/>
                        </a:lnTo>
                        <a:lnTo>
                          <a:pt x="20" y="119"/>
                        </a:lnTo>
                        <a:lnTo>
                          <a:pt x="31" y="111"/>
                        </a:lnTo>
                        <a:lnTo>
                          <a:pt x="37" y="104"/>
                        </a:lnTo>
                        <a:lnTo>
                          <a:pt x="41" y="91"/>
                        </a:lnTo>
                        <a:lnTo>
                          <a:pt x="44" y="81"/>
                        </a:lnTo>
                        <a:lnTo>
                          <a:pt x="48" y="73"/>
                        </a:lnTo>
                        <a:lnTo>
                          <a:pt x="51" y="69"/>
                        </a:lnTo>
                        <a:lnTo>
                          <a:pt x="58" y="65"/>
                        </a:lnTo>
                        <a:lnTo>
                          <a:pt x="61" y="65"/>
                        </a:lnTo>
                        <a:lnTo>
                          <a:pt x="70" y="63"/>
                        </a:lnTo>
                        <a:lnTo>
                          <a:pt x="79" y="61"/>
                        </a:lnTo>
                        <a:lnTo>
                          <a:pt x="106" y="53"/>
                        </a:lnTo>
                        <a:lnTo>
                          <a:pt x="118" y="44"/>
                        </a:lnTo>
                        <a:lnTo>
                          <a:pt x="127" y="34"/>
                        </a:lnTo>
                        <a:lnTo>
                          <a:pt x="153" y="17"/>
                        </a:lnTo>
                        <a:lnTo>
                          <a:pt x="164" y="8"/>
                        </a:lnTo>
                        <a:lnTo>
                          <a:pt x="169" y="5"/>
                        </a:lnTo>
                        <a:lnTo>
                          <a:pt x="183" y="0"/>
                        </a:lnTo>
                        <a:lnTo>
                          <a:pt x="207" y="0"/>
                        </a:lnTo>
                        <a:lnTo>
                          <a:pt x="205" y="3"/>
                        </a:lnTo>
                        <a:lnTo>
                          <a:pt x="205" y="11"/>
                        </a:lnTo>
                        <a:lnTo>
                          <a:pt x="202" y="18"/>
                        </a:lnTo>
                        <a:lnTo>
                          <a:pt x="204" y="18"/>
                        </a:lnTo>
                        <a:lnTo>
                          <a:pt x="211" y="24"/>
                        </a:lnTo>
                        <a:lnTo>
                          <a:pt x="212" y="27"/>
                        </a:lnTo>
                        <a:lnTo>
                          <a:pt x="212" y="33"/>
                        </a:lnTo>
                        <a:lnTo>
                          <a:pt x="212" y="38"/>
                        </a:lnTo>
                        <a:lnTo>
                          <a:pt x="222" y="47"/>
                        </a:lnTo>
                        <a:lnTo>
                          <a:pt x="233" y="58"/>
                        </a:lnTo>
                        <a:lnTo>
                          <a:pt x="238" y="63"/>
                        </a:lnTo>
                        <a:lnTo>
                          <a:pt x="243" y="73"/>
                        </a:lnTo>
                        <a:lnTo>
                          <a:pt x="245" y="78"/>
                        </a:lnTo>
                        <a:lnTo>
                          <a:pt x="253" y="87"/>
                        </a:lnTo>
                        <a:lnTo>
                          <a:pt x="257" y="89"/>
                        </a:lnTo>
                        <a:lnTo>
                          <a:pt x="265" y="91"/>
                        </a:lnTo>
                        <a:lnTo>
                          <a:pt x="267" y="91"/>
                        </a:lnTo>
                        <a:lnTo>
                          <a:pt x="270" y="91"/>
                        </a:lnTo>
                        <a:lnTo>
                          <a:pt x="275" y="87"/>
                        </a:lnTo>
                        <a:lnTo>
                          <a:pt x="278" y="87"/>
                        </a:lnTo>
                        <a:lnTo>
                          <a:pt x="281" y="88"/>
                        </a:lnTo>
                        <a:lnTo>
                          <a:pt x="286" y="96"/>
                        </a:lnTo>
                        <a:lnTo>
                          <a:pt x="287" y="97"/>
                        </a:lnTo>
                        <a:lnTo>
                          <a:pt x="286" y="99"/>
                        </a:lnTo>
                        <a:lnTo>
                          <a:pt x="282" y="98"/>
                        </a:lnTo>
                        <a:lnTo>
                          <a:pt x="280" y="99"/>
                        </a:lnTo>
                        <a:lnTo>
                          <a:pt x="279" y="101"/>
                        </a:lnTo>
                        <a:lnTo>
                          <a:pt x="280" y="104"/>
                        </a:lnTo>
                        <a:lnTo>
                          <a:pt x="285" y="109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" name="Freeform 47"/>
                  <p:cNvSpPr>
                    <a:spLocks/>
                  </p:cNvSpPr>
                  <p:nvPr/>
                </p:nvSpPr>
                <p:spPr bwMode="auto">
                  <a:xfrm>
                    <a:off x="1062" y="1915"/>
                    <a:ext cx="314" cy="221"/>
                  </a:xfrm>
                  <a:custGeom>
                    <a:avLst/>
                    <a:gdLst>
                      <a:gd name="T0" fmla="*/ 28279 w 293"/>
                      <a:gd name="T1" fmla="*/ 2492 h 211"/>
                      <a:gd name="T2" fmla="*/ 27652 w 293"/>
                      <a:gd name="T3" fmla="*/ 2610 h 211"/>
                      <a:gd name="T4" fmla="*/ 26838 w 293"/>
                      <a:gd name="T5" fmla="*/ 2842 h 211"/>
                      <a:gd name="T6" fmla="*/ 25568 w 293"/>
                      <a:gd name="T7" fmla="*/ 2865 h 211"/>
                      <a:gd name="T8" fmla="*/ 24292 w 293"/>
                      <a:gd name="T9" fmla="*/ 2842 h 211"/>
                      <a:gd name="T10" fmla="*/ 23368 w 293"/>
                      <a:gd name="T11" fmla="*/ 3052 h 211"/>
                      <a:gd name="T12" fmla="*/ 23089 w 293"/>
                      <a:gd name="T13" fmla="*/ 3197 h 211"/>
                      <a:gd name="T14" fmla="*/ 22460 w 293"/>
                      <a:gd name="T15" fmla="*/ 3263 h 211"/>
                      <a:gd name="T16" fmla="*/ 21151 w 293"/>
                      <a:gd name="T17" fmla="*/ 3292 h 211"/>
                      <a:gd name="T18" fmla="*/ 18566 w 293"/>
                      <a:gd name="T19" fmla="*/ 3142 h 211"/>
                      <a:gd name="T20" fmla="*/ 16310 w 293"/>
                      <a:gd name="T21" fmla="*/ 3292 h 211"/>
                      <a:gd name="T22" fmla="*/ 11555 w 293"/>
                      <a:gd name="T23" fmla="*/ 3263 h 211"/>
                      <a:gd name="T24" fmla="*/ 8866 w 293"/>
                      <a:gd name="T25" fmla="*/ 3263 h 211"/>
                      <a:gd name="T26" fmla="*/ 8787 w 293"/>
                      <a:gd name="T27" fmla="*/ 3610 h 211"/>
                      <a:gd name="T28" fmla="*/ 9207 w 293"/>
                      <a:gd name="T29" fmla="*/ 3781 h 211"/>
                      <a:gd name="T30" fmla="*/ 9207 w 293"/>
                      <a:gd name="T31" fmla="*/ 4237 h 211"/>
                      <a:gd name="T32" fmla="*/ 9216 w 293"/>
                      <a:gd name="T33" fmla="*/ 4468 h 211"/>
                      <a:gd name="T34" fmla="*/ 8326 w 293"/>
                      <a:gd name="T35" fmla="*/ 4312 h 211"/>
                      <a:gd name="T36" fmla="*/ 7651 w 293"/>
                      <a:gd name="T37" fmla="*/ 4114 h 211"/>
                      <a:gd name="T38" fmla="*/ 6312 w 293"/>
                      <a:gd name="T39" fmla="*/ 4114 h 211"/>
                      <a:gd name="T40" fmla="*/ 4438 w 293"/>
                      <a:gd name="T41" fmla="*/ 4149 h 211"/>
                      <a:gd name="T42" fmla="*/ 3262 w 293"/>
                      <a:gd name="T43" fmla="*/ 4312 h 211"/>
                      <a:gd name="T44" fmla="*/ 2394 w 293"/>
                      <a:gd name="T45" fmla="*/ 4237 h 211"/>
                      <a:gd name="T46" fmla="*/ 2085 w 293"/>
                      <a:gd name="T47" fmla="*/ 4266 h 211"/>
                      <a:gd name="T48" fmla="*/ 1377 w 293"/>
                      <a:gd name="T49" fmla="*/ 4211 h 211"/>
                      <a:gd name="T50" fmla="*/ 974 w 293"/>
                      <a:gd name="T51" fmla="*/ 4045 h 211"/>
                      <a:gd name="T52" fmla="*/ 5 w 293"/>
                      <a:gd name="T53" fmla="*/ 3931 h 211"/>
                      <a:gd name="T54" fmla="*/ 3 w 293"/>
                      <a:gd name="T55" fmla="*/ 3782 h 211"/>
                      <a:gd name="T56" fmla="*/ 0 w 293"/>
                      <a:gd name="T57" fmla="*/ 3610 h 211"/>
                      <a:gd name="T58" fmla="*/ 791 w 293"/>
                      <a:gd name="T59" fmla="*/ 3001 h 211"/>
                      <a:gd name="T60" fmla="*/ 1199 w 293"/>
                      <a:gd name="T61" fmla="*/ 2611 h 211"/>
                      <a:gd name="T62" fmla="*/ 3606 w 293"/>
                      <a:gd name="T63" fmla="*/ 2206 h 211"/>
                      <a:gd name="T64" fmla="*/ 4612 w 293"/>
                      <a:gd name="T65" fmla="*/ 1554 h 211"/>
                      <a:gd name="T66" fmla="*/ 5853 w 293"/>
                      <a:gd name="T67" fmla="*/ 1365 h 211"/>
                      <a:gd name="T68" fmla="*/ 10182 w 293"/>
                      <a:gd name="T69" fmla="*/ 1134 h 211"/>
                      <a:gd name="T70" fmla="*/ 14831 w 293"/>
                      <a:gd name="T71" fmla="*/ 350 h 211"/>
                      <a:gd name="T72" fmla="*/ 17557 w 293"/>
                      <a:gd name="T73" fmla="*/ 0 h 211"/>
                      <a:gd name="T74" fmla="*/ 19736 w 293"/>
                      <a:gd name="T75" fmla="*/ 265 h 211"/>
                      <a:gd name="T76" fmla="*/ 20288 w 293"/>
                      <a:gd name="T77" fmla="*/ 484 h 211"/>
                      <a:gd name="T78" fmla="*/ 20347 w 293"/>
                      <a:gd name="T79" fmla="*/ 805 h 211"/>
                      <a:gd name="T80" fmla="*/ 22976 w 293"/>
                      <a:gd name="T81" fmla="*/ 1340 h 211"/>
                      <a:gd name="T82" fmla="*/ 24292 w 293"/>
                      <a:gd name="T83" fmla="*/ 1854 h 211"/>
                      <a:gd name="T84" fmla="*/ 25722 w 293"/>
                      <a:gd name="T85" fmla="*/ 1942 h 211"/>
                      <a:gd name="T86" fmla="*/ 26760 w 293"/>
                      <a:gd name="T87" fmla="*/ 1854 h 211"/>
                      <a:gd name="T88" fmla="*/ 27644 w 293"/>
                      <a:gd name="T89" fmla="*/ 2070 h 211"/>
                      <a:gd name="T90" fmla="*/ 27009 w 293"/>
                      <a:gd name="T91" fmla="*/ 2106 h 211"/>
                      <a:gd name="T92" fmla="*/ 27422 w 293"/>
                      <a:gd name="T93" fmla="*/ 2311 h 211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93"/>
                      <a:gd name="T142" fmla="*/ 0 h 211"/>
                      <a:gd name="T143" fmla="*/ 293 w 293"/>
                      <a:gd name="T144" fmla="*/ 211 h 211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93" h="211">
                        <a:moveTo>
                          <a:pt x="285" y="109"/>
                        </a:moveTo>
                        <a:lnTo>
                          <a:pt x="291" y="117"/>
                        </a:lnTo>
                        <a:lnTo>
                          <a:pt x="293" y="117"/>
                        </a:lnTo>
                        <a:lnTo>
                          <a:pt x="291" y="121"/>
                        </a:lnTo>
                        <a:lnTo>
                          <a:pt x="288" y="123"/>
                        </a:lnTo>
                        <a:lnTo>
                          <a:pt x="289" y="124"/>
                        </a:lnTo>
                        <a:lnTo>
                          <a:pt x="287" y="127"/>
                        </a:lnTo>
                        <a:lnTo>
                          <a:pt x="279" y="134"/>
                        </a:lnTo>
                        <a:lnTo>
                          <a:pt x="275" y="136"/>
                        </a:lnTo>
                        <a:lnTo>
                          <a:pt x="270" y="134"/>
                        </a:lnTo>
                        <a:lnTo>
                          <a:pt x="265" y="136"/>
                        </a:lnTo>
                        <a:lnTo>
                          <a:pt x="259" y="133"/>
                        </a:lnTo>
                        <a:lnTo>
                          <a:pt x="255" y="133"/>
                        </a:lnTo>
                        <a:lnTo>
                          <a:pt x="253" y="134"/>
                        </a:lnTo>
                        <a:lnTo>
                          <a:pt x="248" y="143"/>
                        </a:lnTo>
                        <a:lnTo>
                          <a:pt x="245" y="143"/>
                        </a:lnTo>
                        <a:lnTo>
                          <a:pt x="243" y="143"/>
                        </a:lnTo>
                        <a:lnTo>
                          <a:pt x="243" y="145"/>
                        </a:lnTo>
                        <a:lnTo>
                          <a:pt x="240" y="147"/>
                        </a:lnTo>
                        <a:lnTo>
                          <a:pt x="240" y="150"/>
                        </a:lnTo>
                        <a:lnTo>
                          <a:pt x="237" y="150"/>
                        </a:lnTo>
                        <a:lnTo>
                          <a:pt x="234" y="153"/>
                        </a:lnTo>
                        <a:lnTo>
                          <a:pt x="233" y="153"/>
                        </a:lnTo>
                        <a:lnTo>
                          <a:pt x="223" y="153"/>
                        </a:lnTo>
                        <a:lnTo>
                          <a:pt x="222" y="155"/>
                        </a:lnTo>
                        <a:lnTo>
                          <a:pt x="220" y="156"/>
                        </a:lnTo>
                        <a:lnTo>
                          <a:pt x="216" y="152"/>
                        </a:lnTo>
                        <a:lnTo>
                          <a:pt x="194" y="148"/>
                        </a:lnTo>
                        <a:lnTo>
                          <a:pt x="192" y="148"/>
                        </a:lnTo>
                        <a:lnTo>
                          <a:pt x="181" y="149"/>
                        </a:lnTo>
                        <a:lnTo>
                          <a:pt x="172" y="155"/>
                        </a:lnTo>
                        <a:lnTo>
                          <a:pt x="169" y="156"/>
                        </a:lnTo>
                        <a:lnTo>
                          <a:pt x="157" y="156"/>
                        </a:lnTo>
                        <a:lnTo>
                          <a:pt x="139" y="153"/>
                        </a:lnTo>
                        <a:lnTo>
                          <a:pt x="120" y="153"/>
                        </a:lnTo>
                        <a:lnTo>
                          <a:pt x="111" y="152"/>
                        </a:lnTo>
                        <a:lnTo>
                          <a:pt x="104" y="152"/>
                        </a:lnTo>
                        <a:lnTo>
                          <a:pt x="92" y="153"/>
                        </a:lnTo>
                        <a:lnTo>
                          <a:pt x="88" y="159"/>
                        </a:lnTo>
                        <a:lnTo>
                          <a:pt x="88" y="164"/>
                        </a:lnTo>
                        <a:lnTo>
                          <a:pt x="91" y="170"/>
                        </a:lnTo>
                        <a:lnTo>
                          <a:pt x="93" y="172"/>
                        </a:lnTo>
                        <a:lnTo>
                          <a:pt x="92" y="177"/>
                        </a:lnTo>
                        <a:lnTo>
                          <a:pt x="95" y="178"/>
                        </a:lnTo>
                        <a:lnTo>
                          <a:pt x="94" y="187"/>
                        </a:lnTo>
                        <a:lnTo>
                          <a:pt x="96" y="193"/>
                        </a:lnTo>
                        <a:lnTo>
                          <a:pt x="95" y="200"/>
                        </a:lnTo>
                        <a:lnTo>
                          <a:pt x="96" y="204"/>
                        </a:lnTo>
                        <a:lnTo>
                          <a:pt x="98" y="210"/>
                        </a:lnTo>
                        <a:lnTo>
                          <a:pt x="96" y="211"/>
                        </a:lnTo>
                        <a:lnTo>
                          <a:pt x="93" y="211"/>
                        </a:lnTo>
                        <a:lnTo>
                          <a:pt x="91" y="210"/>
                        </a:lnTo>
                        <a:lnTo>
                          <a:pt x="87" y="203"/>
                        </a:lnTo>
                        <a:lnTo>
                          <a:pt x="86" y="200"/>
                        </a:lnTo>
                        <a:lnTo>
                          <a:pt x="82" y="198"/>
                        </a:lnTo>
                        <a:lnTo>
                          <a:pt x="79" y="193"/>
                        </a:lnTo>
                        <a:lnTo>
                          <a:pt x="78" y="193"/>
                        </a:lnTo>
                        <a:lnTo>
                          <a:pt x="75" y="195"/>
                        </a:lnTo>
                        <a:lnTo>
                          <a:pt x="66" y="193"/>
                        </a:lnTo>
                        <a:lnTo>
                          <a:pt x="61" y="191"/>
                        </a:lnTo>
                        <a:lnTo>
                          <a:pt x="55" y="194"/>
                        </a:lnTo>
                        <a:lnTo>
                          <a:pt x="46" y="196"/>
                        </a:lnTo>
                        <a:lnTo>
                          <a:pt x="40" y="198"/>
                        </a:lnTo>
                        <a:lnTo>
                          <a:pt x="37" y="198"/>
                        </a:lnTo>
                        <a:lnTo>
                          <a:pt x="34" y="203"/>
                        </a:lnTo>
                        <a:lnTo>
                          <a:pt x="33" y="205"/>
                        </a:lnTo>
                        <a:lnTo>
                          <a:pt x="27" y="203"/>
                        </a:lnTo>
                        <a:lnTo>
                          <a:pt x="25" y="200"/>
                        </a:lnTo>
                        <a:lnTo>
                          <a:pt x="24" y="200"/>
                        </a:lnTo>
                        <a:lnTo>
                          <a:pt x="24" y="201"/>
                        </a:lnTo>
                        <a:lnTo>
                          <a:pt x="21" y="201"/>
                        </a:lnTo>
                        <a:lnTo>
                          <a:pt x="21" y="203"/>
                        </a:lnTo>
                        <a:lnTo>
                          <a:pt x="15" y="200"/>
                        </a:lnTo>
                        <a:lnTo>
                          <a:pt x="15" y="197"/>
                        </a:lnTo>
                        <a:lnTo>
                          <a:pt x="12" y="195"/>
                        </a:lnTo>
                        <a:lnTo>
                          <a:pt x="10" y="195"/>
                        </a:lnTo>
                        <a:lnTo>
                          <a:pt x="10" y="191"/>
                        </a:lnTo>
                        <a:lnTo>
                          <a:pt x="10" y="189"/>
                        </a:lnTo>
                        <a:lnTo>
                          <a:pt x="7" y="188"/>
                        </a:lnTo>
                        <a:lnTo>
                          <a:pt x="5" y="185"/>
                        </a:lnTo>
                        <a:lnTo>
                          <a:pt x="3" y="184"/>
                        </a:lnTo>
                        <a:lnTo>
                          <a:pt x="3" y="182"/>
                        </a:lnTo>
                        <a:lnTo>
                          <a:pt x="3" y="179"/>
                        </a:lnTo>
                        <a:lnTo>
                          <a:pt x="2" y="178"/>
                        </a:lnTo>
                        <a:lnTo>
                          <a:pt x="0" y="178"/>
                        </a:lnTo>
                        <a:lnTo>
                          <a:pt x="0" y="170"/>
                        </a:lnTo>
                        <a:lnTo>
                          <a:pt x="0" y="160"/>
                        </a:lnTo>
                        <a:lnTo>
                          <a:pt x="0" y="153"/>
                        </a:lnTo>
                        <a:lnTo>
                          <a:pt x="7" y="142"/>
                        </a:lnTo>
                        <a:lnTo>
                          <a:pt x="7" y="134"/>
                        </a:lnTo>
                        <a:lnTo>
                          <a:pt x="11" y="127"/>
                        </a:lnTo>
                        <a:lnTo>
                          <a:pt x="13" y="124"/>
                        </a:lnTo>
                        <a:lnTo>
                          <a:pt x="20" y="119"/>
                        </a:lnTo>
                        <a:lnTo>
                          <a:pt x="31" y="111"/>
                        </a:lnTo>
                        <a:lnTo>
                          <a:pt x="37" y="104"/>
                        </a:lnTo>
                        <a:lnTo>
                          <a:pt x="41" y="91"/>
                        </a:lnTo>
                        <a:lnTo>
                          <a:pt x="44" y="81"/>
                        </a:lnTo>
                        <a:lnTo>
                          <a:pt x="48" y="73"/>
                        </a:lnTo>
                        <a:lnTo>
                          <a:pt x="51" y="69"/>
                        </a:lnTo>
                        <a:lnTo>
                          <a:pt x="58" y="65"/>
                        </a:lnTo>
                        <a:lnTo>
                          <a:pt x="61" y="65"/>
                        </a:lnTo>
                        <a:lnTo>
                          <a:pt x="70" y="63"/>
                        </a:lnTo>
                        <a:lnTo>
                          <a:pt x="79" y="61"/>
                        </a:lnTo>
                        <a:lnTo>
                          <a:pt x="106" y="53"/>
                        </a:lnTo>
                        <a:lnTo>
                          <a:pt x="118" y="44"/>
                        </a:lnTo>
                        <a:lnTo>
                          <a:pt x="127" y="34"/>
                        </a:lnTo>
                        <a:lnTo>
                          <a:pt x="153" y="17"/>
                        </a:lnTo>
                        <a:lnTo>
                          <a:pt x="164" y="8"/>
                        </a:lnTo>
                        <a:lnTo>
                          <a:pt x="169" y="5"/>
                        </a:lnTo>
                        <a:lnTo>
                          <a:pt x="183" y="0"/>
                        </a:lnTo>
                        <a:lnTo>
                          <a:pt x="207" y="0"/>
                        </a:lnTo>
                        <a:lnTo>
                          <a:pt x="205" y="3"/>
                        </a:lnTo>
                        <a:lnTo>
                          <a:pt x="205" y="11"/>
                        </a:lnTo>
                        <a:lnTo>
                          <a:pt x="202" y="18"/>
                        </a:lnTo>
                        <a:lnTo>
                          <a:pt x="204" y="18"/>
                        </a:lnTo>
                        <a:lnTo>
                          <a:pt x="211" y="24"/>
                        </a:lnTo>
                        <a:lnTo>
                          <a:pt x="212" y="27"/>
                        </a:lnTo>
                        <a:lnTo>
                          <a:pt x="212" y="33"/>
                        </a:lnTo>
                        <a:lnTo>
                          <a:pt x="212" y="38"/>
                        </a:lnTo>
                        <a:lnTo>
                          <a:pt x="222" y="47"/>
                        </a:lnTo>
                        <a:lnTo>
                          <a:pt x="233" y="58"/>
                        </a:lnTo>
                        <a:lnTo>
                          <a:pt x="238" y="63"/>
                        </a:lnTo>
                        <a:lnTo>
                          <a:pt x="243" y="73"/>
                        </a:lnTo>
                        <a:lnTo>
                          <a:pt x="245" y="78"/>
                        </a:lnTo>
                        <a:lnTo>
                          <a:pt x="253" y="87"/>
                        </a:lnTo>
                        <a:lnTo>
                          <a:pt x="257" y="89"/>
                        </a:lnTo>
                        <a:lnTo>
                          <a:pt x="265" y="91"/>
                        </a:lnTo>
                        <a:lnTo>
                          <a:pt x="267" y="91"/>
                        </a:lnTo>
                        <a:lnTo>
                          <a:pt x="270" y="91"/>
                        </a:lnTo>
                        <a:lnTo>
                          <a:pt x="275" y="87"/>
                        </a:lnTo>
                        <a:lnTo>
                          <a:pt x="278" y="87"/>
                        </a:lnTo>
                        <a:lnTo>
                          <a:pt x="281" y="88"/>
                        </a:lnTo>
                        <a:lnTo>
                          <a:pt x="286" y="96"/>
                        </a:lnTo>
                        <a:lnTo>
                          <a:pt x="287" y="97"/>
                        </a:lnTo>
                        <a:lnTo>
                          <a:pt x="286" y="99"/>
                        </a:lnTo>
                        <a:lnTo>
                          <a:pt x="282" y="98"/>
                        </a:lnTo>
                        <a:lnTo>
                          <a:pt x="280" y="99"/>
                        </a:lnTo>
                        <a:lnTo>
                          <a:pt x="279" y="101"/>
                        </a:lnTo>
                        <a:lnTo>
                          <a:pt x="280" y="104"/>
                        </a:lnTo>
                        <a:lnTo>
                          <a:pt x="285" y="109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0" name="Freeform 48"/>
                  <p:cNvSpPr>
                    <a:spLocks/>
                  </p:cNvSpPr>
                  <p:nvPr/>
                </p:nvSpPr>
                <p:spPr bwMode="auto">
                  <a:xfrm>
                    <a:off x="652" y="2006"/>
                    <a:ext cx="306" cy="223"/>
                  </a:xfrm>
                  <a:custGeom>
                    <a:avLst/>
                    <a:gdLst>
                      <a:gd name="T0" fmla="*/ 5627 w 286"/>
                      <a:gd name="T1" fmla="*/ 3771 h 212"/>
                      <a:gd name="T2" fmla="*/ 4471 w 286"/>
                      <a:gd name="T3" fmla="*/ 3247 h 212"/>
                      <a:gd name="T4" fmla="*/ 2126 w 286"/>
                      <a:gd name="T5" fmla="*/ 2738 h 212"/>
                      <a:gd name="T6" fmla="*/ 1076 w 286"/>
                      <a:gd name="T7" fmla="*/ 1954 h 212"/>
                      <a:gd name="T8" fmla="*/ 4 w 286"/>
                      <a:gd name="T9" fmla="*/ 2127 h 212"/>
                      <a:gd name="T10" fmla="*/ 879 w 286"/>
                      <a:gd name="T11" fmla="*/ 1682 h 212"/>
                      <a:gd name="T12" fmla="*/ 3906 w 286"/>
                      <a:gd name="T13" fmla="*/ 1107 h 212"/>
                      <a:gd name="T14" fmla="*/ 3906 w 286"/>
                      <a:gd name="T15" fmla="*/ 526 h 212"/>
                      <a:gd name="T16" fmla="*/ 4915 w 286"/>
                      <a:gd name="T17" fmla="*/ 352 h 212"/>
                      <a:gd name="T18" fmla="*/ 5828 w 286"/>
                      <a:gd name="T19" fmla="*/ 2 h 212"/>
                      <a:gd name="T20" fmla="*/ 7276 w 286"/>
                      <a:gd name="T21" fmla="*/ 9 h 212"/>
                      <a:gd name="T22" fmla="*/ 8743 w 286"/>
                      <a:gd name="T23" fmla="*/ 352 h 212"/>
                      <a:gd name="T24" fmla="*/ 10624 w 286"/>
                      <a:gd name="T25" fmla="*/ 335 h 212"/>
                      <a:gd name="T26" fmla="*/ 12550 w 286"/>
                      <a:gd name="T27" fmla="*/ 318 h 212"/>
                      <a:gd name="T28" fmla="*/ 12327 w 286"/>
                      <a:gd name="T29" fmla="*/ 644 h 212"/>
                      <a:gd name="T30" fmla="*/ 13959 w 286"/>
                      <a:gd name="T31" fmla="*/ 475 h 212"/>
                      <a:gd name="T32" fmla="*/ 15218 w 286"/>
                      <a:gd name="T33" fmla="*/ 582 h 212"/>
                      <a:gd name="T34" fmla="*/ 17096 w 286"/>
                      <a:gd name="T35" fmla="*/ 582 h 212"/>
                      <a:gd name="T36" fmla="*/ 19305 w 286"/>
                      <a:gd name="T37" fmla="*/ 389 h 212"/>
                      <a:gd name="T38" fmla="*/ 19786 w 286"/>
                      <a:gd name="T39" fmla="*/ 318 h 212"/>
                      <a:gd name="T40" fmla="*/ 20329 w 286"/>
                      <a:gd name="T41" fmla="*/ 475 h 212"/>
                      <a:gd name="T42" fmla="*/ 20809 w 286"/>
                      <a:gd name="T43" fmla="*/ 677 h 212"/>
                      <a:gd name="T44" fmla="*/ 21554 w 286"/>
                      <a:gd name="T45" fmla="*/ 1288 h 212"/>
                      <a:gd name="T46" fmla="*/ 22264 w 286"/>
                      <a:gd name="T47" fmla="*/ 1520 h 212"/>
                      <a:gd name="T48" fmla="*/ 21522 w 286"/>
                      <a:gd name="T49" fmla="*/ 1745 h 212"/>
                      <a:gd name="T50" fmla="*/ 22522 w 286"/>
                      <a:gd name="T51" fmla="*/ 1766 h 212"/>
                      <a:gd name="T52" fmla="*/ 23456 w 286"/>
                      <a:gd name="T53" fmla="*/ 2521 h 212"/>
                      <a:gd name="T54" fmla="*/ 23456 w 286"/>
                      <a:gd name="T55" fmla="*/ 2880 h 212"/>
                      <a:gd name="T56" fmla="*/ 23159 w 286"/>
                      <a:gd name="T57" fmla="*/ 3504 h 212"/>
                      <a:gd name="T58" fmla="*/ 24619 w 286"/>
                      <a:gd name="T59" fmla="*/ 3912 h 212"/>
                      <a:gd name="T60" fmla="*/ 24011 w 286"/>
                      <a:gd name="T61" fmla="*/ 4290 h 212"/>
                      <a:gd name="T62" fmla="*/ 24643 w 286"/>
                      <a:gd name="T63" fmla="*/ 4554 h 212"/>
                      <a:gd name="T64" fmla="*/ 24011 w 286"/>
                      <a:gd name="T65" fmla="*/ 4625 h 212"/>
                      <a:gd name="T66" fmla="*/ 23027 w 286"/>
                      <a:gd name="T67" fmla="*/ 4625 h 212"/>
                      <a:gd name="T68" fmla="*/ 23644 w 286"/>
                      <a:gd name="T69" fmla="*/ 4865 h 212"/>
                      <a:gd name="T70" fmla="*/ 23596 w 286"/>
                      <a:gd name="T71" fmla="*/ 5082 h 212"/>
                      <a:gd name="T72" fmla="*/ 22264 w 286"/>
                      <a:gd name="T73" fmla="*/ 5558 h 212"/>
                      <a:gd name="T74" fmla="*/ 21170 w 286"/>
                      <a:gd name="T75" fmla="*/ 5654 h 212"/>
                      <a:gd name="T76" fmla="*/ 19942 w 286"/>
                      <a:gd name="T77" fmla="*/ 5956 h 212"/>
                      <a:gd name="T78" fmla="*/ 18800 w 286"/>
                      <a:gd name="T79" fmla="*/ 5846 h 212"/>
                      <a:gd name="T80" fmla="*/ 19305 w 286"/>
                      <a:gd name="T81" fmla="*/ 5311 h 212"/>
                      <a:gd name="T82" fmla="*/ 18246 w 286"/>
                      <a:gd name="T83" fmla="*/ 4625 h 212"/>
                      <a:gd name="T84" fmla="*/ 17186 w 286"/>
                      <a:gd name="T85" fmla="*/ 4618 h 212"/>
                      <a:gd name="T86" fmla="*/ 16154 w 286"/>
                      <a:gd name="T87" fmla="*/ 4625 h 212"/>
                      <a:gd name="T88" fmla="*/ 15350 w 286"/>
                      <a:gd name="T89" fmla="*/ 4625 h 212"/>
                      <a:gd name="T90" fmla="*/ 15218 w 286"/>
                      <a:gd name="T91" fmla="*/ 4338 h 212"/>
                      <a:gd name="T92" fmla="*/ 14896 w 286"/>
                      <a:gd name="T93" fmla="*/ 3912 h 212"/>
                      <a:gd name="T94" fmla="*/ 14896 w 286"/>
                      <a:gd name="T95" fmla="*/ 3677 h 212"/>
                      <a:gd name="T96" fmla="*/ 14032 w 286"/>
                      <a:gd name="T97" fmla="*/ 3369 h 212"/>
                      <a:gd name="T98" fmla="*/ 12965 w 286"/>
                      <a:gd name="T99" fmla="*/ 3011 h 212"/>
                      <a:gd name="T100" fmla="*/ 9844 w 286"/>
                      <a:gd name="T101" fmla="*/ 3080 h 212"/>
                      <a:gd name="T102" fmla="*/ 8743 w 286"/>
                      <a:gd name="T103" fmla="*/ 3203 h 212"/>
                      <a:gd name="T104" fmla="*/ 7679 w 286"/>
                      <a:gd name="T105" fmla="*/ 3708 h 21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86"/>
                      <a:gd name="T160" fmla="*/ 0 h 212"/>
                      <a:gd name="T161" fmla="*/ 286 w 286"/>
                      <a:gd name="T162" fmla="*/ 212 h 21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86" h="212">
                        <a:moveTo>
                          <a:pt x="79" y="139"/>
                        </a:moveTo>
                        <a:lnTo>
                          <a:pt x="74" y="139"/>
                        </a:lnTo>
                        <a:lnTo>
                          <a:pt x="70" y="139"/>
                        </a:lnTo>
                        <a:lnTo>
                          <a:pt x="68" y="138"/>
                        </a:lnTo>
                        <a:lnTo>
                          <a:pt x="65" y="134"/>
                        </a:lnTo>
                        <a:lnTo>
                          <a:pt x="63" y="131"/>
                        </a:lnTo>
                        <a:lnTo>
                          <a:pt x="61" y="128"/>
                        </a:lnTo>
                        <a:lnTo>
                          <a:pt x="58" y="124"/>
                        </a:lnTo>
                        <a:lnTo>
                          <a:pt x="52" y="123"/>
                        </a:lnTo>
                        <a:lnTo>
                          <a:pt x="52" y="116"/>
                        </a:lnTo>
                        <a:lnTo>
                          <a:pt x="47" y="109"/>
                        </a:lnTo>
                        <a:lnTo>
                          <a:pt x="39" y="106"/>
                        </a:lnTo>
                        <a:lnTo>
                          <a:pt x="34" y="102"/>
                        </a:lnTo>
                        <a:lnTo>
                          <a:pt x="29" y="100"/>
                        </a:lnTo>
                        <a:lnTo>
                          <a:pt x="25" y="97"/>
                        </a:lnTo>
                        <a:lnTo>
                          <a:pt x="22" y="88"/>
                        </a:lnTo>
                        <a:lnTo>
                          <a:pt x="22" y="80"/>
                        </a:lnTo>
                        <a:lnTo>
                          <a:pt x="20" y="78"/>
                        </a:lnTo>
                        <a:lnTo>
                          <a:pt x="15" y="78"/>
                        </a:lnTo>
                        <a:lnTo>
                          <a:pt x="13" y="69"/>
                        </a:lnTo>
                        <a:lnTo>
                          <a:pt x="13" y="68"/>
                        </a:lnTo>
                        <a:lnTo>
                          <a:pt x="10" y="69"/>
                        </a:lnTo>
                        <a:lnTo>
                          <a:pt x="7" y="75"/>
                        </a:lnTo>
                        <a:lnTo>
                          <a:pt x="6" y="75"/>
                        </a:lnTo>
                        <a:lnTo>
                          <a:pt x="4" y="75"/>
                        </a:lnTo>
                        <a:lnTo>
                          <a:pt x="1" y="73"/>
                        </a:lnTo>
                        <a:lnTo>
                          <a:pt x="0" y="68"/>
                        </a:lnTo>
                        <a:lnTo>
                          <a:pt x="4" y="66"/>
                        </a:lnTo>
                        <a:lnTo>
                          <a:pt x="8" y="63"/>
                        </a:lnTo>
                        <a:lnTo>
                          <a:pt x="10" y="61"/>
                        </a:lnTo>
                        <a:lnTo>
                          <a:pt x="13" y="55"/>
                        </a:lnTo>
                        <a:lnTo>
                          <a:pt x="15" y="50"/>
                        </a:lnTo>
                        <a:lnTo>
                          <a:pt x="20" y="46"/>
                        </a:lnTo>
                        <a:lnTo>
                          <a:pt x="32" y="40"/>
                        </a:lnTo>
                        <a:lnTo>
                          <a:pt x="46" y="40"/>
                        </a:lnTo>
                        <a:lnTo>
                          <a:pt x="48" y="39"/>
                        </a:lnTo>
                        <a:lnTo>
                          <a:pt x="54" y="39"/>
                        </a:lnTo>
                        <a:lnTo>
                          <a:pt x="52" y="25"/>
                        </a:lnTo>
                        <a:lnTo>
                          <a:pt x="51" y="22"/>
                        </a:lnTo>
                        <a:lnTo>
                          <a:pt x="46" y="20"/>
                        </a:lnTo>
                        <a:lnTo>
                          <a:pt x="47" y="18"/>
                        </a:lnTo>
                        <a:lnTo>
                          <a:pt x="49" y="17"/>
                        </a:lnTo>
                        <a:lnTo>
                          <a:pt x="52" y="17"/>
                        </a:lnTo>
                        <a:lnTo>
                          <a:pt x="55" y="15"/>
                        </a:lnTo>
                        <a:lnTo>
                          <a:pt x="57" y="12"/>
                        </a:lnTo>
                        <a:lnTo>
                          <a:pt x="57" y="9"/>
                        </a:lnTo>
                        <a:lnTo>
                          <a:pt x="54" y="4"/>
                        </a:lnTo>
                        <a:lnTo>
                          <a:pt x="54" y="0"/>
                        </a:lnTo>
                        <a:lnTo>
                          <a:pt x="64" y="0"/>
                        </a:lnTo>
                        <a:lnTo>
                          <a:pt x="67" y="2"/>
                        </a:lnTo>
                        <a:lnTo>
                          <a:pt x="72" y="1"/>
                        </a:lnTo>
                        <a:lnTo>
                          <a:pt x="77" y="2"/>
                        </a:lnTo>
                        <a:lnTo>
                          <a:pt x="79" y="4"/>
                        </a:lnTo>
                        <a:lnTo>
                          <a:pt x="79" y="9"/>
                        </a:lnTo>
                        <a:lnTo>
                          <a:pt x="84" y="9"/>
                        </a:lnTo>
                        <a:lnTo>
                          <a:pt x="85" y="7"/>
                        </a:lnTo>
                        <a:lnTo>
                          <a:pt x="86" y="7"/>
                        </a:lnTo>
                        <a:lnTo>
                          <a:pt x="90" y="10"/>
                        </a:lnTo>
                        <a:lnTo>
                          <a:pt x="95" y="10"/>
                        </a:lnTo>
                        <a:lnTo>
                          <a:pt x="101" y="12"/>
                        </a:lnTo>
                        <a:lnTo>
                          <a:pt x="103" y="11"/>
                        </a:lnTo>
                        <a:lnTo>
                          <a:pt x="106" y="14"/>
                        </a:lnTo>
                        <a:lnTo>
                          <a:pt x="111" y="14"/>
                        </a:lnTo>
                        <a:lnTo>
                          <a:pt x="116" y="11"/>
                        </a:lnTo>
                        <a:lnTo>
                          <a:pt x="122" y="11"/>
                        </a:lnTo>
                        <a:lnTo>
                          <a:pt x="124" y="11"/>
                        </a:lnTo>
                        <a:lnTo>
                          <a:pt x="131" y="12"/>
                        </a:lnTo>
                        <a:lnTo>
                          <a:pt x="134" y="11"/>
                        </a:lnTo>
                        <a:lnTo>
                          <a:pt x="139" y="10"/>
                        </a:lnTo>
                        <a:lnTo>
                          <a:pt x="146" y="10"/>
                        </a:lnTo>
                        <a:lnTo>
                          <a:pt x="143" y="12"/>
                        </a:lnTo>
                        <a:lnTo>
                          <a:pt x="143" y="14"/>
                        </a:lnTo>
                        <a:lnTo>
                          <a:pt x="141" y="18"/>
                        </a:lnTo>
                        <a:lnTo>
                          <a:pt x="140" y="20"/>
                        </a:lnTo>
                        <a:lnTo>
                          <a:pt x="143" y="24"/>
                        </a:lnTo>
                        <a:lnTo>
                          <a:pt x="147" y="25"/>
                        </a:lnTo>
                        <a:lnTo>
                          <a:pt x="150" y="25"/>
                        </a:lnTo>
                        <a:lnTo>
                          <a:pt x="153" y="22"/>
                        </a:lnTo>
                        <a:lnTo>
                          <a:pt x="158" y="19"/>
                        </a:lnTo>
                        <a:lnTo>
                          <a:pt x="161" y="18"/>
                        </a:lnTo>
                        <a:lnTo>
                          <a:pt x="163" y="20"/>
                        </a:lnTo>
                        <a:lnTo>
                          <a:pt x="169" y="29"/>
                        </a:lnTo>
                        <a:lnTo>
                          <a:pt x="172" y="29"/>
                        </a:lnTo>
                        <a:lnTo>
                          <a:pt x="175" y="27"/>
                        </a:lnTo>
                        <a:lnTo>
                          <a:pt x="176" y="22"/>
                        </a:lnTo>
                        <a:lnTo>
                          <a:pt x="181" y="22"/>
                        </a:lnTo>
                        <a:lnTo>
                          <a:pt x="184" y="18"/>
                        </a:lnTo>
                        <a:lnTo>
                          <a:pt x="185" y="18"/>
                        </a:lnTo>
                        <a:lnTo>
                          <a:pt x="191" y="19"/>
                        </a:lnTo>
                        <a:lnTo>
                          <a:pt x="197" y="22"/>
                        </a:lnTo>
                        <a:lnTo>
                          <a:pt x="208" y="25"/>
                        </a:lnTo>
                        <a:lnTo>
                          <a:pt x="209" y="22"/>
                        </a:lnTo>
                        <a:lnTo>
                          <a:pt x="210" y="19"/>
                        </a:lnTo>
                        <a:lnTo>
                          <a:pt x="219" y="15"/>
                        </a:lnTo>
                        <a:lnTo>
                          <a:pt x="222" y="14"/>
                        </a:lnTo>
                        <a:lnTo>
                          <a:pt x="222" y="8"/>
                        </a:lnTo>
                        <a:lnTo>
                          <a:pt x="222" y="7"/>
                        </a:lnTo>
                        <a:lnTo>
                          <a:pt x="224" y="7"/>
                        </a:lnTo>
                        <a:lnTo>
                          <a:pt x="229" y="10"/>
                        </a:lnTo>
                        <a:lnTo>
                          <a:pt x="232" y="8"/>
                        </a:lnTo>
                        <a:lnTo>
                          <a:pt x="233" y="8"/>
                        </a:lnTo>
                        <a:lnTo>
                          <a:pt x="237" y="9"/>
                        </a:lnTo>
                        <a:lnTo>
                          <a:pt x="237" y="10"/>
                        </a:lnTo>
                        <a:lnTo>
                          <a:pt x="235" y="18"/>
                        </a:lnTo>
                        <a:lnTo>
                          <a:pt x="237" y="19"/>
                        </a:lnTo>
                        <a:lnTo>
                          <a:pt x="239" y="19"/>
                        </a:lnTo>
                        <a:lnTo>
                          <a:pt x="240" y="20"/>
                        </a:lnTo>
                        <a:lnTo>
                          <a:pt x="240" y="24"/>
                        </a:lnTo>
                        <a:lnTo>
                          <a:pt x="240" y="25"/>
                        </a:lnTo>
                        <a:lnTo>
                          <a:pt x="242" y="29"/>
                        </a:lnTo>
                        <a:lnTo>
                          <a:pt x="242" y="40"/>
                        </a:lnTo>
                        <a:lnTo>
                          <a:pt x="244" y="40"/>
                        </a:lnTo>
                        <a:lnTo>
                          <a:pt x="247" y="39"/>
                        </a:lnTo>
                        <a:lnTo>
                          <a:pt x="250" y="46"/>
                        </a:lnTo>
                        <a:lnTo>
                          <a:pt x="252" y="47"/>
                        </a:lnTo>
                        <a:lnTo>
                          <a:pt x="255" y="50"/>
                        </a:lnTo>
                        <a:lnTo>
                          <a:pt x="259" y="50"/>
                        </a:lnTo>
                        <a:lnTo>
                          <a:pt x="259" y="55"/>
                        </a:lnTo>
                        <a:lnTo>
                          <a:pt x="257" y="55"/>
                        </a:lnTo>
                        <a:lnTo>
                          <a:pt x="256" y="56"/>
                        </a:lnTo>
                        <a:lnTo>
                          <a:pt x="252" y="56"/>
                        </a:lnTo>
                        <a:lnTo>
                          <a:pt x="252" y="60"/>
                        </a:lnTo>
                        <a:lnTo>
                          <a:pt x="249" y="61"/>
                        </a:lnTo>
                        <a:lnTo>
                          <a:pt x="248" y="62"/>
                        </a:lnTo>
                        <a:lnTo>
                          <a:pt x="248" y="68"/>
                        </a:lnTo>
                        <a:lnTo>
                          <a:pt x="250" y="68"/>
                        </a:lnTo>
                        <a:lnTo>
                          <a:pt x="254" y="62"/>
                        </a:lnTo>
                        <a:lnTo>
                          <a:pt x="257" y="62"/>
                        </a:lnTo>
                        <a:lnTo>
                          <a:pt x="261" y="63"/>
                        </a:lnTo>
                        <a:lnTo>
                          <a:pt x="261" y="66"/>
                        </a:lnTo>
                        <a:lnTo>
                          <a:pt x="261" y="82"/>
                        </a:lnTo>
                        <a:lnTo>
                          <a:pt x="265" y="87"/>
                        </a:lnTo>
                        <a:lnTo>
                          <a:pt x="268" y="87"/>
                        </a:lnTo>
                        <a:lnTo>
                          <a:pt x="270" y="90"/>
                        </a:lnTo>
                        <a:lnTo>
                          <a:pt x="274" y="92"/>
                        </a:lnTo>
                        <a:lnTo>
                          <a:pt x="274" y="93"/>
                        </a:lnTo>
                        <a:lnTo>
                          <a:pt x="274" y="97"/>
                        </a:lnTo>
                        <a:lnTo>
                          <a:pt x="274" y="98"/>
                        </a:lnTo>
                        <a:lnTo>
                          <a:pt x="270" y="102"/>
                        </a:lnTo>
                        <a:lnTo>
                          <a:pt x="270" y="104"/>
                        </a:lnTo>
                        <a:lnTo>
                          <a:pt x="267" y="106"/>
                        </a:lnTo>
                        <a:lnTo>
                          <a:pt x="268" y="111"/>
                        </a:lnTo>
                        <a:lnTo>
                          <a:pt x="268" y="124"/>
                        </a:lnTo>
                        <a:lnTo>
                          <a:pt x="274" y="128"/>
                        </a:lnTo>
                        <a:lnTo>
                          <a:pt x="278" y="128"/>
                        </a:lnTo>
                        <a:lnTo>
                          <a:pt x="278" y="138"/>
                        </a:lnTo>
                        <a:lnTo>
                          <a:pt x="280" y="136"/>
                        </a:lnTo>
                        <a:lnTo>
                          <a:pt x="283" y="139"/>
                        </a:lnTo>
                        <a:lnTo>
                          <a:pt x="283" y="141"/>
                        </a:lnTo>
                        <a:lnTo>
                          <a:pt x="282" y="142"/>
                        </a:lnTo>
                        <a:lnTo>
                          <a:pt x="278" y="145"/>
                        </a:lnTo>
                        <a:lnTo>
                          <a:pt x="277" y="151"/>
                        </a:lnTo>
                        <a:lnTo>
                          <a:pt x="278" y="151"/>
                        </a:lnTo>
                        <a:lnTo>
                          <a:pt x="280" y="152"/>
                        </a:lnTo>
                        <a:lnTo>
                          <a:pt x="282" y="152"/>
                        </a:lnTo>
                        <a:lnTo>
                          <a:pt x="282" y="156"/>
                        </a:lnTo>
                        <a:lnTo>
                          <a:pt x="285" y="159"/>
                        </a:lnTo>
                        <a:lnTo>
                          <a:pt x="285" y="162"/>
                        </a:lnTo>
                        <a:lnTo>
                          <a:pt x="286" y="168"/>
                        </a:lnTo>
                        <a:lnTo>
                          <a:pt x="285" y="168"/>
                        </a:lnTo>
                        <a:lnTo>
                          <a:pt x="282" y="165"/>
                        </a:lnTo>
                        <a:lnTo>
                          <a:pt x="280" y="165"/>
                        </a:lnTo>
                        <a:lnTo>
                          <a:pt x="278" y="165"/>
                        </a:lnTo>
                        <a:lnTo>
                          <a:pt x="277" y="162"/>
                        </a:lnTo>
                        <a:lnTo>
                          <a:pt x="270" y="161"/>
                        </a:lnTo>
                        <a:lnTo>
                          <a:pt x="264" y="164"/>
                        </a:lnTo>
                        <a:lnTo>
                          <a:pt x="264" y="165"/>
                        </a:lnTo>
                        <a:lnTo>
                          <a:pt x="265" y="165"/>
                        </a:lnTo>
                        <a:lnTo>
                          <a:pt x="267" y="168"/>
                        </a:lnTo>
                        <a:lnTo>
                          <a:pt x="264" y="171"/>
                        </a:lnTo>
                        <a:lnTo>
                          <a:pt x="265" y="174"/>
                        </a:lnTo>
                        <a:lnTo>
                          <a:pt x="271" y="172"/>
                        </a:lnTo>
                        <a:lnTo>
                          <a:pt x="273" y="174"/>
                        </a:lnTo>
                        <a:lnTo>
                          <a:pt x="273" y="176"/>
                        </a:lnTo>
                        <a:lnTo>
                          <a:pt x="273" y="177"/>
                        </a:lnTo>
                        <a:lnTo>
                          <a:pt x="274" y="177"/>
                        </a:lnTo>
                        <a:lnTo>
                          <a:pt x="274" y="179"/>
                        </a:lnTo>
                        <a:lnTo>
                          <a:pt x="272" y="181"/>
                        </a:lnTo>
                        <a:lnTo>
                          <a:pt x="271" y="186"/>
                        </a:lnTo>
                        <a:lnTo>
                          <a:pt x="271" y="189"/>
                        </a:lnTo>
                        <a:lnTo>
                          <a:pt x="267" y="196"/>
                        </a:lnTo>
                        <a:lnTo>
                          <a:pt x="267" y="197"/>
                        </a:lnTo>
                        <a:lnTo>
                          <a:pt x="257" y="197"/>
                        </a:lnTo>
                        <a:lnTo>
                          <a:pt x="255" y="199"/>
                        </a:lnTo>
                        <a:lnTo>
                          <a:pt x="252" y="194"/>
                        </a:lnTo>
                        <a:lnTo>
                          <a:pt x="248" y="194"/>
                        </a:lnTo>
                        <a:lnTo>
                          <a:pt x="245" y="197"/>
                        </a:lnTo>
                        <a:lnTo>
                          <a:pt x="245" y="201"/>
                        </a:lnTo>
                        <a:lnTo>
                          <a:pt x="242" y="206"/>
                        </a:lnTo>
                        <a:lnTo>
                          <a:pt x="242" y="209"/>
                        </a:lnTo>
                        <a:lnTo>
                          <a:pt x="237" y="209"/>
                        </a:lnTo>
                        <a:lnTo>
                          <a:pt x="234" y="212"/>
                        </a:lnTo>
                        <a:lnTo>
                          <a:pt x="230" y="212"/>
                        </a:lnTo>
                        <a:lnTo>
                          <a:pt x="227" y="207"/>
                        </a:lnTo>
                        <a:lnTo>
                          <a:pt x="224" y="204"/>
                        </a:lnTo>
                        <a:lnTo>
                          <a:pt x="223" y="203"/>
                        </a:lnTo>
                        <a:lnTo>
                          <a:pt x="219" y="206"/>
                        </a:lnTo>
                        <a:lnTo>
                          <a:pt x="217" y="207"/>
                        </a:lnTo>
                        <a:lnTo>
                          <a:pt x="216" y="206"/>
                        </a:lnTo>
                        <a:lnTo>
                          <a:pt x="216" y="203"/>
                        </a:lnTo>
                        <a:lnTo>
                          <a:pt x="219" y="202"/>
                        </a:lnTo>
                        <a:lnTo>
                          <a:pt x="220" y="199"/>
                        </a:lnTo>
                        <a:lnTo>
                          <a:pt x="222" y="189"/>
                        </a:lnTo>
                        <a:lnTo>
                          <a:pt x="219" y="187"/>
                        </a:lnTo>
                        <a:lnTo>
                          <a:pt x="219" y="177"/>
                        </a:lnTo>
                        <a:lnTo>
                          <a:pt x="216" y="174"/>
                        </a:lnTo>
                        <a:lnTo>
                          <a:pt x="216" y="168"/>
                        </a:lnTo>
                        <a:lnTo>
                          <a:pt x="210" y="165"/>
                        </a:lnTo>
                        <a:lnTo>
                          <a:pt x="208" y="162"/>
                        </a:lnTo>
                        <a:lnTo>
                          <a:pt x="208" y="161"/>
                        </a:lnTo>
                        <a:lnTo>
                          <a:pt x="207" y="160"/>
                        </a:lnTo>
                        <a:lnTo>
                          <a:pt x="201" y="162"/>
                        </a:lnTo>
                        <a:lnTo>
                          <a:pt x="199" y="164"/>
                        </a:lnTo>
                        <a:lnTo>
                          <a:pt x="197" y="164"/>
                        </a:lnTo>
                        <a:lnTo>
                          <a:pt x="194" y="161"/>
                        </a:lnTo>
                        <a:lnTo>
                          <a:pt x="191" y="160"/>
                        </a:lnTo>
                        <a:lnTo>
                          <a:pt x="188" y="161"/>
                        </a:lnTo>
                        <a:lnTo>
                          <a:pt x="187" y="165"/>
                        </a:lnTo>
                        <a:lnTo>
                          <a:pt x="184" y="165"/>
                        </a:lnTo>
                        <a:lnTo>
                          <a:pt x="184" y="164"/>
                        </a:lnTo>
                        <a:lnTo>
                          <a:pt x="184" y="161"/>
                        </a:lnTo>
                        <a:lnTo>
                          <a:pt x="182" y="161"/>
                        </a:lnTo>
                        <a:lnTo>
                          <a:pt x="178" y="165"/>
                        </a:lnTo>
                        <a:lnTo>
                          <a:pt x="170" y="168"/>
                        </a:lnTo>
                        <a:lnTo>
                          <a:pt x="170" y="167"/>
                        </a:lnTo>
                        <a:lnTo>
                          <a:pt x="171" y="162"/>
                        </a:lnTo>
                        <a:lnTo>
                          <a:pt x="173" y="155"/>
                        </a:lnTo>
                        <a:lnTo>
                          <a:pt x="176" y="155"/>
                        </a:lnTo>
                        <a:lnTo>
                          <a:pt x="176" y="153"/>
                        </a:lnTo>
                        <a:lnTo>
                          <a:pt x="175" y="145"/>
                        </a:lnTo>
                        <a:lnTo>
                          <a:pt x="175" y="143"/>
                        </a:lnTo>
                        <a:lnTo>
                          <a:pt x="172" y="141"/>
                        </a:lnTo>
                        <a:lnTo>
                          <a:pt x="171" y="139"/>
                        </a:lnTo>
                        <a:lnTo>
                          <a:pt x="170" y="136"/>
                        </a:lnTo>
                        <a:lnTo>
                          <a:pt x="171" y="134"/>
                        </a:lnTo>
                        <a:lnTo>
                          <a:pt x="170" y="131"/>
                        </a:lnTo>
                        <a:lnTo>
                          <a:pt x="171" y="131"/>
                        </a:lnTo>
                        <a:lnTo>
                          <a:pt x="171" y="129"/>
                        </a:lnTo>
                        <a:lnTo>
                          <a:pt x="169" y="128"/>
                        </a:lnTo>
                        <a:lnTo>
                          <a:pt x="165" y="126"/>
                        </a:lnTo>
                        <a:lnTo>
                          <a:pt x="163" y="124"/>
                        </a:lnTo>
                        <a:lnTo>
                          <a:pt x="165" y="123"/>
                        </a:lnTo>
                        <a:lnTo>
                          <a:pt x="163" y="120"/>
                        </a:lnTo>
                        <a:lnTo>
                          <a:pt x="161" y="118"/>
                        </a:lnTo>
                        <a:lnTo>
                          <a:pt x="158" y="116"/>
                        </a:lnTo>
                        <a:lnTo>
                          <a:pt x="156" y="113"/>
                        </a:lnTo>
                        <a:lnTo>
                          <a:pt x="151" y="110"/>
                        </a:lnTo>
                        <a:lnTo>
                          <a:pt x="149" y="106"/>
                        </a:lnTo>
                        <a:lnTo>
                          <a:pt x="140" y="104"/>
                        </a:lnTo>
                        <a:lnTo>
                          <a:pt x="122" y="104"/>
                        </a:lnTo>
                        <a:lnTo>
                          <a:pt x="122" y="108"/>
                        </a:lnTo>
                        <a:lnTo>
                          <a:pt x="118" y="108"/>
                        </a:lnTo>
                        <a:lnTo>
                          <a:pt x="113" y="109"/>
                        </a:lnTo>
                        <a:lnTo>
                          <a:pt x="111" y="110"/>
                        </a:lnTo>
                        <a:lnTo>
                          <a:pt x="109" y="108"/>
                        </a:lnTo>
                        <a:lnTo>
                          <a:pt x="102" y="108"/>
                        </a:lnTo>
                        <a:lnTo>
                          <a:pt x="100" y="109"/>
                        </a:lnTo>
                        <a:lnTo>
                          <a:pt x="101" y="114"/>
                        </a:lnTo>
                        <a:lnTo>
                          <a:pt x="97" y="120"/>
                        </a:lnTo>
                        <a:lnTo>
                          <a:pt x="94" y="124"/>
                        </a:lnTo>
                        <a:lnTo>
                          <a:pt x="90" y="128"/>
                        </a:lnTo>
                        <a:lnTo>
                          <a:pt x="90" y="129"/>
                        </a:lnTo>
                        <a:lnTo>
                          <a:pt x="89" y="131"/>
                        </a:lnTo>
                        <a:lnTo>
                          <a:pt x="85" y="131"/>
                        </a:lnTo>
                        <a:lnTo>
                          <a:pt x="82" y="139"/>
                        </a:lnTo>
                        <a:lnTo>
                          <a:pt x="80" y="139"/>
                        </a:lnTo>
                        <a:lnTo>
                          <a:pt x="79" y="139"/>
                        </a:lnTo>
                        <a:close/>
                      </a:path>
                    </a:pathLst>
                  </a:custGeom>
                  <a:solidFill>
                    <a:srgbClr val="D9969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1" name="Freeform 49"/>
                  <p:cNvSpPr>
                    <a:spLocks/>
                  </p:cNvSpPr>
                  <p:nvPr/>
                </p:nvSpPr>
                <p:spPr bwMode="auto">
                  <a:xfrm>
                    <a:off x="652" y="2006"/>
                    <a:ext cx="306" cy="223"/>
                  </a:xfrm>
                  <a:custGeom>
                    <a:avLst/>
                    <a:gdLst>
                      <a:gd name="T0" fmla="*/ 5627 w 286"/>
                      <a:gd name="T1" fmla="*/ 3771 h 212"/>
                      <a:gd name="T2" fmla="*/ 4471 w 286"/>
                      <a:gd name="T3" fmla="*/ 3247 h 212"/>
                      <a:gd name="T4" fmla="*/ 2126 w 286"/>
                      <a:gd name="T5" fmla="*/ 2738 h 212"/>
                      <a:gd name="T6" fmla="*/ 1076 w 286"/>
                      <a:gd name="T7" fmla="*/ 1954 h 212"/>
                      <a:gd name="T8" fmla="*/ 4 w 286"/>
                      <a:gd name="T9" fmla="*/ 2127 h 212"/>
                      <a:gd name="T10" fmla="*/ 879 w 286"/>
                      <a:gd name="T11" fmla="*/ 1682 h 212"/>
                      <a:gd name="T12" fmla="*/ 3906 w 286"/>
                      <a:gd name="T13" fmla="*/ 1107 h 212"/>
                      <a:gd name="T14" fmla="*/ 3906 w 286"/>
                      <a:gd name="T15" fmla="*/ 526 h 212"/>
                      <a:gd name="T16" fmla="*/ 4915 w 286"/>
                      <a:gd name="T17" fmla="*/ 352 h 212"/>
                      <a:gd name="T18" fmla="*/ 5828 w 286"/>
                      <a:gd name="T19" fmla="*/ 2 h 212"/>
                      <a:gd name="T20" fmla="*/ 7276 w 286"/>
                      <a:gd name="T21" fmla="*/ 9 h 212"/>
                      <a:gd name="T22" fmla="*/ 8743 w 286"/>
                      <a:gd name="T23" fmla="*/ 352 h 212"/>
                      <a:gd name="T24" fmla="*/ 10624 w 286"/>
                      <a:gd name="T25" fmla="*/ 335 h 212"/>
                      <a:gd name="T26" fmla="*/ 12550 w 286"/>
                      <a:gd name="T27" fmla="*/ 318 h 212"/>
                      <a:gd name="T28" fmla="*/ 12327 w 286"/>
                      <a:gd name="T29" fmla="*/ 644 h 212"/>
                      <a:gd name="T30" fmla="*/ 13959 w 286"/>
                      <a:gd name="T31" fmla="*/ 475 h 212"/>
                      <a:gd name="T32" fmla="*/ 15218 w 286"/>
                      <a:gd name="T33" fmla="*/ 582 h 212"/>
                      <a:gd name="T34" fmla="*/ 17096 w 286"/>
                      <a:gd name="T35" fmla="*/ 582 h 212"/>
                      <a:gd name="T36" fmla="*/ 19305 w 286"/>
                      <a:gd name="T37" fmla="*/ 389 h 212"/>
                      <a:gd name="T38" fmla="*/ 19786 w 286"/>
                      <a:gd name="T39" fmla="*/ 318 h 212"/>
                      <a:gd name="T40" fmla="*/ 20329 w 286"/>
                      <a:gd name="T41" fmla="*/ 475 h 212"/>
                      <a:gd name="T42" fmla="*/ 20809 w 286"/>
                      <a:gd name="T43" fmla="*/ 677 h 212"/>
                      <a:gd name="T44" fmla="*/ 21554 w 286"/>
                      <a:gd name="T45" fmla="*/ 1288 h 212"/>
                      <a:gd name="T46" fmla="*/ 22264 w 286"/>
                      <a:gd name="T47" fmla="*/ 1520 h 212"/>
                      <a:gd name="T48" fmla="*/ 21522 w 286"/>
                      <a:gd name="T49" fmla="*/ 1745 h 212"/>
                      <a:gd name="T50" fmla="*/ 22522 w 286"/>
                      <a:gd name="T51" fmla="*/ 1766 h 212"/>
                      <a:gd name="T52" fmla="*/ 23456 w 286"/>
                      <a:gd name="T53" fmla="*/ 2521 h 212"/>
                      <a:gd name="T54" fmla="*/ 23456 w 286"/>
                      <a:gd name="T55" fmla="*/ 2880 h 212"/>
                      <a:gd name="T56" fmla="*/ 23159 w 286"/>
                      <a:gd name="T57" fmla="*/ 3504 h 212"/>
                      <a:gd name="T58" fmla="*/ 24619 w 286"/>
                      <a:gd name="T59" fmla="*/ 3912 h 212"/>
                      <a:gd name="T60" fmla="*/ 24011 w 286"/>
                      <a:gd name="T61" fmla="*/ 4290 h 212"/>
                      <a:gd name="T62" fmla="*/ 24643 w 286"/>
                      <a:gd name="T63" fmla="*/ 4554 h 212"/>
                      <a:gd name="T64" fmla="*/ 24011 w 286"/>
                      <a:gd name="T65" fmla="*/ 4625 h 212"/>
                      <a:gd name="T66" fmla="*/ 23027 w 286"/>
                      <a:gd name="T67" fmla="*/ 4625 h 212"/>
                      <a:gd name="T68" fmla="*/ 23644 w 286"/>
                      <a:gd name="T69" fmla="*/ 4865 h 212"/>
                      <a:gd name="T70" fmla="*/ 23596 w 286"/>
                      <a:gd name="T71" fmla="*/ 5082 h 212"/>
                      <a:gd name="T72" fmla="*/ 22264 w 286"/>
                      <a:gd name="T73" fmla="*/ 5558 h 212"/>
                      <a:gd name="T74" fmla="*/ 21170 w 286"/>
                      <a:gd name="T75" fmla="*/ 5654 h 212"/>
                      <a:gd name="T76" fmla="*/ 19942 w 286"/>
                      <a:gd name="T77" fmla="*/ 5956 h 212"/>
                      <a:gd name="T78" fmla="*/ 18800 w 286"/>
                      <a:gd name="T79" fmla="*/ 5846 h 212"/>
                      <a:gd name="T80" fmla="*/ 19305 w 286"/>
                      <a:gd name="T81" fmla="*/ 5311 h 212"/>
                      <a:gd name="T82" fmla="*/ 18246 w 286"/>
                      <a:gd name="T83" fmla="*/ 4625 h 212"/>
                      <a:gd name="T84" fmla="*/ 17186 w 286"/>
                      <a:gd name="T85" fmla="*/ 4618 h 212"/>
                      <a:gd name="T86" fmla="*/ 16154 w 286"/>
                      <a:gd name="T87" fmla="*/ 4625 h 212"/>
                      <a:gd name="T88" fmla="*/ 15350 w 286"/>
                      <a:gd name="T89" fmla="*/ 4625 h 212"/>
                      <a:gd name="T90" fmla="*/ 15218 w 286"/>
                      <a:gd name="T91" fmla="*/ 4338 h 212"/>
                      <a:gd name="T92" fmla="*/ 14896 w 286"/>
                      <a:gd name="T93" fmla="*/ 3912 h 212"/>
                      <a:gd name="T94" fmla="*/ 14896 w 286"/>
                      <a:gd name="T95" fmla="*/ 3677 h 212"/>
                      <a:gd name="T96" fmla="*/ 14032 w 286"/>
                      <a:gd name="T97" fmla="*/ 3369 h 212"/>
                      <a:gd name="T98" fmla="*/ 12965 w 286"/>
                      <a:gd name="T99" fmla="*/ 3011 h 212"/>
                      <a:gd name="T100" fmla="*/ 9844 w 286"/>
                      <a:gd name="T101" fmla="*/ 3080 h 212"/>
                      <a:gd name="T102" fmla="*/ 8743 w 286"/>
                      <a:gd name="T103" fmla="*/ 3203 h 212"/>
                      <a:gd name="T104" fmla="*/ 7679 w 286"/>
                      <a:gd name="T105" fmla="*/ 3708 h 212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286"/>
                      <a:gd name="T160" fmla="*/ 0 h 212"/>
                      <a:gd name="T161" fmla="*/ 286 w 286"/>
                      <a:gd name="T162" fmla="*/ 212 h 212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286" h="212">
                        <a:moveTo>
                          <a:pt x="79" y="139"/>
                        </a:moveTo>
                        <a:lnTo>
                          <a:pt x="74" y="139"/>
                        </a:lnTo>
                        <a:lnTo>
                          <a:pt x="70" y="139"/>
                        </a:lnTo>
                        <a:lnTo>
                          <a:pt x="68" y="138"/>
                        </a:lnTo>
                        <a:lnTo>
                          <a:pt x="65" y="134"/>
                        </a:lnTo>
                        <a:lnTo>
                          <a:pt x="63" y="131"/>
                        </a:lnTo>
                        <a:lnTo>
                          <a:pt x="61" y="128"/>
                        </a:lnTo>
                        <a:lnTo>
                          <a:pt x="58" y="124"/>
                        </a:lnTo>
                        <a:lnTo>
                          <a:pt x="52" y="123"/>
                        </a:lnTo>
                        <a:lnTo>
                          <a:pt x="52" y="116"/>
                        </a:lnTo>
                        <a:lnTo>
                          <a:pt x="47" y="109"/>
                        </a:lnTo>
                        <a:lnTo>
                          <a:pt x="39" y="106"/>
                        </a:lnTo>
                        <a:lnTo>
                          <a:pt x="34" y="102"/>
                        </a:lnTo>
                        <a:lnTo>
                          <a:pt x="29" y="100"/>
                        </a:lnTo>
                        <a:lnTo>
                          <a:pt x="25" y="97"/>
                        </a:lnTo>
                        <a:lnTo>
                          <a:pt x="22" y="88"/>
                        </a:lnTo>
                        <a:lnTo>
                          <a:pt x="22" y="80"/>
                        </a:lnTo>
                        <a:lnTo>
                          <a:pt x="20" y="78"/>
                        </a:lnTo>
                        <a:lnTo>
                          <a:pt x="15" y="78"/>
                        </a:lnTo>
                        <a:lnTo>
                          <a:pt x="13" y="69"/>
                        </a:lnTo>
                        <a:lnTo>
                          <a:pt x="13" y="68"/>
                        </a:lnTo>
                        <a:lnTo>
                          <a:pt x="10" y="69"/>
                        </a:lnTo>
                        <a:lnTo>
                          <a:pt x="7" y="75"/>
                        </a:lnTo>
                        <a:lnTo>
                          <a:pt x="6" y="75"/>
                        </a:lnTo>
                        <a:lnTo>
                          <a:pt x="4" y="75"/>
                        </a:lnTo>
                        <a:lnTo>
                          <a:pt x="1" y="73"/>
                        </a:lnTo>
                        <a:lnTo>
                          <a:pt x="0" y="68"/>
                        </a:lnTo>
                        <a:lnTo>
                          <a:pt x="4" y="66"/>
                        </a:lnTo>
                        <a:lnTo>
                          <a:pt x="8" y="63"/>
                        </a:lnTo>
                        <a:lnTo>
                          <a:pt x="10" y="61"/>
                        </a:lnTo>
                        <a:lnTo>
                          <a:pt x="13" y="55"/>
                        </a:lnTo>
                        <a:lnTo>
                          <a:pt x="15" y="50"/>
                        </a:lnTo>
                        <a:lnTo>
                          <a:pt x="20" y="46"/>
                        </a:lnTo>
                        <a:lnTo>
                          <a:pt x="32" y="40"/>
                        </a:lnTo>
                        <a:lnTo>
                          <a:pt x="46" y="40"/>
                        </a:lnTo>
                        <a:lnTo>
                          <a:pt x="48" y="39"/>
                        </a:lnTo>
                        <a:lnTo>
                          <a:pt x="54" y="39"/>
                        </a:lnTo>
                        <a:lnTo>
                          <a:pt x="52" y="25"/>
                        </a:lnTo>
                        <a:lnTo>
                          <a:pt x="51" y="22"/>
                        </a:lnTo>
                        <a:lnTo>
                          <a:pt x="46" y="20"/>
                        </a:lnTo>
                        <a:lnTo>
                          <a:pt x="47" y="18"/>
                        </a:lnTo>
                        <a:lnTo>
                          <a:pt x="49" y="17"/>
                        </a:lnTo>
                        <a:lnTo>
                          <a:pt x="52" y="17"/>
                        </a:lnTo>
                        <a:lnTo>
                          <a:pt x="55" y="15"/>
                        </a:lnTo>
                        <a:lnTo>
                          <a:pt x="57" y="12"/>
                        </a:lnTo>
                        <a:lnTo>
                          <a:pt x="57" y="9"/>
                        </a:lnTo>
                        <a:lnTo>
                          <a:pt x="54" y="4"/>
                        </a:lnTo>
                        <a:lnTo>
                          <a:pt x="54" y="0"/>
                        </a:lnTo>
                        <a:lnTo>
                          <a:pt x="64" y="0"/>
                        </a:lnTo>
                        <a:lnTo>
                          <a:pt x="67" y="2"/>
                        </a:lnTo>
                        <a:lnTo>
                          <a:pt x="72" y="1"/>
                        </a:lnTo>
                        <a:lnTo>
                          <a:pt x="77" y="2"/>
                        </a:lnTo>
                        <a:lnTo>
                          <a:pt x="79" y="4"/>
                        </a:lnTo>
                        <a:lnTo>
                          <a:pt x="79" y="9"/>
                        </a:lnTo>
                        <a:lnTo>
                          <a:pt x="84" y="9"/>
                        </a:lnTo>
                        <a:lnTo>
                          <a:pt x="85" y="7"/>
                        </a:lnTo>
                        <a:lnTo>
                          <a:pt x="86" y="7"/>
                        </a:lnTo>
                        <a:lnTo>
                          <a:pt x="90" y="10"/>
                        </a:lnTo>
                        <a:lnTo>
                          <a:pt x="95" y="10"/>
                        </a:lnTo>
                        <a:lnTo>
                          <a:pt x="101" y="12"/>
                        </a:lnTo>
                        <a:lnTo>
                          <a:pt x="103" y="11"/>
                        </a:lnTo>
                        <a:lnTo>
                          <a:pt x="106" y="14"/>
                        </a:lnTo>
                        <a:lnTo>
                          <a:pt x="111" y="14"/>
                        </a:lnTo>
                        <a:lnTo>
                          <a:pt x="116" y="11"/>
                        </a:lnTo>
                        <a:lnTo>
                          <a:pt x="122" y="11"/>
                        </a:lnTo>
                        <a:lnTo>
                          <a:pt x="124" y="11"/>
                        </a:lnTo>
                        <a:lnTo>
                          <a:pt x="131" y="12"/>
                        </a:lnTo>
                        <a:lnTo>
                          <a:pt x="134" y="11"/>
                        </a:lnTo>
                        <a:lnTo>
                          <a:pt x="139" y="10"/>
                        </a:lnTo>
                        <a:lnTo>
                          <a:pt x="146" y="10"/>
                        </a:lnTo>
                        <a:lnTo>
                          <a:pt x="143" y="12"/>
                        </a:lnTo>
                        <a:lnTo>
                          <a:pt x="143" y="14"/>
                        </a:lnTo>
                        <a:lnTo>
                          <a:pt x="141" y="18"/>
                        </a:lnTo>
                        <a:lnTo>
                          <a:pt x="140" y="20"/>
                        </a:lnTo>
                        <a:lnTo>
                          <a:pt x="143" y="24"/>
                        </a:lnTo>
                        <a:lnTo>
                          <a:pt x="147" y="25"/>
                        </a:lnTo>
                        <a:lnTo>
                          <a:pt x="150" y="25"/>
                        </a:lnTo>
                        <a:lnTo>
                          <a:pt x="153" y="22"/>
                        </a:lnTo>
                        <a:lnTo>
                          <a:pt x="158" y="19"/>
                        </a:lnTo>
                        <a:lnTo>
                          <a:pt x="161" y="18"/>
                        </a:lnTo>
                        <a:lnTo>
                          <a:pt x="163" y="20"/>
                        </a:lnTo>
                        <a:lnTo>
                          <a:pt x="169" y="29"/>
                        </a:lnTo>
                        <a:lnTo>
                          <a:pt x="172" y="29"/>
                        </a:lnTo>
                        <a:lnTo>
                          <a:pt x="175" y="27"/>
                        </a:lnTo>
                        <a:lnTo>
                          <a:pt x="176" y="22"/>
                        </a:lnTo>
                        <a:lnTo>
                          <a:pt x="181" y="22"/>
                        </a:lnTo>
                        <a:lnTo>
                          <a:pt x="184" y="18"/>
                        </a:lnTo>
                        <a:lnTo>
                          <a:pt x="185" y="18"/>
                        </a:lnTo>
                        <a:lnTo>
                          <a:pt x="191" y="19"/>
                        </a:lnTo>
                        <a:lnTo>
                          <a:pt x="197" y="22"/>
                        </a:lnTo>
                        <a:lnTo>
                          <a:pt x="208" y="25"/>
                        </a:lnTo>
                        <a:lnTo>
                          <a:pt x="209" y="22"/>
                        </a:lnTo>
                        <a:lnTo>
                          <a:pt x="210" y="19"/>
                        </a:lnTo>
                        <a:lnTo>
                          <a:pt x="219" y="15"/>
                        </a:lnTo>
                        <a:lnTo>
                          <a:pt x="222" y="14"/>
                        </a:lnTo>
                        <a:lnTo>
                          <a:pt x="222" y="8"/>
                        </a:lnTo>
                        <a:lnTo>
                          <a:pt x="222" y="7"/>
                        </a:lnTo>
                        <a:lnTo>
                          <a:pt x="224" y="7"/>
                        </a:lnTo>
                        <a:lnTo>
                          <a:pt x="229" y="10"/>
                        </a:lnTo>
                        <a:lnTo>
                          <a:pt x="232" y="8"/>
                        </a:lnTo>
                        <a:lnTo>
                          <a:pt x="233" y="8"/>
                        </a:lnTo>
                        <a:lnTo>
                          <a:pt x="237" y="9"/>
                        </a:lnTo>
                        <a:lnTo>
                          <a:pt x="237" y="10"/>
                        </a:lnTo>
                        <a:lnTo>
                          <a:pt x="235" y="18"/>
                        </a:lnTo>
                        <a:lnTo>
                          <a:pt x="237" y="19"/>
                        </a:lnTo>
                        <a:lnTo>
                          <a:pt x="239" y="19"/>
                        </a:lnTo>
                        <a:lnTo>
                          <a:pt x="240" y="20"/>
                        </a:lnTo>
                        <a:lnTo>
                          <a:pt x="240" y="24"/>
                        </a:lnTo>
                        <a:lnTo>
                          <a:pt x="240" y="25"/>
                        </a:lnTo>
                        <a:lnTo>
                          <a:pt x="242" y="29"/>
                        </a:lnTo>
                        <a:lnTo>
                          <a:pt x="242" y="40"/>
                        </a:lnTo>
                        <a:lnTo>
                          <a:pt x="244" y="40"/>
                        </a:lnTo>
                        <a:lnTo>
                          <a:pt x="247" y="39"/>
                        </a:lnTo>
                        <a:lnTo>
                          <a:pt x="250" y="46"/>
                        </a:lnTo>
                        <a:lnTo>
                          <a:pt x="252" y="47"/>
                        </a:lnTo>
                        <a:lnTo>
                          <a:pt x="255" y="50"/>
                        </a:lnTo>
                        <a:lnTo>
                          <a:pt x="259" y="50"/>
                        </a:lnTo>
                        <a:lnTo>
                          <a:pt x="259" y="55"/>
                        </a:lnTo>
                        <a:lnTo>
                          <a:pt x="257" y="55"/>
                        </a:lnTo>
                        <a:lnTo>
                          <a:pt x="256" y="56"/>
                        </a:lnTo>
                        <a:lnTo>
                          <a:pt x="252" y="56"/>
                        </a:lnTo>
                        <a:lnTo>
                          <a:pt x="252" y="60"/>
                        </a:lnTo>
                        <a:lnTo>
                          <a:pt x="249" y="61"/>
                        </a:lnTo>
                        <a:lnTo>
                          <a:pt x="248" y="62"/>
                        </a:lnTo>
                        <a:lnTo>
                          <a:pt x="248" y="68"/>
                        </a:lnTo>
                        <a:lnTo>
                          <a:pt x="250" y="68"/>
                        </a:lnTo>
                        <a:lnTo>
                          <a:pt x="254" y="62"/>
                        </a:lnTo>
                        <a:lnTo>
                          <a:pt x="257" y="62"/>
                        </a:lnTo>
                        <a:lnTo>
                          <a:pt x="261" y="63"/>
                        </a:lnTo>
                        <a:lnTo>
                          <a:pt x="261" y="66"/>
                        </a:lnTo>
                        <a:lnTo>
                          <a:pt x="261" y="82"/>
                        </a:lnTo>
                        <a:lnTo>
                          <a:pt x="265" y="87"/>
                        </a:lnTo>
                        <a:lnTo>
                          <a:pt x="268" y="87"/>
                        </a:lnTo>
                        <a:lnTo>
                          <a:pt x="270" y="90"/>
                        </a:lnTo>
                        <a:lnTo>
                          <a:pt x="274" y="92"/>
                        </a:lnTo>
                        <a:lnTo>
                          <a:pt x="274" y="93"/>
                        </a:lnTo>
                        <a:lnTo>
                          <a:pt x="274" y="97"/>
                        </a:lnTo>
                        <a:lnTo>
                          <a:pt x="274" y="98"/>
                        </a:lnTo>
                        <a:lnTo>
                          <a:pt x="270" y="102"/>
                        </a:lnTo>
                        <a:lnTo>
                          <a:pt x="270" y="104"/>
                        </a:lnTo>
                        <a:lnTo>
                          <a:pt x="267" y="106"/>
                        </a:lnTo>
                        <a:lnTo>
                          <a:pt x="268" y="111"/>
                        </a:lnTo>
                        <a:lnTo>
                          <a:pt x="268" y="124"/>
                        </a:lnTo>
                        <a:lnTo>
                          <a:pt x="274" y="128"/>
                        </a:lnTo>
                        <a:lnTo>
                          <a:pt x="278" y="128"/>
                        </a:lnTo>
                        <a:lnTo>
                          <a:pt x="278" y="138"/>
                        </a:lnTo>
                        <a:lnTo>
                          <a:pt x="280" y="136"/>
                        </a:lnTo>
                        <a:lnTo>
                          <a:pt x="283" y="139"/>
                        </a:lnTo>
                        <a:lnTo>
                          <a:pt x="283" y="141"/>
                        </a:lnTo>
                        <a:lnTo>
                          <a:pt x="282" y="142"/>
                        </a:lnTo>
                        <a:lnTo>
                          <a:pt x="278" y="145"/>
                        </a:lnTo>
                        <a:lnTo>
                          <a:pt x="277" y="151"/>
                        </a:lnTo>
                        <a:lnTo>
                          <a:pt x="278" y="151"/>
                        </a:lnTo>
                        <a:lnTo>
                          <a:pt x="280" y="152"/>
                        </a:lnTo>
                        <a:lnTo>
                          <a:pt x="282" y="152"/>
                        </a:lnTo>
                        <a:lnTo>
                          <a:pt x="282" y="156"/>
                        </a:lnTo>
                        <a:lnTo>
                          <a:pt x="285" y="159"/>
                        </a:lnTo>
                        <a:lnTo>
                          <a:pt x="285" y="162"/>
                        </a:lnTo>
                        <a:lnTo>
                          <a:pt x="286" y="168"/>
                        </a:lnTo>
                        <a:lnTo>
                          <a:pt x="285" y="168"/>
                        </a:lnTo>
                        <a:lnTo>
                          <a:pt x="282" y="165"/>
                        </a:lnTo>
                        <a:lnTo>
                          <a:pt x="280" y="165"/>
                        </a:lnTo>
                        <a:lnTo>
                          <a:pt x="278" y="165"/>
                        </a:lnTo>
                        <a:lnTo>
                          <a:pt x="277" y="162"/>
                        </a:lnTo>
                        <a:lnTo>
                          <a:pt x="270" y="161"/>
                        </a:lnTo>
                        <a:lnTo>
                          <a:pt x="264" y="164"/>
                        </a:lnTo>
                        <a:lnTo>
                          <a:pt x="264" y="165"/>
                        </a:lnTo>
                        <a:lnTo>
                          <a:pt x="265" y="165"/>
                        </a:lnTo>
                        <a:lnTo>
                          <a:pt x="267" y="168"/>
                        </a:lnTo>
                        <a:lnTo>
                          <a:pt x="264" y="171"/>
                        </a:lnTo>
                        <a:lnTo>
                          <a:pt x="265" y="174"/>
                        </a:lnTo>
                        <a:lnTo>
                          <a:pt x="271" y="172"/>
                        </a:lnTo>
                        <a:lnTo>
                          <a:pt x="273" y="174"/>
                        </a:lnTo>
                        <a:lnTo>
                          <a:pt x="273" y="176"/>
                        </a:lnTo>
                        <a:lnTo>
                          <a:pt x="273" y="177"/>
                        </a:lnTo>
                        <a:lnTo>
                          <a:pt x="274" y="177"/>
                        </a:lnTo>
                        <a:lnTo>
                          <a:pt x="274" y="179"/>
                        </a:lnTo>
                        <a:lnTo>
                          <a:pt x="272" y="181"/>
                        </a:lnTo>
                        <a:lnTo>
                          <a:pt x="271" y="186"/>
                        </a:lnTo>
                        <a:lnTo>
                          <a:pt x="271" y="189"/>
                        </a:lnTo>
                        <a:lnTo>
                          <a:pt x="267" y="196"/>
                        </a:lnTo>
                        <a:lnTo>
                          <a:pt x="267" y="197"/>
                        </a:lnTo>
                        <a:lnTo>
                          <a:pt x="257" y="197"/>
                        </a:lnTo>
                        <a:lnTo>
                          <a:pt x="255" y="199"/>
                        </a:lnTo>
                        <a:lnTo>
                          <a:pt x="252" y="194"/>
                        </a:lnTo>
                        <a:lnTo>
                          <a:pt x="248" y="194"/>
                        </a:lnTo>
                        <a:lnTo>
                          <a:pt x="245" y="197"/>
                        </a:lnTo>
                        <a:lnTo>
                          <a:pt x="245" y="201"/>
                        </a:lnTo>
                        <a:lnTo>
                          <a:pt x="242" y="206"/>
                        </a:lnTo>
                        <a:lnTo>
                          <a:pt x="242" y="209"/>
                        </a:lnTo>
                        <a:lnTo>
                          <a:pt x="237" y="209"/>
                        </a:lnTo>
                        <a:lnTo>
                          <a:pt x="234" y="212"/>
                        </a:lnTo>
                        <a:lnTo>
                          <a:pt x="230" y="212"/>
                        </a:lnTo>
                        <a:lnTo>
                          <a:pt x="227" y="207"/>
                        </a:lnTo>
                        <a:lnTo>
                          <a:pt x="224" y="204"/>
                        </a:lnTo>
                        <a:lnTo>
                          <a:pt x="223" y="203"/>
                        </a:lnTo>
                        <a:lnTo>
                          <a:pt x="219" y="206"/>
                        </a:lnTo>
                        <a:lnTo>
                          <a:pt x="217" y="207"/>
                        </a:lnTo>
                        <a:lnTo>
                          <a:pt x="216" y="206"/>
                        </a:lnTo>
                        <a:lnTo>
                          <a:pt x="216" y="203"/>
                        </a:lnTo>
                        <a:lnTo>
                          <a:pt x="219" y="202"/>
                        </a:lnTo>
                        <a:lnTo>
                          <a:pt x="220" y="199"/>
                        </a:lnTo>
                        <a:lnTo>
                          <a:pt x="222" y="189"/>
                        </a:lnTo>
                        <a:lnTo>
                          <a:pt x="219" y="187"/>
                        </a:lnTo>
                        <a:lnTo>
                          <a:pt x="219" y="177"/>
                        </a:lnTo>
                        <a:lnTo>
                          <a:pt x="216" y="174"/>
                        </a:lnTo>
                        <a:lnTo>
                          <a:pt x="216" y="168"/>
                        </a:lnTo>
                        <a:lnTo>
                          <a:pt x="210" y="165"/>
                        </a:lnTo>
                        <a:lnTo>
                          <a:pt x="208" y="162"/>
                        </a:lnTo>
                        <a:lnTo>
                          <a:pt x="208" y="161"/>
                        </a:lnTo>
                        <a:lnTo>
                          <a:pt x="207" y="160"/>
                        </a:lnTo>
                        <a:lnTo>
                          <a:pt x="201" y="162"/>
                        </a:lnTo>
                        <a:lnTo>
                          <a:pt x="199" y="164"/>
                        </a:lnTo>
                        <a:lnTo>
                          <a:pt x="197" y="164"/>
                        </a:lnTo>
                        <a:lnTo>
                          <a:pt x="194" y="161"/>
                        </a:lnTo>
                        <a:lnTo>
                          <a:pt x="191" y="160"/>
                        </a:lnTo>
                        <a:lnTo>
                          <a:pt x="188" y="161"/>
                        </a:lnTo>
                        <a:lnTo>
                          <a:pt x="187" y="165"/>
                        </a:lnTo>
                        <a:lnTo>
                          <a:pt x="184" y="165"/>
                        </a:lnTo>
                        <a:lnTo>
                          <a:pt x="184" y="164"/>
                        </a:lnTo>
                        <a:lnTo>
                          <a:pt x="184" y="161"/>
                        </a:lnTo>
                        <a:lnTo>
                          <a:pt x="182" y="161"/>
                        </a:lnTo>
                        <a:lnTo>
                          <a:pt x="178" y="165"/>
                        </a:lnTo>
                        <a:lnTo>
                          <a:pt x="170" y="168"/>
                        </a:lnTo>
                        <a:lnTo>
                          <a:pt x="170" y="167"/>
                        </a:lnTo>
                        <a:lnTo>
                          <a:pt x="171" y="162"/>
                        </a:lnTo>
                        <a:lnTo>
                          <a:pt x="173" y="155"/>
                        </a:lnTo>
                        <a:lnTo>
                          <a:pt x="176" y="155"/>
                        </a:lnTo>
                        <a:lnTo>
                          <a:pt x="176" y="153"/>
                        </a:lnTo>
                        <a:lnTo>
                          <a:pt x="175" y="145"/>
                        </a:lnTo>
                        <a:lnTo>
                          <a:pt x="175" y="143"/>
                        </a:lnTo>
                        <a:lnTo>
                          <a:pt x="172" y="141"/>
                        </a:lnTo>
                        <a:lnTo>
                          <a:pt x="171" y="139"/>
                        </a:lnTo>
                        <a:lnTo>
                          <a:pt x="170" y="136"/>
                        </a:lnTo>
                        <a:lnTo>
                          <a:pt x="171" y="134"/>
                        </a:lnTo>
                        <a:lnTo>
                          <a:pt x="170" y="131"/>
                        </a:lnTo>
                        <a:lnTo>
                          <a:pt x="171" y="131"/>
                        </a:lnTo>
                        <a:lnTo>
                          <a:pt x="171" y="129"/>
                        </a:lnTo>
                        <a:lnTo>
                          <a:pt x="169" y="128"/>
                        </a:lnTo>
                        <a:lnTo>
                          <a:pt x="165" y="126"/>
                        </a:lnTo>
                        <a:lnTo>
                          <a:pt x="163" y="124"/>
                        </a:lnTo>
                        <a:lnTo>
                          <a:pt x="165" y="123"/>
                        </a:lnTo>
                        <a:lnTo>
                          <a:pt x="163" y="120"/>
                        </a:lnTo>
                        <a:lnTo>
                          <a:pt x="161" y="118"/>
                        </a:lnTo>
                        <a:lnTo>
                          <a:pt x="158" y="116"/>
                        </a:lnTo>
                        <a:lnTo>
                          <a:pt x="156" y="113"/>
                        </a:lnTo>
                        <a:lnTo>
                          <a:pt x="151" y="110"/>
                        </a:lnTo>
                        <a:lnTo>
                          <a:pt x="149" y="106"/>
                        </a:lnTo>
                        <a:lnTo>
                          <a:pt x="140" y="104"/>
                        </a:lnTo>
                        <a:lnTo>
                          <a:pt x="122" y="104"/>
                        </a:lnTo>
                        <a:lnTo>
                          <a:pt x="122" y="108"/>
                        </a:lnTo>
                        <a:lnTo>
                          <a:pt x="118" y="108"/>
                        </a:lnTo>
                        <a:lnTo>
                          <a:pt x="113" y="109"/>
                        </a:lnTo>
                        <a:lnTo>
                          <a:pt x="111" y="110"/>
                        </a:lnTo>
                        <a:lnTo>
                          <a:pt x="109" y="108"/>
                        </a:lnTo>
                        <a:lnTo>
                          <a:pt x="102" y="108"/>
                        </a:lnTo>
                        <a:lnTo>
                          <a:pt x="100" y="109"/>
                        </a:lnTo>
                        <a:lnTo>
                          <a:pt x="101" y="114"/>
                        </a:lnTo>
                        <a:lnTo>
                          <a:pt x="97" y="120"/>
                        </a:lnTo>
                        <a:lnTo>
                          <a:pt x="94" y="124"/>
                        </a:lnTo>
                        <a:lnTo>
                          <a:pt x="90" y="128"/>
                        </a:lnTo>
                        <a:lnTo>
                          <a:pt x="90" y="129"/>
                        </a:lnTo>
                        <a:lnTo>
                          <a:pt x="89" y="131"/>
                        </a:lnTo>
                        <a:lnTo>
                          <a:pt x="85" y="131"/>
                        </a:lnTo>
                        <a:lnTo>
                          <a:pt x="82" y="139"/>
                        </a:lnTo>
                        <a:lnTo>
                          <a:pt x="80" y="139"/>
                        </a:lnTo>
                        <a:lnTo>
                          <a:pt x="79" y="139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" name="Freeform 50"/>
                  <p:cNvSpPr>
                    <a:spLocks/>
                  </p:cNvSpPr>
                  <p:nvPr/>
                </p:nvSpPr>
                <p:spPr bwMode="auto">
                  <a:xfrm>
                    <a:off x="725" y="2117"/>
                    <a:ext cx="125" cy="121"/>
                  </a:xfrm>
                  <a:custGeom>
                    <a:avLst/>
                    <a:gdLst>
                      <a:gd name="T0" fmla="*/ 5638 w 117"/>
                      <a:gd name="T1" fmla="*/ 3283 h 115"/>
                      <a:gd name="T2" fmla="*/ 4999 w 117"/>
                      <a:gd name="T3" fmla="*/ 3233 h 115"/>
                      <a:gd name="T4" fmla="*/ 2855 w 117"/>
                      <a:gd name="T5" fmla="*/ 2909 h 115"/>
                      <a:gd name="T6" fmla="*/ 2501 w 117"/>
                      <a:gd name="T7" fmla="*/ 2659 h 115"/>
                      <a:gd name="T8" fmla="*/ 1291 w 117"/>
                      <a:gd name="T9" fmla="*/ 2345 h 115"/>
                      <a:gd name="T10" fmla="*/ 1291 w 117"/>
                      <a:gd name="T11" fmla="*/ 2229 h 115"/>
                      <a:gd name="T12" fmla="*/ 1059 w 117"/>
                      <a:gd name="T13" fmla="*/ 2118 h 115"/>
                      <a:gd name="T14" fmla="*/ 7 w 117"/>
                      <a:gd name="T15" fmla="*/ 2013 h 115"/>
                      <a:gd name="T16" fmla="*/ 4 w 117"/>
                      <a:gd name="T17" fmla="*/ 1683 h 115"/>
                      <a:gd name="T18" fmla="*/ 7 w 117"/>
                      <a:gd name="T19" fmla="*/ 1695 h 115"/>
                      <a:gd name="T20" fmla="*/ 761 w 117"/>
                      <a:gd name="T21" fmla="*/ 1683 h 115"/>
                      <a:gd name="T22" fmla="*/ 6 w 117"/>
                      <a:gd name="T23" fmla="*/ 1611 h 115"/>
                      <a:gd name="T24" fmla="*/ 4 w 117"/>
                      <a:gd name="T25" fmla="*/ 1410 h 115"/>
                      <a:gd name="T26" fmla="*/ 4 w 117"/>
                      <a:gd name="T27" fmla="*/ 1211 h 115"/>
                      <a:gd name="T28" fmla="*/ 0 w 117"/>
                      <a:gd name="T29" fmla="*/ 1072 h 115"/>
                      <a:gd name="T30" fmla="*/ 6 w 117"/>
                      <a:gd name="T31" fmla="*/ 988 h 115"/>
                      <a:gd name="T32" fmla="*/ 928 w 117"/>
                      <a:gd name="T33" fmla="*/ 988 h 115"/>
                      <a:gd name="T34" fmla="*/ 1291 w 117"/>
                      <a:gd name="T35" fmla="*/ 766 h 115"/>
                      <a:gd name="T36" fmla="*/ 1797 w 117"/>
                      <a:gd name="T37" fmla="*/ 658 h 115"/>
                      <a:gd name="T38" fmla="*/ 2051 w 117"/>
                      <a:gd name="T39" fmla="*/ 537 h 115"/>
                      <a:gd name="T40" fmla="*/ 2501 w 117"/>
                      <a:gd name="T41" fmla="*/ 321 h 115"/>
                      <a:gd name="T42" fmla="*/ 2672 w 117"/>
                      <a:gd name="T43" fmla="*/ 3 h 115"/>
                      <a:gd name="T44" fmla="*/ 3362 w 117"/>
                      <a:gd name="T45" fmla="*/ 6 h 115"/>
                      <a:gd name="T46" fmla="*/ 3838 w 117"/>
                      <a:gd name="T47" fmla="*/ 3 h 115"/>
                      <a:gd name="T48" fmla="*/ 4246 w 117"/>
                      <a:gd name="T49" fmla="*/ 0 h 115"/>
                      <a:gd name="T50" fmla="*/ 6357 w 117"/>
                      <a:gd name="T51" fmla="*/ 1 h 115"/>
                      <a:gd name="T52" fmla="*/ 6792 w 117"/>
                      <a:gd name="T53" fmla="*/ 7 h 115"/>
                      <a:gd name="T54" fmla="*/ 7251 w 117"/>
                      <a:gd name="T55" fmla="*/ 375 h 115"/>
                      <a:gd name="T56" fmla="*/ 7434 w 117"/>
                      <a:gd name="T57" fmla="*/ 485 h 115"/>
                      <a:gd name="T58" fmla="*/ 7434 w 117"/>
                      <a:gd name="T59" fmla="*/ 565 h 115"/>
                      <a:gd name="T60" fmla="*/ 7958 w 117"/>
                      <a:gd name="T61" fmla="*/ 658 h 115"/>
                      <a:gd name="T62" fmla="*/ 7942 w 117"/>
                      <a:gd name="T63" fmla="*/ 766 h 115"/>
                      <a:gd name="T64" fmla="*/ 7942 w 117"/>
                      <a:gd name="T65" fmla="*/ 920 h 115"/>
                      <a:gd name="T66" fmla="*/ 7958 w 117"/>
                      <a:gd name="T67" fmla="*/ 1019 h 115"/>
                      <a:gd name="T68" fmla="*/ 8282 w 117"/>
                      <a:gd name="T69" fmla="*/ 1128 h 115"/>
                      <a:gd name="T70" fmla="*/ 8385 w 117"/>
                      <a:gd name="T71" fmla="*/ 1410 h 115"/>
                      <a:gd name="T72" fmla="*/ 7958 w 117"/>
                      <a:gd name="T73" fmla="*/ 1611 h 115"/>
                      <a:gd name="T74" fmla="*/ 7942 w 117"/>
                      <a:gd name="T75" fmla="*/ 1818 h 115"/>
                      <a:gd name="T76" fmla="*/ 8848 w 117"/>
                      <a:gd name="T77" fmla="*/ 1611 h 115"/>
                      <a:gd name="T78" fmla="*/ 8958 w 117"/>
                      <a:gd name="T79" fmla="*/ 1683 h 115"/>
                      <a:gd name="T80" fmla="*/ 8958 w 117"/>
                      <a:gd name="T81" fmla="*/ 1863 h 115"/>
                      <a:gd name="T82" fmla="*/ 9281 w 117"/>
                      <a:gd name="T83" fmla="*/ 1960 h 115"/>
                      <a:gd name="T84" fmla="*/ 8282 w 117"/>
                      <a:gd name="T85" fmla="*/ 2062 h 115"/>
                      <a:gd name="T86" fmla="*/ 8269 w 117"/>
                      <a:gd name="T87" fmla="*/ 2419 h 115"/>
                      <a:gd name="T88" fmla="*/ 7942 w 117"/>
                      <a:gd name="T89" fmla="*/ 2527 h 115"/>
                      <a:gd name="T90" fmla="*/ 7434 w 117"/>
                      <a:gd name="T91" fmla="*/ 2678 h 115"/>
                      <a:gd name="T92" fmla="*/ 6781 w 117"/>
                      <a:gd name="T93" fmla="*/ 2909 h 115"/>
                      <a:gd name="T94" fmla="*/ 6313 w 117"/>
                      <a:gd name="T95" fmla="*/ 2944 h 115"/>
                      <a:gd name="T96" fmla="*/ 6096 w 117"/>
                      <a:gd name="T97" fmla="*/ 3073 h 115"/>
                      <a:gd name="T98" fmla="*/ 5941 w 117"/>
                      <a:gd name="T99" fmla="*/ 3233 h 115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117"/>
                      <a:gd name="T151" fmla="*/ 0 h 115"/>
                      <a:gd name="T152" fmla="*/ 117 w 117"/>
                      <a:gd name="T153" fmla="*/ 115 h 115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117" h="115">
                        <a:moveTo>
                          <a:pt x="75" y="113"/>
                        </a:moveTo>
                        <a:lnTo>
                          <a:pt x="72" y="115"/>
                        </a:lnTo>
                        <a:lnTo>
                          <a:pt x="71" y="115"/>
                        </a:lnTo>
                        <a:lnTo>
                          <a:pt x="64" y="113"/>
                        </a:lnTo>
                        <a:lnTo>
                          <a:pt x="43" y="101"/>
                        </a:lnTo>
                        <a:lnTo>
                          <a:pt x="36" y="101"/>
                        </a:lnTo>
                        <a:lnTo>
                          <a:pt x="36" y="97"/>
                        </a:lnTo>
                        <a:lnTo>
                          <a:pt x="32" y="93"/>
                        </a:lnTo>
                        <a:lnTo>
                          <a:pt x="22" y="85"/>
                        </a:lnTo>
                        <a:lnTo>
                          <a:pt x="17" y="82"/>
                        </a:lnTo>
                        <a:lnTo>
                          <a:pt x="16" y="81"/>
                        </a:lnTo>
                        <a:lnTo>
                          <a:pt x="17" y="78"/>
                        </a:lnTo>
                        <a:lnTo>
                          <a:pt x="16" y="75"/>
                        </a:lnTo>
                        <a:lnTo>
                          <a:pt x="14" y="74"/>
                        </a:lnTo>
                        <a:lnTo>
                          <a:pt x="11" y="70"/>
                        </a:lnTo>
                        <a:lnTo>
                          <a:pt x="7" y="70"/>
                        </a:lnTo>
                        <a:lnTo>
                          <a:pt x="4" y="65"/>
                        </a:lnTo>
                        <a:lnTo>
                          <a:pt x="4" y="59"/>
                        </a:lnTo>
                        <a:lnTo>
                          <a:pt x="6" y="59"/>
                        </a:lnTo>
                        <a:lnTo>
                          <a:pt x="7" y="60"/>
                        </a:lnTo>
                        <a:lnTo>
                          <a:pt x="9" y="60"/>
                        </a:lnTo>
                        <a:lnTo>
                          <a:pt x="9" y="59"/>
                        </a:lnTo>
                        <a:lnTo>
                          <a:pt x="7" y="57"/>
                        </a:lnTo>
                        <a:lnTo>
                          <a:pt x="6" y="57"/>
                        </a:lnTo>
                        <a:lnTo>
                          <a:pt x="4" y="54"/>
                        </a:lnTo>
                        <a:lnTo>
                          <a:pt x="4" y="49"/>
                        </a:lnTo>
                        <a:lnTo>
                          <a:pt x="4" y="45"/>
                        </a:lnTo>
                        <a:lnTo>
                          <a:pt x="4" y="43"/>
                        </a:lnTo>
                        <a:lnTo>
                          <a:pt x="0" y="40"/>
                        </a:lnTo>
                        <a:lnTo>
                          <a:pt x="0" y="38"/>
                        </a:lnTo>
                        <a:lnTo>
                          <a:pt x="2" y="33"/>
                        </a:lnTo>
                        <a:lnTo>
                          <a:pt x="6" y="35"/>
                        </a:lnTo>
                        <a:lnTo>
                          <a:pt x="11" y="35"/>
                        </a:lnTo>
                        <a:lnTo>
                          <a:pt x="12" y="35"/>
                        </a:lnTo>
                        <a:lnTo>
                          <a:pt x="14" y="33"/>
                        </a:lnTo>
                        <a:lnTo>
                          <a:pt x="17" y="27"/>
                        </a:lnTo>
                        <a:lnTo>
                          <a:pt x="21" y="26"/>
                        </a:lnTo>
                        <a:lnTo>
                          <a:pt x="22" y="24"/>
                        </a:lnTo>
                        <a:lnTo>
                          <a:pt x="22" y="23"/>
                        </a:lnTo>
                        <a:lnTo>
                          <a:pt x="26" y="20"/>
                        </a:lnTo>
                        <a:lnTo>
                          <a:pt x="29" y="16"/>
                        </a:lnTo>
                        <a:lnTo>
                          <a:pt x="32" y="10"/>
                        </a:lnTo>
                        <a:lnTo>
                          <a:pt x="32" y="4"/>
                        </a:lnTo>
                        <a:lnTo>
                          <a:pt x="34" y="3"/>
                        </a:lnTo>
                        <a:lnTo>
                          <a:pt x="41" y="3"/>
                        </a:lnTo>
                        <a:lnTo>
                          <a:pt x="43" y="6"/>
                        </a:lnTo>
                        <a:lnTo>
                          <a:pt x="45" y="4"/>
                        </a:lnTo>
                        <a:lnTo>
                          <a:pt x="49" y="3"/>
                        </a:lnTo>
                        <a:lnTo>
                          <a:pt x="53" y="3"/>
                        </a:lnTo>
                        <a:lnTo>
                          <a:pt x="53" y="0"/>
                        </a:lnTo>
                        <a:lnTo>
                          <a:pt x="71" y="0"/>
                        </a:lnTo>
                        <a:lnTo>
                          <a:pt x="81" y="1"/>
                        </a:lnTo>
                        <a:lnTo>
                          <a:pt x="82" y="6"/>
                        </a:lnTo>
                        <a:lnTo>
                          <a:pt x="87" y="7"/>
                        </a:lnTo>
                        <a:lnTo>
                          <a:pt x="89" y="11"/>
                        </a:lnTo>
                        <a:lnTo>
                          <a:pt x="92" y="13"/>
                        </a:lnTo>
                        <a:lnTo>
                          <a:pt x="94" y="16"/>
                        </a:lnTo>
                        <a:lnTo>
                          <a:pt x="95" y="18"/>
                        </a:lnTo>
                        <a:lnTo>
                          <a:pt x="94" y="20"/>
                        </a:lnTo>
                        <a:lnTo>
                          <a:pt x="95" y="21"/>
                        </a:lnTo>
                        <a:lnTo>
                          <a:pt x="99" y="23"/>
                        </a:lnTo>
                        <a:lnTo>
                          <a:pt x="102" y="24"/>
                        </a:lnTo>
                        <a:lnTo>
                          <a:pt x="102" y="26"/>
                        </a:lnTo>
                        <a:lnTo>
                          <a:pt x="101" y="27"/>
                        </a:lnTo>
                        <a:lnTo>
                          <a:pt x="102" y="30"/>
                        </a:lnTo>
                        <a:lnTo>
                          <a:pt x="101" y="32"/>
                        </a:lnTo>
                        <a:lnTo>
                          <a:pt x="102" y="35"/>
                        </a:lnTo>
                        <a:lnTo>
                          <a:pt x="102" y="36"/>
                        </a:lnTo>
                        <a:lnTo>
                          <a:pt x="106" y="38"/>
                        </a:lnTo>
                        <a:lnTo>
                          <a:pt x="106" y="40"/>
                        </a:lnTo>
                        <a:lnTo>
                          <a:pt x="107" y="49"/>
                        </a:lnTo>
                        <a:lnTo>
                          <a:pt x="104" y="50"/>
                        </a:lnTo>
                        <a:lnTo>
                          <a:pt x="102" y="57"/>
                        </a:lnTo>
                        <a:lnTo>
                          <a:pt x="101" y="62"/>
                        </a:lnTo>
                        <a:lnTo>
                          <a:pt x="101" y="64"/>
                        </a:lnTo>
                        <a:lnTo>
                          <a:pt x="109" y="60"/>
                        </a:lnTo>
                        <a:lnTo>
                          <a:pt x="113" y="57"/>
                        </a:lnTo>
                        <a:lnTo>
                          <a:pt x="114" y="57"/>
                        </a:lnTo>
                        <a:lnTo>
                          <a:pt x="114" y="59"/>
                        </a:lnTo>
                        <a:lnTo>
                          <a:pt x="114" y="60"/>
                        </a:lnTo>
                        <a:lnTo>
                          <a:pt x="114" y="65"/>
                        </a:lnTo>
                        <a:lnTo>
                          <a:pt x="117" y="67"/>
                        </a:lnTo>
                        <a:lnTo>
                          <a:pt x="117" y="68"/>
                        </a:lnTo>
                        <a:lnTo>
                          <a:pt x="109" y="69"/>
                        </a:lnTo>
                        <a:lnTo>
                          <a:pt x="106" y="72"/>
                        </a:lnTo>
                        <a:lnTo>
                          <a:pt x="104" y="74"/>
                        </a:lnTo>
                        <a:lnTo>
                          <a:pt x="104" y="85"/>
                        </a:lnTo>
                        <a:lnTo>
                          <a:pt x="102" y="85"/>
                        </a:lnTo>
                        <a:lnTo>
                          <a:pt x="101" y="88"/>
                        </a:lnTo>
                        <a:lnTo>
                          <a:pt x="97" y="90"/>
                        </a:lnTo>
                        <a:lnTo>
                          <a:pt x="95" y="94"/>
                        </a:lnTo>
                        <a:lnTo>
                          <a:pt x="91" y="95"/>
                        </a:lnTo>
                        <a:lnTo>
                          <a:pt x="85" y="101"/>
                        </a:lnTo>
                        <a:lnTo>
                          <a:pt x="82" y="103"/>
                        </a:lnTo>
                        <a:lnTo>
                          <a:pt x="79" y="103"/>
                        </a:lnTo>
                        <a:lnTo>
                          <a:pt x="78" y="105"/>
                        </a:lnTo>
                        <a:lnTo>
                          <a:pt x="78" y="107"/>
                        </a:lnTo>
                        <a:lnTo>
                          <a:pt x="77" y="108"/>
                        </a:lnTo>
                        <a:lnTo>
                          <a:pt x="75" y="113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3" name="Freeform 51"/>
                  <p:cNvSpPr>
                    <a:spLocks/>
                  </p:cNvSpPr>
                  <p:nvPr/>
                </p:nvSpPr>
                <p:spPr bwMode="auto">
                  <a:xfrm>
                    <a:off x="725" y="2117"/>
                    <a:ext cx="125" cy="121"/>
                  </a:xfrm>
                  <a:custGeom>
                    <a:avLst/>
                    <a:gdLst>
                      <a:gd name="T0" fmla="*/ 5638 w 117"/>
                      <a:gd name="T1" fmla="*/ 3283 h 115"/>
                      <a:gd name="T2" fmla="*/ 4999 w 117"/>
                      <a:gd name="T3" fmla="*/ 3233 h 115"/>
                      <a:gd name="T4" fmla="*/ 2855 w 117"/>
                      <a:gd name="T5" fmla="*/ 2909 h 115"/>
                      <a:gd name="T6" fmla="*/ 2501 w 117"/>
                      <a:gd name="T7" fmla="*/ 2659 h 115"/>
                      <a:gd name="T8" fmla="*/ 1291 w 117"/>
                      <a:gd name="T9" fmla="*/ 2345 h 115"/>
                      <a:gd name="T10" fmla="*/ 1291 w 117"/>
                      <a:gd name="T11" fmla="*/ 2229 h 115"/>
                      <a:gd name="T12" fmla="*/ 1059 w 117"/>
                      <a:gd name="T13" fmla="*/ 2118 h 115"/>
                      <a:gd name="T14" fmla="*/ 7 w 117"/>
                      <a:gd name="T15" fmla="*/ 2013 h 115"/>
                      <a:gd name="T16" fmla="*/ 4 w 117"/>
                      <a:gd name="T17" fmla="*/ 1683 h 115"/>
                      <a:gd name="T18" fmla="*/ 7 w 117"/>
                      <a:gd name="T19" fmla="*/ 1695 h 115"/>
                      <a:gd name="T20" fmla="*/ 761 w 117"/>
                      <a:gd name="T21" fmla="*/ 1683 h 115"/>
                      <a:gd name="T22" fmla="*/ 6 w 117"/>
                      <a:gd name="T23" fmla="*/ 1611 h 115"/>
                      <a:gd name="T24" fmla="*/ 4 w 117"/>
                      <a:gd name="T25" fmla="*/ 1410 h 115"/>
                      <a:gd name="T26" fmla="*/ 4 w 117"/>
                      <a:gd name="T27" fmla="*/ 1211 h 115"/>
                      <a:gd name="T28" fmla="*/ 0 w 117"/>
                      <a:gd name="T29" fmla="*/ 1072 h 115"/>
                      <a:gd name="T30" fmla="*/ 6 w 117"/>
                      <a:gd name="T31" fmla="*/ 988 h 115"/>
                      <a:gd name="T32" fmla="*/ 928 w 117"/>
                      <a:gd name="T33" fmla="*/ 988 h 115"/>
                      <a:gd name="T34" fmla="*/ 1291 w 117"/>
                      <a:gd name="T35" fmla="*/ 766 h 115"/>
                      <a:gd name="T36" fmla="*/ 1797 w 117"/>
                      <a:gd name="T37" fmla="*/ 658 h 115"/>
                      <a:gd name="T38" fmla="*/ 2051 w 117"/>
                      <a:gd name="T39" fmla="*/ 537 h 115"/>
                      <a:gd name="T40" fmla="*/ 2501 w 117"/>
                      <a:gd name="T41" fmla="*/ 321 h 115"/>
                      <a:gd name="T42" fmla="*/ 2672 w 117"/>
                      <a:gd name="T43" fmla="*/ 3 h 115"/>
                      <a:gd name="T44" fmla="*/ 3362 w 117"/>
                      <a:gd name="T45" fmla="*/ 6 h 115"/>
                      <a:gd name="T46" fmla="*/ 3838 w 117"/>
                      <a:gd name="T47" fmla="*/ 3 h 115"/>
                      <a:gd name="T48" fmla="*/ 4246 w 117"/>
                      <a:gd name="T49" fmla="*/ 0 h 115"/>
                      <a:gd name="T50" fmla="*/ 6357 w 117"/>
                      <a:gd name="T51" fmla="*/ 1 h 115"/>
                      <a:gd name="T52" fmla="*/ 6792 w 117"/>
                      <a:gd name="T53" fmla="*/ 7 h 115"/>
                      <a:gd name="T54" fmla="*/ 7251 w 117"/>
                      <a:gd name="T55" fmla="*/ 375 h 115"/>
                      <a:gd name="T56" fmla="*/ 7434 w 117"/>
                      <a:gd name="T57" fmla="*/ 485 h 115"/>
                      <a:gd name="T58" fmla="*/ 7434 w 117"/>
                      <a:gd name="T59" fmla="*/ 565 h 115"/>
                      <a:gd name="T60" fmla="*/ 7958 w 117"/>
                      <a:gd name="T61" fmla="*/ 658 h 115"/>
                      <a:gd name="T62" fmla="*/ 7942 w 117"/>
                      <a:gd name="T63" fmla="*/ 766 h 115"/>
                      <a:gd name="T64" fmla="*/ 7942 w 117"/>
                      <a:gd name="T65" fmla="*/ 920 h 115"/>
                      <a:gd name="T66" fmla="*/ 7958 w 117"/>
                      <a:gd name="T67" fmla="*/ 1019 h 115"/>
                      <a:gd name="T68" fmla="*/ 8282 w 117"/>
                      <a:gd name="T69" fmla="*/ 1128 h 115"/>
                      <a:gd name="T70" fmla="*/ 8385 w 117"/>
                      <a:gd name="T71" fmla="*/ 1410 h 115"/>
                      <a:gd name="T72" fmla="*/ 7958 w 117"/>
                      <a:gd name="T73" fmla="*/ 1611 h 115"/>
                      <a:gd name="T74" fmla="*/ 7942 w 117"/>
                      <a:gd name="T75" fmla="*/ 1818 h 115"/>
                      <a:gd name="T76" fmla="*/ 8848 w 117"/>
                      <a:gd name="T77" fmla="*/ 1611 h 115"/>
                      <a:gd name="T78" fmla="*/ 8958 w 117"/>
                      <a:gd name="T79" fmla="*/ 1683 h 115"/>
                      <a:gd name="T80" fmla="*/ 8958 w 117"/>
                      <a:gd name="T81" fmla="*/ 1863 h 115"/>
                      <a:gd name="T82" fmla="*/ 9281 w 117"/>
                      <a:gd name="T83" fmla="*/ 1960 h 115"/>
                      <a:gd name="T84" fmla="*/ 8282 w 117"/>
                      <a:gd name="T85" fmla="*/ 2062 h 115"/>
                      <a:gd name="T86" fmla="*/ 8269 w 117"/>
                      <a:gd name="T87" fmla="*/ 2419 h 115"/>
                      <a:gd name="T88" fmla="*/ 7942 w 117"/>
                      <a:gd name="T89" fmla="*/ 2527 h 115"/>
                      <a:gd name="T90" fmla="*/ 7434 w 117"/>
                      <a:gd name="T91" fmla="*/ 2678 h 115"/>
                      <a:gd name="T92" fmla="*/ 6781 w 117"/>
                      <a:gd name="T93" fmla="*/ 2909 h 115"/>
                      <a:gd name="T94" fmla="*/ 6313 w 117"/>
                      <a:gd name="T95" fmla="*/ 2944 h 115"/>
                      <a:gd name="T96" fmla="*/ 6096 w 117"/>
                      <a:gd name="T97" fmla="*/ 3073 h 115"/>
                      <a:gd name="T98" fmla="*/ 5941 w 117"/>
                      <a:gd name="T99" fmla="*/ 3233 h 115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117"/>
                      <a:gd name="T151" fmla="*/ 0 h 115"/>
                      <a:gd name="T152" fmla="*/ 117 w 117"/>
                      <a:gd name="T153" fmla="*/ 115 h 115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117" h="115">
                        <a:moveTo>
                          <a:pt x="75" y="113"/>
                        </a:moveTo>
                        <a:lnTo>
                          <a:pt x="72" y="115"/>
                        </a:lnTo>
                        <a:lnTo>
                          <a:pt x="71" y="115"/>
                        </a:lnTo>
                        <a:lnTo>
                          <a:pt x="64" y="113"/>
                        </a:lnTo>
                        <a:lnTo>
                          <a:pt x="43" y="101"/>
                        </a:lnTo>
                        <a:lnTo>
                          <a:pt x="36" y="101"/>
                        </a:lnTo>
                        <a:lnTo>
                          <a:pt x="36" y="97"/>
                        </a:lnTo>
                        <a:lnTo>
                          <a:pt x="32" y="93"/>
                        </a:lnTo>
                        <a:lnTo>
                          <a:pt x="22" y="85"/>
                        </a:lnTo>
                        <a:lnTo>
                          <a:pt x="17" y="82"/>
                        </a:lnTo>
                        <a:lnTo>
                          <a:pt x="16" y="81"/>
                        </a:lnTo>
                        <a:lnTo>
                          <a:pt x="17" y="78"/>
                        </a:lnTo>
                        <a:lnTo>
                          <a:pt x="16" y="75"/>
                        </a:lnTo>
                        <a:lnTo>
                          <a:pt x="14" y="74"/>
                        </a:lnTo>
                        <a:lnTo>
                          <a:pt x="11" y="70"/>
                        </a:lnTo>
                        <a:lnTo>
                          <a:pt x="7" y="70"/>
                        </a:lnTo>
                        <a:lnTo>
                          <a:pt x="4" y="65"/>
                        </a:lnTo>
                        <a:lnTo>
                          <a:pt x="4" y="59"/>
                        </a:lnTo>
                        <a:lnTo>
                          <a:pt x="6" y="59"/>
                        </a:lnTo>
                        <a:lnTo>
                          <a:pt x="7" y="60"/>
                        </a:lnTo>
                        <a:lnTo>
                          <a:pt x="9" y="60"/>
                        </a:lnTo>
                        <a:lnTo>
                          <a:pt x="9" y="59"/>
                        </a:lnTo>
                        <a:lnTo>
                          <a:pt x="7" y="57"/>
                        </a:lnTo>
                        <a:lnTo>
                          <a:pt x="6" y="57"/>
                        </a:lnTo>
                        <a:lnTo>
                          <a:pt x="4" y="54"/>
                        </a:lnTo>
                        <a:lnTo>
                          <a:pt x="4" y="49"/>
                        </a:lnTo>
                        <a:lnTo>
                          <a:pt x="4" y="45"/>
                        </a:lnTo>
                        <a:lnTo>
                          <a:pt x="4" y="43"/>
                        </a:lnTo>
                        <a:lnTo>
                          <a:pt x="0" y="40"/>
                        </a:lnTo>
                        <a:lnTo>
                          <a:pt x="0" y="38"/>
                        </a:lnTo>
                        <a:lnTo>
                          <a:pt x="2" y="33"/>
                        </a:lnTo>
                        <a:lnTo>
                          <a:pt x="6" y="35"/>
                        </a:lnTo>
                        <a:lnTo>
                          <a:pt x="11" y="35"/>
                        </a:lnTo>
                        <a:lnTo>
                          <a:pt x="12" y="35"/>
                        </a:lnTo>
                        <a:lnTo>
                          <a:pt x="14" y="33"/>
                        </a:lnTo>
                        <a:lnTo>
                          <a:pt x="17" y="27"/>
                        </a:lnTo>
                        <a:lnTo>
                          <a:pt x="21" y="26"/>
                        </a:lnTo>
                        <a:lnTo>
                          <a:pt x="22" y="24"/>
                        </a:lnTo>
                        <a:lnTo>
                          <a:pt x="22" y="23"/>
                        </a:lnTo>
                        <a:lnTo>
                          <a:pt x="26" y="20"/>
                        </a:lnTo>
                        <a:lnTo>
                          <a:pt x="29" y="16"/>
                        </a:lnTo>
                        <a:lnTo>
                          <a:pt x="32" y="10"/>
                        </a:lnTo>
                        <a:lnTo>
                          <a:pt x="32" y="4"/>
                        </a:lnTo>
                        <a:lnTo>
                          <a:pt x="34" y="3"/>
                        </a:lnTo>
                        <a:lnTo>
                          <a:pt x="41" y="3"/>
                        </a:lnTo>
                        <a:lnTo>
                          <a:pt x="43" y="6"/>
                        </a:lnTo>
                        <a:lnTo>
                          <a:pt x="45" y="4"/>
                        </a:lnTo>
                        <a:lnTo>
                          <a:pt x="49" y="3"/>
                        </a:lnTo>
                        <a:lnTo>
                          <a:pt x="53" y="3"/>
                        </a:lnTo>
                        <a:lnTo>
                          <a:pt x="53" y="0"/>
                        </a:lnTo>
                        <a:lnTo>
                          <a:pt x="71" y="0"/>
                        </a:lnTo>
                        <a:lnTo>
                          <a:pt x="81" y="1"/>
                        </a:lnTo>
                        <a:lnTo>
                          <a:pt x="82" y="6"/>
                        </a:lnTo>
                        <a:lnTo>
                          <a:pt x="87" y="7"/>
                        </a:lnTo>
                        <a:lnTo>
                          <a:pt x="89" y="11"/>
                        </a:lnTo>
                        <a:lnTo>
                          <a:pt x="92" y="13"/>
                        </a:lnTo>
                        <a:lnTo>
                          <a:pt x="94" y="16"/>
                        </a:lnTo>
                        <a:lnTo>
                          <a:pt x="95" y="18"/>
                        </a:lnTo>
                        <a:lnTo>
                          <a:pt x="94" y="20"/>
                        </a:lnTo>
                        <a:lnTo>
                          <a:pt x="95" y="21"/>
                        </a:lnTo>
                        <a:lnTo>
                          <a:pt x="99" y="23"/>
                        </a:lnTo>
                        <a:lnTo>
                          <a:pt x="102" y="24"/>
                        </a:lnTo>
                        <a:lnTo>
                          <a:pt x="102" y="26"/>
                        </a:lnTo>
                        <a:lnTo>
                          <a:pt x="101" y="27"/>
                        </a:lnTo>
                        <a:lnTo>
                          <a:pt x="102" y="30"/>
                        </a:lnTo>
                        <a:lnTo>
                          <a:pt x="101" y="32"/>
                        </a:lnTo>
                        <a:lnTo>
                          <a:pt x="102" y="35"/>
                        </a:lnTo>
                        <a:lnTo>
                          <a:pt x="102" y="36"/>
                        </a:lnTo>
                        <a:lnTo>
                          <a:pt x="106" y="38"/>
                        </a:lnTo>
                        <a:lnTo>
                          <a:pt x="106" y="40"/>
                        </a:lnTo>
                        <a:lnTo>
                          <a:pt x="107" y="49"/>
                        </a:lnTo>
                        <a:lnTo>
                          <a:pt x="104" y="50"/>
                        </a:lnTo>
                        <a:lnTo>
                          <a:pt x="102" y="57"/>
                        </a:lnTo>
                        <a:lnTo>
                          <a:pt x="101" y="62"/>
                        </a:lnTo>
                        <a:lnTo>
                          <a:pt x="101" y="64"/>
                        </a:lnTo>
                        <a:lnTo>
                          <a:pt x="109" y="60"/>
                        </a:lnTo>
                        <a:lnTo>
                          <a:pt x="113" y="57"/>
                        </a:lnTo>
                        <a:lnTo>
                          <a:pt x="114" y="57"/>
                        </a:lnTo>
                        <a:lnTo>
                          <a:pt x="114" y="59"/>
                        </a:lnTo>
                        <a:lnTo>
                          <a:pt x="114" y="60"/>
                        </a:lnTo>
                        <a:lnTo>
                          <a:pt x="114" y="65"/>
                        </a:lnTo>
                        <a:lnTo>
                          <a:pt x="117" y="67"/>
                        </a:lnTo>
                        <a:lnTo>
                          <a:pt x="117" y="68"/>
                        </a:lnTo>
                        <a:lnTo>
                          <a:pt x="109" y="69"/>
                        </a:lnTo>
                        <a:lnTo>
                          <a:pt x="106" y="72"/>
                        </a:lnTo>
                        <a:lnTo>
                          <a:pt x="104" y="74"/>
                        </a:lnTo>
                        <a:lnTo>
                          <a:pt x="104" y="85"/>
                        </a:lnTo>
                        <a:lnTo>
                          <a:pt x="102" y="85"/>
                        </a:lnTo>
                        <a:lnTo>
                          <a:pt x="101" y="88"/>
                        </a:lnTo>
                        <a:lnTo>
                          <a:pt x="97" y="90"/>
                        </a:lnTo>
                        <a:lnTo>
                          <a:pt x="95" y="94"/>
                        </a:lnTo>
                        <a:lnTo>
                          <a:pt x="91" y="95"/>
                        </a:lnTo>
                        <a:lnTo>
                          <a:pt x="85" y="101"/>
                        </a:lnTo>
                        <a:lnTo>
                          <a:pt x="82" y="103"/>
                        </a:lnTo>
                        <a:lnTo>
                          <a:pt x="79" y="103"/>
                        </a:lnTo>
                        <a:lnTo>
                          <a:pt x="78" y="105"/>
                        </a:lnTo>
                        <a:lnTo>
                          <a:pt x="78" y="107"/>
                        </a:lnTo>
                        <a:lnTo>
                          <a:pt x="77" y="108"/>
                        </a:lnTo>
                        <a:lnTo>
                          <a:pt x="75" y="11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4" name="Freeform 52"/>
                  <p:cNvSpPr>
                    <a:spLocks/>
                  </p:cNvSpPr>
                  <p:nvPr/>
                </p:nvSpPr>
                <p:spPr bwMode="auto">
                  <a:xfrm>
                    <a:off x="922" y="2087"/>
                    <a:ext cx="255" cy="259"/>
                  </a:xfrm>
                  <a:custGeom>
                    <a:avLst/>
                    <a:gdLst>
                      <a:gd name="T0" fmla="*/ 315 w 238"/>
                      <a:gd name="T1" fmla="*/ 292 h 247"/>
                      <a:gd name="T2" fmla="*/ 235 w 238"/>
                      <a:gd name="T3" fmla="*/ 285 h 247"/>
                      <a:gd name="T4" fmla="*/ 144 w 238"/>
                      <a:gd name="T5" fmla="*/ 301 h 247"/>
                      <a:gd name="T6" fmla="*/ 62 w 238"/>
                      <a:gd name="T7" fmla="*/ 327 h 247"/>
                      <a:gd name="T8" fmla="*/ 61 w 238"/>
                      <a:gd name="T9" fmla="*/ 289 h 247"/>
                      <a:gd name="T10" fmla="*/ 66 w 238"/>
                      <a:gd name="T11" fmla="*/ 277 h 247"/>
                      <a:gd name="T12" fmla="*/ 71 w 238"/>
                      <a:gd name="T13" fmla="*/ 264 h 247"/>
                      <a:gd name="T14" fmla="*/ 61 w 238"/>
                      <a:gd name="T15" fmla="*/ 251 h 247"/>
                      <a:gd name="T16" fmla="*/ 45 w 238"/>
                      <a:gd name="T17" fmla="*/ 237 h 247"/>
                      <a:gd name="T18" fmla="*/ 35 w 238"/>
                      <a:gd name="T19" fmla="*/ 224 h 247"/>
                      <a:gd name="T20" fmla="*/ 13 w 238"/>
                      <a:gd name="T21" fmla="*/ 219 h 247"/>
                      <a:gd name="T22" fmla="*/ 1 w 238"/>
                      <a:gd name="T23" fmla="*/ 216 h 247"/>
                      <a:gd name="T24" fmla="*/ 15 w 238"/>
                      <a:gd name="T25" fmla="*/ 200 h 247"/>
                      <a:gd name="T26" fmla="*/ 14 w 238"/>
                      <a:gd name="T27" fmla="*/ 176 h 247"/>
                      <a:gd name="T28" fmla="*/ 6 w 238"/>
                      <a:gd name="T29" fmla="*/ 160 h 247"/>
                      <a:gd name="T30" fmla="*/ 31 w 238"/>
                      <a:gd name="T31" fmla="*/ 145 h 247"/>
                      <a:gd name="T32" fmla="*/ 34 w 238"/>
                      <a:gd name="T33" fmla="*/ 134 h 247"/>
                      <a:gd name="T34" fmla="*/ 20 w 238"/>
                      <a:gd name="T35" fmla="*/ 130 h 247"/>
                      <a:gd name="T36" fmla="*/ 19 w 238"/>
                      <a:gd name="T37" fmla="*/ 116 h 247"/>
                      <a:gd name="T38" fmla="*/ 41 w 238"/>
                      <a:gd name="T39" fmla="*/ 116 h 247"/>
                      <a:gd name="T40" fmla="*/ 51 w 238"/>
                      <a:gd name="T41" fmla="*/ 122 h 247"/>
                      <a:gd name="T42" fmla="*/ 47 w 238"/>
                      <a:gd name="T43" fmla="*/ 101 h 247"/>
                      <a:gd name="T44" fmla="*/ 41 w 238"/>
                      <a:gd name="T45" fmla="*/ 91 h 247"/>
                      <a:gd name="T46" fmla="*/ 44 w 238"/>
                      <a:gd name="T47" fmla="*/ 79 h 247"/>
                      <a:gd name="T48" fmla="*/ 25 w 238"/>
                      <a:gd name="T49" fmla="*/ 64 h 247"/>
                      <a:gd name="T50" fmla="*/ 27 w 238"/>
                      <a:gd name="T51" fmla="*/ 33 h 247"/>
                      <a:gd name="T52" fmla="*/ 45 w 238"/>
                      <a:gd name="T53" fmla="*/ 21 h 247"/>
                      <a:gd name="T54" fmla="*/ 57 w 238"/>
                      <a:gd name="T55" fmla="*/ 17 h 247"/>
                      <a:gd name="T56" fmla="*/ 71 w 238"/>
                      <a:gd name="T57" fmla="*/ 24 h 247"/>
                      <a:gd name="T58" fmla="*/ 81 w 238"/>
                      <a:gd name="T59" fmla="*/ 25 h 247"/>
                      <a:gd name="T60" fmla="*/ 92 w 238"/>
                      <a:gd name="T61" fmla="*/ 21 h 247"/>
                      <a:gd name="T62" fmla="*/ 110 w 238"/>
                      <a:gd name="T63" fmla="*/ 7 h 247"/>
                      <a:gd name="T64" fmla="*/ 122 w 238"/>
                      <a:gd name="T65" fmla="*/ 5 h 247"/>
                      <a:gd name="T66" fmla="*/ 135 w 238"/>
                      <a:gd name="T67" fmla="*/ 0 h 247"/>
                      <a:gd name="T68" fmla="*/ 140 w 238"/>
                      <a:gd name="T69" fmla="*/ 21 h 247"/>
                      <a:gd name="T70" fmla="*/ 158 w 238"/>
                      <a:gd name="T71" fmla="*/ 21 h 247"/>
                      <a:gd name="T72" fmla="*/ 177 w 238"/>
                      <a:gd name="T73" fmla="*/ 17 h 247"/>
                      <a:gd name="T74" fmla="*/ 199 w 238"/>
                      <a:gd name="T75" fmla="*/ 21 h 247"/>
                      <a:gd name="T76" fmla="*/ 205 w 238"/>
                      <a:gd name="T77" fmla="*/ 27 h 247"/>
                      <a:gd name="T78" fmla="*/ 210 w 238"/>
                      <a:gd name="T79" fmla="*/ 43 h 247"/>
                      <a:gd name="T80" fmla="*/ 227 w 238"/>
                      <a:gd name="T81" fmla="*/ 52 h 247"/>
                      <a:gd name="T82" fmla="*/ 236 w 238"/>
                      <a:gd name="T83" fmla="*/ 48 h 247"/>
                      <a:gd name="T84" fmla="*/ 254 w 238"/>
                      <a:gd name="T85" fmla="*/ 47 h 247"/>
                      <a:gd name="T86" fmla="*/ 290 w 238"/>
                      <a:gd name="T87" fmla="*/ 37 h 247"/>
                      <a:gd name="T88" fmla="*/ 320 w 238"/>
                      <a:gd name="T89" fmla="*/ 47 h 247"/>
                      <a:gd name="T90" fmla="*/ 338 w 238"/>
                      <a:gd name="T91" fmla="*/ 64 h 247"/>
                      <a:gd name="T92" fmla="*/ 343 w 238"/>
                      <a:gd name="T93" fmla="*/ 70 h 247"/>
                      <a:gd name="T94" fmla="*/ 347 w 238"/>
                      <a:gd name="T95" fmla="*/ 82 h 247"/>
                      <a:gd name="T96" fmla="*/ 354 w 238"/>
                      <a:gd name="T97" fmla="*/ 128 h 247"/>
                      <a:gd name="T98" fmla="*/ 342 w 238"/>
                      <a:gd name="T99" fmla="*/ 138 h 247"/>
                      <a:gd name="T100" fmla="*/ 331 w 238"/>
                      <a:gd name="T101" fmla="*/ 179 h 247"/>
                      <a:gd name="T102" fmla="*/ 315 w 238"/>
                      <a:gd name="T103" fmla="*/ 212 h 247"/>
                      <a:gd name="T104" fmla="*/ 332 w 238"/>
                      <a:gd name="T105" fmla="*/ 256 h 247"/>
                      <a:gd name="T106" fmla="*/ 343 w 238"/>
                      <a:gd name="T107" fmla="*/ 282 h 247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38"/>
                      <a:gd name="T163" fmla="*/ 0 h 247"/>
                      <a:gd name="T164" fmla="*/ 238 w 238"/>
                      <a:gd name="T165" fmla="*/ 247 h 247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38" h="247">
                        <a:moveTo>
                          <a:pt x="215" y="213"/>
                        </a:moveTo>
                        <a:lnTo>
                          <a:pt x="212" y="219"/>
                        </a:lnTo>
                        <a:lnTo>
                          <a:pt x="210" y="219"/>
                        </a:lnTo>
                        <a:lnTo>
                          <a:pt x="208" y="219"/>
                        </a:lnTo>
                        <a:lnTo>
                          <a:pt x="193" y="216"/>
                        </a:lnTo>
                        <a:lnTo>
                          <a:pt x="181" y="213"/>
                        </a:lnTo>
                        <a:lnTo>
                          <a:pt x="169" y="213"/>
                        </a:lnTo>
                        <a:lnTo>
                          <a:pt x="154" y="215"/>
                        </a:lnTo>
                        <a:lnTo>
                          <a:pt x="146" y="216"/>
                        </a:lnTo>
                        <a:lnTo>
                          <a:pt x="122" y="221"/>
                        </a:lnTo>
                        <a:lnTo>
                          <a:pt x="113" y="222"/>
                        </a:lnTo>
                        <a:lnTo>
                          <a:pt x="95" y="226"/>
                        </a:lnTo>
                        <a:lnTo>
                          <a:pt x="85" y="231"/>
                        </a:lnTo>
                        <a:lnTo>
                          <a:pt x="68" y="238"/>
                        </a:lnTo>
                        <a:lnTo>
                          <a:pt x="51" y="247"/>
                        </a:lnTo>
                        <a:lnTo>
                          <a:pt x="41" y="246"/>
                        </a:lnTo>
                        <a:lnTo>
                          <a:pt x="40" y="243"/>
                        </a:lnTo>
                        <a:lnTo>
                          <a:pt x="40" y="225"/>
                        </a:lnTo>
                        <a:lnTo>
                          <a:pt x="41" y="222"/>
                        </a:lnTo>
                        <a:lnTo>
                          <a:pt x="40" y="217"/>
                        </a:lnTo>
                        <a:lnTo>
                          <a:pt x="41" y="216"/>
                        </a:lnTo>
                        <a:lnTo>
                          <a:pt x="42" y="216"/>
                        </a:lnTo>
                        <a:lnTo>
                          <a:pt x="42" y="210"/>
                        </a:lnTo>
                        <a:lnTo>
                          <a:pt x="44" y="208"/>
                        </a:lnTo>
                        <a:lnTo>
                          <a:pt x="47" y="208"/>
                        </a:lnTo>
                        <a:lnTo>
                          <a:pt x="47" y="207"/>
                        </a:lnTo>
                        <a:lnTo>
                          <a:pt x="46" y="203"/>
                        </a:lnTo>
                        <a:lnTo>
                          <a:pt x="47" y="198"/>
                        </a:lnTo>
                        <a:lnTo>
                          <a:pt x="46" y="195"/>
                        </a:lnTo>
                        <a:lnTo>
                          <a:pt x="44" y="192"/>
                        </a:lnTo>
                        <a:lnTo>
                          <a:pt x="44" y="187"/>
                        </a:lnTo>
                        <a:lnTo>
                          <a:pt x="40" y="188"/>
                        </a:lnTo>
                        <a:lnTo>
                          <a:pt x="36" y="185"/>
                        </a:lnTo>
                        <a:lnTo>
                          <a:pt x="32" y="184"/>
                        </a:lnTo>
                        <a:lnTo>
                          <a:pt x="32" y="182"/>
                        </a:lnTo>
                        <a:lnTo>
                          <a:pt x="30" y="178"/>
                        </a:lnTo>
                        <a:lnTo>
                          <a:pt x="27" y="177"/>
                        </a:lnTo>
                        <a:lnTo>
                          <a:pt x="27" y="174"/>
                        </a:lnTo>
                        <a:lnTo>
                          <a:pt x="24" y="169"/>
                        </a:lnTo>
                        <a:lnTo>
                          <a:pt x="23" y="169"/>
                        </a:lnTo>
                        <a:lnTo>
                          <a:pt x="16" y="169"/>
                        </a:lnTo>
                        <a:lnTo>
                          <a:pt x="10" y="166"/>
                        </a:lnTo>
                        <a:lnTo>
                          <a:pt x="8" y="166"/>
                        </a:lnTo>
                        <a:lnTo>
                          <a:pt x="7" y="165"/>
                        </a:lnTo>
                        <a:lnTo>
                          <a:pt x="6" y="164"/>
                        </a:lnTo>
                        <a:lnTo>
                          <a:pt x="4" y="164"/>
                        </a:lnTo>
                        <a:lnTo>
                          <a:pt x="3" y="162"/>
                        </a:lnTo>
                        <a:lnTo>
                          <a:pt x="1" y="162"/>
                        </a:lnTo>
                        <a:lnTo>
                          <a:pt x="0" y="161"/>
                        </a:lnTo>
                        <a:lnTo>
                          <a:pt x="4" y="158"/>
                        </a:lnTo>
                        <a:lnTo>
                          <a:pt x="9" y="152"/>
                        </a:lnTo>
                        <a:lnTo>
                          <a:pt x="9" y="151"/>
                        </a:lnTo>
                        <a:lnTo>
                          <a:pt x="13" y="139"/>
                        </a:lnTo>
                        <a:lnTo>
                          <a:pt x="9" y="137"/>
                        </a:lnTo>
                        <a:lnTo>
                          <a:pt x="9" y="135"/>
                        </a:lnTo>
                        <a:lnTo>
                          <a:pt x="8" y="133"/>
                        </a:lnTo>
                        <a:lnTo>
                          <a:pt x="6" y="133"/>
                        </a:lnTo>
                        <a:lnTo>
                          <a:pt x="4" y="126"/>
                        </a:lnTo>
                        <a:lnTo>
                          <a:pt x="4" y="123"/>
                        </a:lnTo>
                        <a:lnTo>
                          <a:pt x="6" y="121"/>
                        </a:lnTo>
                        <a:lnTo>
                          <a:pt x="16" y="121"/>
                        </a:lnTo>
                        <a:lnTo>
                          <a:pt x="16" y="120"/>
                        </a:lnTo>
                        <a:lnTo>
                          <a:pt x="20" y="114"/>
                        </a:lnTo>
                        <a:lnTo>
                          <a:pt x="20" y="109"/>
                        </a:lnTo>
                        <a:lnTo>
                          <a:pt x="20" y="104"/>
                        </a:lnTo>
                        <a:lnTo>
                          <a:pt x="23" y="103"/>
                        </a:lnTo>
                        <a:lnTo>
                          <a:pt x="23" y="101"/>
                        </a:lnTo>
                        <a:lnTo>
                          <a:pt x="22" y="101"/>
                        </a:lnTo>
                        <a:lnTo>
                          <a:pt x="22" y="99"/>
                        </a:lnTo>
                        <a:lnTo>
                          <a:pt x="22" y="98"/>
                        </a:lnTo>
                        <a:lnTo>
                          <a:pt x="20" y="96"/>
                        </a:lnTo>
                        <a:lnTo>
                          <a:pt x="14" y="98"/>
                        </a:lnTo>
                        <a:lnTo>
                          <a:pt x="13" y="96"/>
                        </a:lnTo>
                        <a:lnTo>
                          <a:pt x="15" y="92"/>
                        </a:lnTo>
                        <a:lnTo>
                          <a:pt x="14" y="88"/>
                        </a:lnTo>
                        <a:lnTo>
                          <a:pt x="13" y="88"/>
                        </a:lnTo>
                        <a:lnTo>
                          <a:pt x="18" y="85"/>
                        </a:lnTo>
                        <a:lnTo>
                          <a:pt x="25" y="86"/>
                        </a:lnTo>
                        <a:lnTo>
                          <a:pt x="27" y="88"/>
                        </a:lnTo>
                        <a:lnTo>
                          <a:pt x="29" y="88"/>
                        </a:lnTo>
                        <a:lnTo>
                          <a:pt x="31" y="88"/>
                        </a:lnTo>
                        <a:lnTo>
                          <a:pt x="33" y="92"/>
                        </a:lnTo>
                        <a:lnTo>
                          <a:pt x="34" y="92"/>
                        </a:lnTo>
                        <a:lnTo>
                          <a:pt x="33" y="86"/>
                        </a:lnTo>
                        <a:lnTo>
                          <a:pt x="33" y="83"/>
                        </a:lnTo>
                        <a:lnTo>
                          <a:pt x="31" y="81"/>
                        </a:lnTo>
                        <a:lnTo>
                          <a:pt x="31" y="76"/>
                        </a:lnTo>
                        <a:lnTo>
                          <a:pt x="29" y="76"/>
                        </a:lnTo>
                        <a:lnTo>
                          <a:pt x="26" y="75"/>
                        </a:lnTo>
                        <a:lnTo>
                          <a:pt x="25" y="75"/>
                        </a:lnTo>
                        <a:lnTo>
                          <a:pt x="27" y="69"/>
                        </a:lnTo>
                        <a:lnTo>
                          <a:pt x="30" y="66"/>
                        </a:lnTo>
                        <a:lnTo>
                          <a:pt x="32" y="65"/>
                        </a:lnTo>
                        <a:lnTo>
                          <a:pt x="32" y="63"/>
                        </a:lnTo>
                        <a:lnTo>
                          <a:pt x="29" y="60"/>
                        </a:lnTo>
                        <a:lnTo>
                          <a:pt x="26" y="62"/>
                        </a:lnTo>
                        <a:lnTo>
                          <a:pt x="27" y="52"/>
                        </a:lnTo>
                        <a:lnTo>
                          <a:pt x="23" y="52"/>
                        </a:lnTo>
                        <a:lnTo>
                          <a:pt x="17" y="48"/>
                        </a:lnTo>
                        <a:lnTo>
                          <a:pt x="17" y="35"/>
                        </a:lnTo>
                        <a:lnTo>
                          <a:pt x="16" y="30"/>
                        </a:lnTo>
                        <a:lnTo>
                          <a:pt x="18" y="28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27" y="19"/>
                        </a:lnTo>
                        <a:lnTo>
                          <a:pt x="30" y="15"/>
                        </a:lnTo>
                        <a:lnTo>
                          <a:pt x="31" y="14"/>
                        </a:lnTo>
                        <a:lnTo>
                          <a:pt x="32" y="11"/>
                        </a:lnTo>
                        <a:lnTo>
                          <a:pt x="34" y="11"/>
                        </a:lnTo>
                        <a:lnTo>
                          <a:pt x="37" y="11"/>
                        </a:lnTo>
                        <a:lnTo>
                          <a:pt x="40" y="9"/>
                        </a:lnTo>
                        <a:lnTo>
                          <a:pt x="42" y="10"/>
                        </a:lnTo>
                        <a:lnTo>
                          <a:pt x="46" y="14"/>
                        </a:lnTo>
                        <a:lnTo>
                          <a:pt x="47" y="18"/>
                        </a:lnTo>
                        <a:lnTo>
                          <a:pt x="47" y="17"/>
                        </a:lnTo>
                        <a:lnTo>
                          <a:pt x="49" y="15"/>
                        </a:lnTo>
                        <a:lnTo>
                          <a:pt x="51" y="15"/>
                        </a:lnTo>
                        <a:lnTo>
                          <a:pt x="54" y="19"/>
                        </a:lnTo>
                        <a:lnTo>
                          <a:pt x="57" y="21"/>
                        </a:lnTo>
                        <a:lnTo>
                          <a:pt x="59" y="21"/>
                        </a:lnTo>
                        <a:lnTo>
                          <a:pt x="61" y="18"/>
                        </a:lnTo>
                        <a:lnTo>
                          <a:pt x="61" y="15"/>
                        </a:lnTo>
                        <a:lnTo>
                          <a:pt x="65" y="14"/>
                        </a:lnTo>
                        <a:lnTo>
                          <a:pt x="73" y="14"/>
                        </a:lnTo>
                        <a:lnTo>
                          <a:pt x="74" y="11"/>
                        </a:lnTo>
                        <a:lnTo>
                          <a:pt x="73" y="7"/>
                        </a:lnTo>
                        <a:lnTo>
                          <a:pt x="73" y="4"/>
                        </a:lnTo>
                        <a:lnTo>
                          <a:pt x="74" y="2"/>
                        </a:lnTo>
                        <a:lnTo>
                          <a:pt x="77" y="2"/>
                        </a:lnTo>
                        <a:lnTo>
                          <a:pt x="80" y="5"/>
                        </a:lnTo>
                        <a:lnTo>
                          <a:pt x="81" y="5"/>
                        </a:lnTo>
                        <a:lnTo>
                          <a:pt x="84" y="0"/>
                        </a:lnTo>
                        <a:lnTo>
                          <a:pt x="88" y="0"/>
                        </a:lnTo>
                        <a:lnTo>
                          <a:pt x="90" y="0"/>
                        </a:lnTo>
                        <a:lnTo>
                          <a:pt x="91" y="0"/>
                        </a:lnTo>
                        <a:lnTo>
                          <a:pt x="91" y="5"/>
                        </a:lnTo>
                        <a:lnTo>
                          <a:pt x="92" y="7"/>
                        </a:lnTo>
                        <a:lnTo>
                          <a:pt x="92" y="15"/>
                        </a:lnTo>
                        <a:lnTo>
                          <a:pt x="92" y="18"/>
                        </a:lnTo>
                        <a:lnTo>
                          <a:pt x="99" y="18"/>
                        </a:lnTo>
                        <a:lnTo>
                          <a:pt x="102" y="15"/>
                        </a:lnTo>
                        <a:lnTo>
                          <a:pt x="104" y="15"/>
                        </a:lnTo>
                        <a:lnTo>
                          <a:pt x="106" y="10"/>
                        </a:lnTo>
                        <a:lnTo>
                          <a:pt x="109" y="10"/>
                        </a:lnTo>
                        <a:lnTo>
                          <a:pt x="116" y="10"/>
                        </a:lnTo>
                        <a:lnTo>
                          <a:pt x="117" y="11"/>
                        </a:lnTo>
                        <a:lnTo>
                          <a:pt x="120" y="15"/>
                        </a:lnTo>
                        <a:lnTo>
                          <a:pt x="122" y="15"/>
                        </a:lnTo>
                        <a:lnTo>
                          <a:pt x="130" y="15"/>
                        </a:lnTo>
                        <a:lnTo>
                          <a:pt x="132" y="15"/>
                        </a:lnTo>
                        <a:lnTo>
                          <a:pt x="133" y="15"/>
                        </a:lnTo>
                        <a:lnTo>
                          <a:pt x="133" y="19"/>
                        </a:lnTo>
                        <a:lnTo>
                          <a:pt x="133" y="21"/>
                        </a:lnTo>
                        <a:lnTo>
                          <a:pt x="135" y="21"/>
                        </a:lnTo>
                        <a:lnTo>
                          <a:pt x="137" y="25"/>
                        </a:lnTo>
                        <a:lnTo>
                          <a:pt x="139" y="26"/>
                        </a:lnTo>
                        <a:lnTo>
                          <a:pt x="139" y="28"/>
                        </a:lnTo>
                        <a:lnTo>
                          <a:pt x="139" y="31"/>
                        </a:lnTo>
                        <a:lnTo>
                          <a:pt x="142" y="31"/>
                        </a:lnTo>
                        <a:lnTo>
                          <a:pt x="145" y="34"/>
                        </a:lnTo>
                        <a:lnTo>
                          <a:pt x="145" y="36"/>
                        </a:lnTo>
                        <a:lnTo>
                          <a:pt x="150" y="40"/>
                        </a:lnTo>
                        <a:lnTo>
                          <a:pt x="150" y="38"/>
                        </a:lnTo>
                        <a:lnTo>
                          <a:pt x="154" y="38"/>
                        </a:lnTo>
                        <a:lnTo>
                          <a:pt x="154" y="36"/>
                        </a:lnTo>
                        <a:lnTo>
                          <a:pt x="155" y="36"/>
                        </a:lnTo>
                        <a:lnTo>
                          <a:pt x="157" y="40"/>
                        </a:lnTo>
                        <a:lnTo>
                          <a:pt x="162" y="41"/>
                        </a:lnTo>
                        <a:lnTo>
                          <a:pt x="165" y="40"/>
                        </a:lnTo>
                        <a:lnTo>
                          <a:pt x="167" y="35"/>
                        </a:lnTo>
                        <a:lnTo>
                          <a:pt x="170" y="35"/>
                        </a:lnTo>
                        <a:lnTo>
                          <a:pt x="175" y="33"/>
                        </a:lnTo>
                        <a:lnTo>
                          <a:pt x="185" y="31"/>
                        </a:lnTo>
                        <a:lnTo>
                          <a:pt x="191" y="28"/>
                        </a:lnTo>
                        <a:lnTo>
                          <a:pt x="197" y="30"/>
                        </a:lnTo>
                        <a:lnTo>
                          <a:pt x="204" y="31"/>
                        </a:lnTo>
                        <a:lnTo>
                          <a:pt x="208" y="30"/>
                        </a:lnTo>
                        <a:lnTo>
                          <a:pt x="212" y="35"/>
                        </a:lnTo>
                        <a:lnTo>
                          <a:pt x="215" y="36"/>
                        </a:lnTo>
                        <a:lnTo>
                          <a:pt x="217" y="40"/>
                        </a:lnTo>
                        <a:lnTo>
                          <a:pt x="220" y="47"/>
                        </a:lnTo>
                        <a:lnTo>
                          <a:pt x="223" y="48"/>
                        </a:lnTo>
                        <a:lnTo>
                          <a:pt x="226" y="48"/>
                        </a:lnTo>
                        <a:lnTo>
                          <a:pt x="229" y="47"/>
                        </a:lnTo>
                        <a:lnTo>
                          <a:pt x="229" y="50"/>
                        </a:lnTo>
                        <a:lnTo>
                          <a:pt x="227" y="52"/>
                        </a:lnTo>
                        <a:lnTo>
                          <a:pt x="229" y="57"/>
                        </a:lnTo>
                        <a:lnTo>
                          <a:pt x="226" y="60"/>
                        </a:lnTo>
                        <a:lnTo>
                          <a:pt x="225" y="62"/>
                        </a:lnTo>
                        <a:lnTo>
                          <a:pt x="229" y="62"/>
                        </a:lnTo>
                        <a:lnTo>
                          <a:pt x="230" y="65"/>
                        </a:lnTo>
                        <a:lnTo>
                          <a:pt x="235" y="84"/>
                        </a:lnTo>
                        <a:lnTo>
                          <a:pt x="238" y="94"/>
                        </a:lnTo>
                        <a:lnTo>
                          <a:pt x="233" y="96"/>
                        </a:lnTo>
                        <a:lnTo>
                          <a:pt x="233" y="99"/>
                        </a:lnTo>
                        <a:lnTo>
                          <a:pt x="230" y="99"/>
                        </a:lnTo>
                        <a:lnTo>
                          <a:pt x="229" y="103"/>
                        </a:lnTo>
                        <a:lnTo>
                          <a:pt x="226" y="104"/>
                        </a:lnTo>
                        <a:lnTo>
                          <a:pt x="224" y="111"/>
                        </a:lnTo>
                        <a:lnTo>
                          <a:pt x="219" y="120"/>
                        </a:lnTo>
                        <a:lnTo>
                          <a:pt x="218" y="126"/>
                        </a:lnTo>
                        <a:lnTo>
                          <a:pt x="218" y="134"/>
                        </a:lnTo>
                        <a:lnTo>
                          <a:pt x="215" y="137"/>
                        </a:lnTo>
                        <a:lnTo>
                          <a:pt x="212" y="142"/>
                        </a:lnTo>
                        <a:lnTo>
                          <a:pt x="208" y="147"/>
                        </a:lnTo>
                        <a:lnTo>
                          <a:pt x="208" y="159"/>
                        </a:lnTo>
                        <a:lnTo>
                          <a:pt x="208" y="165"/>
                        </a:lnTo>
                        <a:lnTo>
                          <a:pt x="213" y="178"/>
                        </a:lnTo>
                        <a:lnTo>
                          <a:pt x="215" y="190"/>
                        </a:lnTo>
                        <a:lnTo>
                          <a:pt x="219" y="193"/>
                        </a:lnTo>
                        <a:lnTo>
                          <a:pt x="224" y="195"/>
                        </a:lnTo>
                        <a:lnTo>
                          <a:pt x="226" y="195"/>
                        </a:lnTo>
                        <a:lnTo>
                          <a:pt x="227" y="203"/>
                        </a:lnTo>
                        <a:lnTo>
                          <a:pt x="227" y="213"/>
                        </a:lnTo>
                        <a:lnTo>
                          <a:pt x="223" y="215"/>
                        </a:lnTo>
                        <a:lnTo>
                          <a:pt x="220" y="213"/>
                        </a:lnTo>
                        <a:lnTo>
                          <a:pt x="215" y="213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55" name="Freeform 53"/>
                  <p:cNvSpPr>
                    <a:spLocks/>
                  </p:cNvSpPr>
                  <p:nvPr/>
                </p:nvSpPr>
                <p:spPr bwMode="auto">
                  <a:xfrm>
                    <a:off x="922" y="2087"/>
                    <a:ext cx="255" cy="259"/>
                  </a:xfrm>
                  <a:custGeom>
                    <a:avLst/>
                    <a:gdLst>
                      <a:gd name="T0" fmla="*/ 19851 w 238"/>
                      <a:gd name="T1" fmla="*/ 5029 h 247"/>
                      <a:gd name="T2" fmla="*/ 14734 w 238"/>
                      <a:gd name="T3" fmla="*/ 4903 h 247"/>
                      <a:gd name="T4" fmla="*/ 9090 w 238"/>
                      <a:gd name="T5" fmla="*/ 5187 h 247"/>
                      <a:gd name="T6" fmla="*/ 3852 w 238"/>
                      <a:gd name="T7" fmla="*/ 5615 h 247"/>
                      <a:gd name="T8" fmla="*/ 3838 w 238"/>
                      <a:gd name="T9" fmla="*/ 4989 h 247"/>
                      <a:gd name="T10" fmla="*/ 4127 w 238"/>
                      <a:gd name="T11" fmla="*/ 4768 h 247"/>
                      <a:gd name="T12" fmla="*/ 4422 w 238"/>
                      <a:gd name="T13" fmla="*/ 4547 h 247"/>
                      <a:gd name="T14" fmla="*/ 3838 w 238"/>
                      <a:gd name="T15" fmla="*/ 4328 h 247"/>
                      <a:gd name="T16" fmla="*/ 2822 w 238"/>
                      <a:gd name="T17" fmla="*/ 4092 h 247"/>
                      <a:gd name="T18" fmla="*/ 2217 w 238"/>
                      <a:gd name="T19" fmla="*/ 3841 h 247"/>
                      <a:gd name="T20" fmla="*/ 788 w 238"/>
                      <a:gd name="T21" fmla="*/ 3783 h 247"/>
                      <a:gd name="T22" fmla="*/ 1 w 238"/>
                      <a:gd name="T23" fmla="*/ 3721 h 247"/>
                      <a:gd name="T24" fmla="*/ 904 w 238"/>
                      <a:gd name="T25" fmla="*/ 3447 h 247"/>
                      <a:gd name="T26" fmla="*/ 844 w 238"/>
                      <a:gd name="T27" fmla="*/ 3025 h 247"/>
                      <a:gd name="T28" fmla="*/ 6 w 238"/>
                      <a:gd name="T29" fmla="*/ 2751 h 247"/>
                      <a:gd name="T30" fmla="*/ 1931 w 238"/>
                      <a:gd name="T31" fmla="*/ 2496 h 247"/>
                      <a:gd name="T32" fmla="*/ 2141 w 238"/>
                      <a:gd name="T33" fmla="*/ 2336 h 247"/>
                      <a:gd name="T34" fmla="*/ 1276 w 238"/>
                      <a:gd name="T35" fmla="*/ 2246 h 247"/>
                      <a:gd name="T36" fmla="*/ 1191 w 238"/>
                      <a:gd name="T37" fmla="*/ 2027 h 247"/>
                      <a:gd name="T38" fmla="*/ 2545 w 238"/>
                      <a:gd name="T39" fmla="*/ 2027 h 247"/>
                      <a:gd name="T40" fmla="*/ 3240 w 238"/>
                      <a:gd name="T41" fmla="*/ 2125 h 247"/>
                      <a:gd name="T42" fmla="*/ 2922 w 238"/>
                      <a:gd name="T43" fmla="*/ 1758 h 247"/>
                      <a:gd name="T44" fmla="*/ 2545 w 238"/>
                      <a:gd name="T45" fmla="*/ 1557 h 247"/>
                      <a:gd name="T46" fmla="*/ 2727 w 238"/>
                      <a:gd name="T47" fmla="*/ 1350 h 247"/>
                      <a:gd name="T48" fmla="*/ 1570 w 238"/>
                      <a:gd name="T49" fmla="*/ 1102 h 247"/>
                      <a:gd name="T50" fmla="*/ 1682 w 238"/>
                      <a:gd name="T51" fmla="*/ 573 h 247"/>
                      <a:gd name="T52" fmla="*/ 2822 w 238"/>
                      <a:gd name="T53" fmla="*/ 340 h 247"/>
                      <a:gd name="T54" fmla="*/ 3582 w 238"/>
                      <a:gd name="T55" fmla="*/ 281 h 247"/>
                      <a:gd name="T56" fmla="*/ 4422 w 238"/>
                      <a:gd name="T57" fmla="*/ 392 h 247"/>
                      <a:gd name="T58" fmla="*/ 5076 w 238"/>
                      <a:gd name="T59" fmla="*/ 411 h 247"/>
                      <a:gd name="T60" fmla="*/ 5806 w 238"/>
                      <a:gd name="T61" fmla="*/ 340 h 247"/>
                      <a:gd name="T62" fmla="*/ 6921 w 238"/>
                      <a:gd name="T63" fmla="*/ 7 h 247"/>
                      <a:gd name="T64" fmla="*/ 7651 w 238"/>
                      <a:gd name="T65" fmla="*/ 5 h 247"/>
                      <a:gd name="T66" fmla="*/ 8513 w 238"/>
                      <a:gd name="T67" fmla="*/ 0 h 247"/>
                      <a:gd name="T68" fmla="*/ 8784 w 238"/>
                      <a:gd name="T69" fmla="*/ 340 h 247"/>
                      <a:gd name="T70" fmla="*/ 9958 w 238"/>
                      <a:gd name="T71" fmla="*/ 340 h 247"/>
                      <a:gd name="T72" fmla="*/ 11180 w 238"/>
                      <a:gd name="T73" fmla="*/ 281 h 247"/>
                      <a:gd name="T74" fmla="*/ 12450 w 238"/>
                      <a:gd name="T75" fmla="*/ 340 h 247"/>
                      <a:gd name="T76" fmla="*/ 12879 w 238"/>
                      <a:gd name="T77" fmla="*/ 452 h 247"/>
                      <a:gd name="T78" fmla="*/ 13151 w 238"/>
                      <a:gd name="T79" fmla="*/ 727 h 247"/>
                      <a:gd name="T80" fmla="*/ 14237 w 238"/>
                      <a:gd name="T81" fmla="*/ 912 h 247"/>
                      <a:gd name="T82" fmla="*/ 14785 w 238"/>
                      <a:gd name="T83" fmla="*/ 830 h 247"/>
                      <a:gd name="T84" fmla="*/ 15932 w 238"/>
                      <a:gd name="T85" fmla="*/ 799 h 247"/>
                      <a:gd name="T86" fmla="*/ 18185 w 238"/>
                      <a:gd name="T87" fmla="*/ 630 h 247"/>
                      <a:gd name="T88" fmla="*/ 20102 w 238"/>
                      <a:gd name="T89" fmla="*/ 799 h 247"/>
                      <a:gd name="T90" fmla="*/ 21269 w 238"/>
                      <a:gd name="T91" fmla="*/ 1102 h 247"/>
                      <a:gd name="T92" fmla="*/ 21538 w 238"/>
                      <a:gd name="T93" fmla="*/ 1212 h 247"/>
                      <a:gd name="T94" fmla="*/ 21857 w 238"/>
                      <a:gd name="T95" fmla="*/ 1413 h 247"/>
                      <a:gd name="T96" fmla="*/ 22197 w 238"/>
                      <a:gd name="T97" fmla="*/ 2228 h 247"/>
                      <a:gd name="T98" fmla="*/ 21468 w 238"/>
                      <a:gd name="T99" fmla="*/ 2380 h 247"/>
                      <a:gd name="T100" fmla="*/ 20760 w 238"/>
                      <a:gd name="T101" fmla="*/ 3105 h 247"/>
                      <a:gd name="T102" fmla="*/ 19851 w 238"/>
                      <a:gd name="T103" fmla="*/ 3648 h 247"/>
                      <a:gd name="T104" fmla="*/ 20803 w 238"/>
                      <a:gd name="T105" fmla="*/ 4410 h 247"/>
                      <a:gd name="T106" fmla="*/ 21538 w 238"/>
                      <a:gd name="T107" fmla="*/ 4861 h 247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238"/>
                      <a:gd name="T163" fmla="*/ 0 h 247"/>
                      <a:gd name="T164" fmla="*/ 238 w 238"/>
                      <a:gd name="T165" fmla="*/ 247 h 247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238" h="247">
                        <a:moveTo>
                          <a:pt x="215" y="213"/>
                        </a:moveTo>
                        <a:lnTo>
                          <a:pt x="212" y="219"/>
                        </a:lnTo>
                        <a:lnTo>
                          <a:pt x="210" y="219"/>
                        </a:lnTo>
                        <a:lnTo>
                          <a:pt x="208" y="219"/>
                        </a:lnTo>
                        <a:lnTo>
                          <a:pt x="193" y="216"/>
                        </a:lnTo>
                        <a:lnTo>
                          <a:pt x="181" y="213"/>
                        </a:lnTo>
                        <a:lnTo>
                          <a:pt x="169" y="213"/>
                        </a:lnTo>
                        <a:lnTo>
                          <a:pt x="154" y="215"/>
                        </a:lnTo>
                        <a:lnTo>
                          <a:pt x="146" y="216"/>
                        </a:lnTo>
                        <a:lnTo>
                          <a:pt x="122" y="221"/>
                        </a:lnTo>
                        <a:lnTo>
                          <a:pt x="113" y="222"/>
                        </a:lnTo>
                        <a:lnTo>
                          <a:pt x="95" y="226"/>
                        </a:lnTo>
                        <a:lnTo>
                          <a:pt x="85" y="231"/>
                        </a:lnTo>
                        <a:lnTo>
                          <a:pt x="68" y="238"/>
                        </a:lnTo>
                        <a:lnTo>
                          <a:pt x="51" y="247"/>
                        </a:lnTo>
                        <a:lnTo>
                          <a:pt x="41" y="246"/>
                        </a:lnTo>
                        <a:lnTo>
                          <a:pt x="40" y="243"/>
                        </a:lnTo>
                        <a:lnTo>
                          <a:pt x="40" y="225"/>
                        </a:lnTo>
                        <a:lnTo>
                          <a:pt x="41" y="222"/>
                        </a:lnTo>
                        <a:lnTo>
                          <a:pt x="40" y="217"/>
                        </a:lnTo>
                        <a:lnTo>
                          <a:pt x="41" y="216"/>
                        </a:lnTo>
                        <a:lnTo>
                          <a:pt x="42" y="216"/>
                        </a:lnTo>
                        <a:lnTo>
                          <a:pt x="42" y="210"/>
                        </a:lnTo>
                        <a:lnTo>
                          <a:pt x="44" y="208"/>
                        </a:lnTo>
                        <a:lnTo>
                          <a:pt x="47" y="208"/>
                        </a:lnTo>
                        <a:lnTo>
                          <a:pt x="47" y="207"/>
                        </a:lnTo>
                        <a:lnTo>
                          <a:pt x="46" y="203"/>
                        </a:lnTo>
                        <a:lnTo>
                          <a:pt x="47" y="198"/>
                        </a:lnTo>
                        <a:lnTo>
                          <a:pt x="46" y="195"/>
                        </a:lnTo>
                        <a:lnTo>
                          <a:pt x="44" y="192"/>
                        </a:lnTo>
                        <a:lnTo>
                          <a:pt x="44" y="187"/>
                        </a:lnTo>
                        <a:lnTo>
                          <a:pt x="40" y="188"/>
                        </a:lnTo>
                        <a:lnTo>
                          <a:pt x="36" y="185"/>
                        </a:lnTo>
                        <a:lnTo>
                          <a:pt x="32" y="184"/>
                        </a:lnTo>
                        <a:lnTo>
                          <a:pt x="32" y="182"/>
                        </a:lnTo>
                        <a:lnTo>
                          <a:pt x="30" y="178"/>
                        </a:lnTo>
                        <a:lnTo>
                          <a:pt x="27" y="177"/>
                        </a:lnTo>
                        <a:lnTo>
                          <a:pt x="27" y="174"/>
                        </a:lnTo>
                        <a:lnTo>
                          <a:pt x="24" y="169"/>
                        </a:lnTo>
                        <a:lnTo>
                          <a:pt x="23" y="169"/>
                        </a:lnTo>
                        <a:lnTo>
                          <a:pt x="16" y="169"/>
                        </a:lnTo>
                        <a:lnTo>
                          <a:pt x="10" y="166"/>
                        </a:lnTo>
                        <a:lnTo>
                          <a:pt x="8" y="166"/>
                        </a:lnTo>
                        <a:lnTo>
                          <a:pt x="7" y="165"/>
                        </a:lnTo>
                        <a:lnTo>
                          <a:pt x="6" y="164"/>
                        </a:lnTo>
                        <a:lnTo>
                          <a:pt x="4" y="164"/>
                        </a:lnTo>
                        <a:lnTo>
                          <a:pt x="3" y="162"/>
                        </a:lnTo>
                        <a:lnTo>
                          <a:pt x="1" y="162"/>
                        </a:lnTo>
                        <a:lnTo>
                          <a:pt x="0" y="161"/>
                        </a:lnTo>
                        <a:lnTo>
                          <a:pt x="4" y="158"/>
                        </a:lnTo>
                        <a:lnTo>
                          <a:pt x="9" y="152"/>
                        </a:lnTo>
                        <a:lnTo>
                          <a:pt x="9" y="151"/>
                        </a:lnTo>
                        <a:lnTo>
                          <a:pt x="13" y="139"/>
                        </a:lnTo>
                        <a:lnTo>
                          <a:pt x="9" y="137"/>
                        </a:lnTo>
                        <a:lnTo>
                          <a:pt x="9" y="135"/>
                        </a:lnTo>
                        <a:lnTo>
                          <a:pt x="8" y="133"/>
                        </a:lnTo>
                        <a:lnTo>
                          <a:pt x="6" y="133"/>
                        </a:lnTo>
                        <a:lnTo>
                          <a:pt x="4" y="126"/>
                        </a:lnTo>
                        <a:lnTo>
                          <a:pt x="4" y="123"/>
                        </a:lnTo>
                        <a:lnTo>
                          <a:pt x="6" y="121"/>
                        </a:lnTo>
                        <a:lnTo>
                          <a:pt x="16" y="121"/>
                        </a:lnTo>
                        <a:lnTo>
                          <a:pt x="16" y="120"/>
                        </a:lnTo>
                        <a:lnTo>
                          <a:pt x="20" y="114"/>
                        </a:lnTo>
                        <a:lnTo>
                          <a:pt x="20" y="109"/>
                        </a:lnTo>
                        <a:lnTo>
                          <a:pt x="20" y="104"/>
                        </a:lnTo>
                        <a:lnTo>
                          <a:pt x="23" y="103"/>
                        </a:lnTo>
                        <a:lnTo>
                          <a:pt x="23" y="101"/>
                        </a:lnTo>
                        <a:lnTo>
                          <a:pt x="22" y="101"/>
                        </a:lnTo>
                        <a:lnTo>
                          <a:pt x="22" y="99"/>
                        </a:lnTo>
                        <a:lnTo>
                          <a:pt x="22" y="98"/>
                        </a:lnTo>
                        <a:lnTo>
                          <a:pt x="20" y="96"/>
                        </a:lnTo>
                        <a:lnTo>
                          <a:pt x="14" y="98"/>
                        </a:lnTo>
                        <a:lnTo>
                          <a:pt x="13" y="96"/>
                        </a:lnTo>
                        <a:lnTo>
                          <a:pt x="15" y="92"/>
                        </a:lnTo>
                        <a:lnTo>
                          <a:pt x="14" y="88"/>
                        </a:lnTo>
                        <a:lnTo>
                          <a:pt x="13" y="88"/>
                        </a:lnTo>
                        <a:lnTo>
                          <a:pt x="18" y="85"/>
                        </a:lnTo>
                        <a:lnTo>
                          <a:pt x="25" y="86"/>
                        </a:lnTo>
                        <a:lnTo>
                          <a:pt x="27" y="88"/>
                        </a:lnTo>
                        <a:lnTo>
                          <a:pt x="29" y="88"/>
                        </a:lnTo>
                        <a:lnTo>
                          <a:pt x="31" y="88"/>
                        </a:lnTo>
                        <a:lnTo>
                          <a:pt x="33" y="92"/>
                        </a:lnTo>
                        <a:lnTo>
                          <a:pt x="34" y="92"/>
                        </a:lnTo>
                        <a:lnTo>
                          <a:pt x="33" y="86"/>
                        </a:lnTo>
                        <a:lnTo>
                          <a:pt x="33" y="83"/>
                        </a:lnTo>
                        <a:lnTo>
                          <a:pt x="31" y="81"/>
                        </a:lnTo>
                        <a:lnTo>
                          <a:pt x="31" y="76"/>
                        </a:lnTo>
                        <a:lnTo>
                          <a:pt x="29" y="76"/>
                        </a:lnTo>
                        <a:lnTo>
                          <a:pt x="26" y="75"/>
                        </a:lnTo>
                        <a:lnTo>
                          <a:pt x="25" y="75"/>
                        </a:lnTo>
                        <a:lnTo>
                          <a:pt x="27" y="69"/>
                        </a:lnTo>
                        <a:lnTo>
                          <a:pt x="30" y="66"/>
                        </a:lnTo>
                        <a:lnTo>
                          <a:pt x="32" y="65"/>
                        </a:lnTo>
                        <a:lnTo>
                          <a:pt x="32" y="63"/>
                        </a:lnTo>
                        <a:lnTo>
                          <a:pt x="29" y="60"/>
                        </a:lnTo>
                        <a:lnTo>
                          <a:pt x="26" y="62"/>
                        </a:lnTo>
                        <a:lnTo>
                          <a:pt x="27" y="52"/>
                        </a:lnTo>
                        <a:lnTo>
                          <a:pt x="23" y="52"/>
                        </a:lnTo>
                        <a:lnTo>
                          <a:pt x="17" y="48"/>
                        </a:lnTo>
                        <a:lnTo>
                          <a:pt x="17" y="35"/>
                        </a:lnTo>
                        <a:lnTo>
                          <a:pt x="16" y="30"/>
                        </a:lnTo>
                        <a:lnTo>
                          <a:pt x="18" y="28"/>
                        </a:lnTo>
                        <a:lnTo>
                          <a:pt x="18" y="26"/>
                        </a:lnTo>
                        <a:lnTo>
                          <a:pt x="23" y="21"/>
                        </a:lnTo>
                        <a:lnTo>
                          <a:pt x="27" y="19"/>
                        </a:lnTo>
                        <a:lnTo>
                          <a:pt x="30" y="15"/>
                        </a:lnTo>
                        <a:lnTo>
                          <a:pt x="31" y="14"/>
                        </a:lnTo>
                        <a:lnTo>
                          <a:pt x="32" y="11"/>
                        </a:lnTo>
                        <a:lnTo>
                          <a:pt x="34" y="11"/>
                        </a:lnTo>
                        <a:lnTo>
                          <a:pt x="37" y="11"/>
                        </a:lnTo>
                        <a:lnTo>
                          <a:pt x="40" y="9"/>
                        </a:lnTo>
                        <a:lnTo>
                          <a:pt x="42" y="10"/>
                        </a:lnTo>
                        <a:lnTo>
                          <a:pt x="46" y="14"/>
                        </a:lnTo>
                        <a:lnTo>
                          <a:pt x="47" y="18"/>
                        </a:lnTo>
                        <a:lnTo>
                          <a:pt x="47" y="17"/>
                        </a:lnTo>
                        <a:lnTo>
                          <a:pt x="49" y="15"/>
                        </a:lnTo>
                        <a:lnTo>
                          <a:pt x="51" y="15"/>
                        </a:lnTo>
                        <a:lnTo>
                          <a:pt x="54" y="19"/>
                        </a:lnTo>
                        <a:lnTo>
                          <a:pt x="57" y="21"/>
                        </a:lnTo>
                        <a:lnTo>
                          <a:pt x="59" y="21"/>
                        </a:lnTo>
                        <a:lnTo>
                          <a:pt x="61" y="18"/>
                        </a:lnTo>
                        <a:lnTo>
                          <a:pt x="61" y="15"/>
                        </a:lnTo>
                        <a:lnTo>
                          <a:pt x="65" y="14"/>
                        </a:lnTo>
                        <a:lnTo>
                          <a:pt x="73" y="14"/>
                        </a:lnTo>
                        <a:lnTo>
                          <a:pt x="74" y="11"/>
                        </a:lnTo>
                        <a:lnTo>
                          <a:pt x="73" y="7"/>
                        </a:lnTo>
                        <a:lnTo>
                          <a:pt x="73" y="4"/>
                        </a:lnTo>
                        <a:lnTo>
                          <a:pt x="74" y="2"/>
                        </a:lnTo>
                        <a:lnTo>
                          <a:pt x="77" y="2"/>
                        </a:lnTo>
                        <a:lnTo>
                          <a:pt x="80" y="5"/>
                        </a:lnTo>
                        <a:lnTo>
                          <a:pt x="81" y="5"/>
                        </a:lnTo>
                        <a:lnTo>
                          <a:pt x="84" y="0"/>
                        </a:lnTo>
                        <a:lnTo>
                          <a:pt x="88" y="0"/>
                        </a:lnTo>
                        <a:lnTo>
                          <a:pt x="90" y="0"/>
                        </a:lnTo>
                        <a:lnTo>
                          <a:pt x="91" y="0"/>
                        </a:lnTo>
                        <a:lnTo>
                          <a:pt x="91" y="5"/>
                        </a:lnTo>
                        <a:lnTo>
                          <a:pt x="92" y="7"/>
                        </a:lnTo>
                        <a:lnTo>
                          <a:pt x="92" y="15"/>
                        </a:lnTo>
                        <a:lnTo>
                          <a:pt x="92" y="18"/>
                        </a:lnTo>
                        <a:lnTo>
                          <a:pt x="99" y="18"/>
                        </a:lnTo>
                        <a:lnTo>
                          <a:pt x="102" y="15"/>
                        </a:lnTo>
                        <a:lnTo>
                          <a:pt x="104" y="15"/>
                        </a:lnTo>
                        <a:lnTo>
                          <a:pt x="106" y="10"/>
                        </a:lnTo>
                        <a:lnTo>
                          <a:pt x="109" y="10"/>
                        </a:lnTo>
                        <a:lnTo>
                          <a:pt x="116" y="10"/>
                        </a:lnTo>
                        <a:lnTo>
                          <a:pt x="117" y="11"/>
                        </a:lnTo>
                        <a:lnTo>
                          <a:pt x="120" y="15"/>
                        </a:lnTo>
                        <a:lnTo>
                          <a:pt x="122" y="15"/>
                        </a:lnTo>
                        <a:lnTo>
                          <a:pt x="130" y="15"/>
                        </a:lnTo>
                        <a:lnTo>
                          <a:pt x="132" y="15"/>
                        </a:lnTo>
                        <a:lnTo>
                          <a:pt x="133" y="15"/>
                        </a:lnTo>
                        <a:lnTo>
                          <a:pt x="133" y="19"/>
                        </a:lnTo>
                        <a:lnTo>
                          <a:pt x="133" y="21"/>
                        </a:lnTo>
                        <a:lnTo>
                          <a:pt x="135" y="21"/>
                        </a:lnTo>
                        <a:lnTo>
                          <a:pt x="137" y="25"/>
                        </a:lnTo>
                        <a:lnTo>
                          <a:pt x="139" y="26"/>
                        </a:lnTo>
                        <a:lnTo>
                          <a:pt x="139" y="28"/>
                        </a:lnTo>
                        <a:lnTo>
                          <a:pt x="139" y="31"/>
                        </a:lnTo>
                        <a:lnTo>
                          <a:pt x="142" y="31"/>
                        </a:lnTo>
                        <a:lnTo>
                          <a:pt x="145" y="34"/>
                        </a:lnTo>
                        <a:lnTo>
                          <a:pt x="145" y="36"/>
                        </a:lnTo>
                        <a:lnTo>
                          <a:pt x="150" y="40"/>
                        </a:lnTo>
                        <a:lnTo>
                          <a:pt x="150" y="38"/>
                        </a:lnTo>
                        <a:lnTo>
                          <a:pt x="154" y="38"/>
                        </a:lnTo>
                        <a:lnTo>
                          <a:pt x="154" y="36"/>
                        </a:lnTo>
                        <a:lnTo>
                          <a:pt x="155" y="36"/>
                        </a:lnTo>
                        <a:lnTo>
                          <a:pt x="157" y="40"/>
                        </a:lnTo>
                        <a:lnTo>
                          <a:pt x="162" y="41"/>
                        </a:lnTo>
                        <a:lnTo>
                          <a:pt x="165" y="40"/>
                        </a:lnTo>
                        <a:lnTo>
                          <a:pt x="167" y="35"/>
                        </a:lnTo>
                        <a:lnTo>
                          <a:pt x="170" y="35"/>
                        </a:lnTo>
                        <a:lnTo>
                          <a:pt x="175" y="33"/>
                        </a:lnTo>
                        <a:lnTo>
                          <a:pt x="185" y="31"/>
                        </a:lnTo>
                        <a:lnTo>
                          <a:pt x="191" y="28"/>
                        </a:lnTo>
                        <a:lnTo>
                          <a:pt x="197" y="30"/>
                        </a:lnTo>
                        <a:lnTo>
                          <a:pt x="204" y="31"/>
                        </a:lnTo>
                        <a:lnTo>
                          <a:pt x="208" y="30"/>
                        </a:lnTo>
                        <a:lnTo>
                          <a:pt x="212" y="35"/>
                        </a:lnTo>
                        <a:lnTo>
                          <a:pt x="215" y="36"/>
                        </a:lnTo>
                        <a:lnTo>
                          <a:pt x="217" y="40"/>
                        </a:lnTo>
                        <a:lnTo>
                          <a:pt x="220" y="47"/>
                        </a:lnTo>
                        <a:lnTo>
                          <a:pt x="223" y="48"/>
                        </a:lnTo>
                        <a:lnTo>
                          <a:pt x="226" y="48"/>
                        </a:lnTo>
                        <a:lnTo>
                          <a:pt x="229" y="47"/>
                        </a:lnTo>
                        <a:lnTo>
                          <a:pt x="229" y="50"/>
                        </a:lnTo>
                        <a:lnTo>
                          <a:pt x="227" y="52"/>
                        </a:lnTo>
                        <a:lnTo>
                          <a:pt x="229" y="57"/>
                        </a:lnTo>
                        <a:lnTo>
                          <a:pt x="226" y="60"/>
                        </a:lnTo>
                        <a:lnTo>
                          <a:pt x="225" y="62"/>
                        </a:lnTo>
                        <a:lnTo>
                          <a:pt x="229" y="62"/>
                        </a:lnTo>
                        <a:lnTo>
                          <a:pt x="230" y="65"/>
                        </a:lnTo>
                        <a:lnTo>
                          <a:pt x="235" y="84"/>
                        </a:lnTo>
                        <a:lnTo>
                          <a:pt x="238" y="94"/>
                        </a:lnTo>
                        <a:lnTo>
                          <a:pt x="233" y="96"/>
                        </a:lnTo>
                        <a:lnTo>
                          <a:pt x="233" y="99"/>
                        </a:lnTo>
                        <a:lnTo>
                          <a:pt x="230" y="99"/>
                        </a:lnTo>
                        <a:lnTo>
                          <a:pt x="229" y="103"/>
                        </a:lnTo>
                        <a:lnTo>
                          <a:pt x="226" y="104"/>
                        </a:lnTo>
                        <a:lnTo>
                          <a:pt x="224" y="111"/>
                        </a:lnTo>
                        <a:lnTo>
                          <a:pt x="219" y="120"/>
                        </a:lnTo>
                        <a:lnTo>
                          <a:pt x="218" y="126"/>
                        </a:lnTo>
                        <a:lnTo>
                          <a:pt x="218" y="134"/>
                        </a:lnTo>
                        <a:lnTo>
                          <a:pt x="215" y="137"/>
                        </a:lnTo>
                        <a:lnTo>
                          <a:pt x="212" y="142"/>
                        </a:lnTo>
                        <a:lnTo>
                          <a:pt x="208" y="147"/>
                        </a:lnTo>
                        <a:lnTo>
                          <a:pt x="208" y="159"/>
                        </a:lnTo>
                        <a:lnTo>
                          <a:pt x="208" y="165"/>
                        </a:lnTo>
                        <a:lnTo>
                          <a:pt x="213" y="178"/>
                        </a:lnTo>
                        <a:lnTo>
                          <a:pt x="215" y="190"/>
                        </a:lnTo>
                        <a:lnTo>
                          <a:pt x="219" y="193"/>
                        </a:lnTo>
                        <a:lnTo>
                          <a:pt x="224" y="195"/>
                        </a:lnTo>
                        <a:lnTo>
                          <a:pt x="226" y="195"/>
                        </a:lnTo>
                        <a:lnTo>
                          <a:pt x="227" y="203"/>
                        </a:lnTo>
                        <a:lnTo>
                          <a:pt x="227" y="213"/>
                        </a:lnTo>
                        <a:lnTo>
                          <a:pt x="223" y="215"/>
                        </a:lnTo>
                        <a:lnTo>
                          <a:pt x="220" y="213"/>
                        </a:lnTo>
                        <a:lnTo>
                          <a:pt x="215" y="21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6" name="Freeform 54"/>
                  <p:cNvSpPr>
                    <a:spLocks/>
                  </p:cNvSpPr>
                  <p:nvPr/>
                </p:nvSpPr>
                <p:spPr bwMode="auto">
                  <a:xfrm>
                    <a:off x="800" y="2176"/>
                    <a:ext cx="172" cy="167"/>
                  </a:xfrm>
                  <a:custGeom>
                    <a:avLst/>
                    <a:gdLst>
                      <a:gd name="T0" fmla="*/ 12058 w 161"/>
                      <a:gd name="T1" fmla="*/ 3567 h 159"/>
                      <a:gd name="T2" fmla="*/ 10776 w 161"/>
                      <a:gd name="T3" fmla="*/ 3999 h 159"/>
                      <a:gd name="T4" fmla="*/ 10113 w 161"/>
                      <a:gd name="T5" fmla="*/ 3844 h 159"/>
                      <a:gd name="T6" fmla="*/ 9419 w 161"/>
                      <a:gd name="T7" fmla="*/ 3807 h 159"/>
                      <a:gd name="T8" fmla="*/ 8476 w 161"/>
                      <a:gd name="T9" fmla="*/ 3645 h 159"/>
                      <a:gd name="T10" fmla="*/ 7249 w 161"/>
                      <a:gd name="T11" fmla="*/ 3438 h 159"/>
                      <a:gd name="T12" fmla="*/ 5701 w 161"/>
                      <a:gd name="T13" fmla="*/ 3008 h 159"/>
                      <a:gd name="T14" fmla="*/ 3504 w 161"/>
                      <a:gd name="T15" fmla="*/ 2360 h 159"/>
                      <a:gd name="T16" fmla="*/ 2580 w 161"/>
                      <a:gd name="T17" fmla="*/ 2241 h 159"/>
                      <a:gd name="T18" fmla="*/ 1563 w 161"/>
                      <a:gd name="T19" fmla="*/ 1935 h 159"/>
                      <a:gd name="T20" fmla="*/ 861 w 161"/>
                      <a:gd name="T21" fmla="*/ 1824 h 159"/>
                      <a:gd name="T22" fmla="*/ 861 w 161"/>
                      <a:gd name="T23" fmla="*/ 1670 h 159"/>
                      <a:gd name="T24" fmla="*/ 2 w 161"/>
                      <a:gd name="T25" fmla="*/ 1567 h 159"/>
                      <a:gd name="T26" fmla="*/ 2 w 161"/>
                      <a:gd name="T27" fmla="*/ 1514 h 159"/>
                      <a:gd name="T28" fmla="*/ 3 w 161"/>
                      <a:gd name="T29" fmla="*/ 1500 h 159"/>
                      <a:gd name="T30" fmla="*/ 7 w 161"/>
                      <a:gd name="T31" fmla="*/ 1360 h 159"/>
                      <a:gd name="T32" fmla="*/ 754 w 161"/>
                      <a:gd name="T33" fmla="*/ 1295 h 159"/>
                      <a:gd name="T34" fmla="*/ 983 w 161"/>
                      <a:gd name="T35" fmla="*/ 1183 h 159"/>
                      <a:gd name="T36" fmla="*/ 1670 w 161"/>
                      <a:gd name="T37" fmla="*/ 1013 h 159"/>
                      <a:gd name="T38" fmla="*/ 2175 w 161"/>
                      <a:gd name="T39" fmla="*/ 874 h 159"/>
                      <a:gd name="T40" fmla="*/ 2483 w 161"/>
                      <a:gd name="T41" fmla="*/ 754 h 159"/>
                      <a:gd name="T42" fmla="*/ 2756 w 161"/>
                      <a:gd name="T43" fmla="*/ 440 h 159"/>
                      <a:gd name="T44" fmla="*/ 3145 w 161"/>
                      <a:gd name="T45" fmla="*/ 362 h 159"/>
                      <a:gd name="T46" fmla="*/ 3743 w 161"/>
                      <a:gd name="T47" fmla="*/ 312 h 159"/>
                      <a:gd name="T48" fmla="*/ 3504 w 161"/>
                      <a:gd name="T49" fmla="*/ 5 h 159"/>
                      <a:gd name="T50" fmla="*/ 3944 w 161"/>
                      <a:gd name="T51" fmla="*/ 1 h 159"/>
                      <a:gd name="T52" fmla="*/ 4282 w 161"/>
                      <a:gd name="T53" fmla="*/ 1 h 159"/>
                      <a:gd name="T54" fmla="*/ 4676 w 161"/>
                      <a:gd name="T55" fmla="*/ 3 h 159"/>
                      <a:gd name="T56" fmla="*/ 5336 w 161"/>
                      <a:gd name="T57" fmla="*/ 0 h 159"/>
                      <a:gd name="T58" fmla="*/ 5552 w 161"/>
                      <a:gd name="T59" fmla="*/ 2 h 159"/>
                      <a:gd name="T60" fmla="*/ 6091 w 161"/>
                      <a:gd name="T61" fmla="*/ 8 h 159"/>
                      <a:gd name="T62" fmla="*/ 6351 w 161"/>
                      <a:gd name="T63" fmla="*/ 419 h 159"/>
                      <a:gd name="T64" fmla="*/ 6507 w 161"/>
                      <a:gd name="T65" fmla="*/ 754 h 159"/>
                      <a:gd name="T66" fmla="*/ 6351 w 161"/>
                      <a:gd name="T67" fmla="*/ 1064 h 159"/>
                      <a:gd name="T68" fmla="*/ 6091 w 161"/>
                      <a:gd name="T69" fmla="*/ 1126 h 159"/>
                      <a:gd name="T70" fmla="*/ 6351 w 161"/>
                      <a:gd name="T71" fmla="*/ 1126 h 159"/>
                      <a:gd name="T72" fmla="*/ 6784 w 161"/>
                      <a:gd name="T73" fmla="*/ 1118 h 159"/>
                      <a:gd name="T74" fmla="*/ 7248 w 161"/>
                      <a:gd name="T75" fmla="*/ 1295 h 159"/>
                      <a:gd name="T76" fmla="*/ 7743 w 161"/>
                      <a:gd name="T77" fmla="*/ 1243 h 159"/>
                      <a:gd name="T78" fmla="*/ 8253 w 161"/>
                      <a:gd name="T79" fmla="*/ 1126 h 159"/>
                      <a:gd name="T80" fmla="*/ 8294 w 161"/>
                      <a:gd name="T81" fmla="*/ 881 h 159"/>
                      <a:gd name="T82" fmla="*/ 8861 w 161"/>
                      <a:gd name="T83" fmla="*/ 874 h 159"/>
                      <a:gd name="T84" fmla="*/ 9315 w 161"/>
                      <a:gd name="T85" fmla="*/ 1064 h 159"/>
                      <a:gd name="T86" fmla="*/ 9442 w 161"/>
                      <a:gd name="T87" fmla="*/ 1243 h 159"/>
                      <a:gd name="T88" fmla="*/ 9674 w 161"/>
                      <a:gd name="T89" fmla="*/ 1360 h 159"/>
                      <a:gd name="T90" fmla="*/ 9674 w 161"/>
                      <a:gd name="T91" fmla="*/ 1670 h 159"/>
                      <a:gd name="T92" fmla="*/ 9059 w 161"/>
                      <a:gd name="T93" fmla="*/ 1846 h 159"/>
                      <a:gd name="T94" fmla="*/ 8861 w 161"/>
                      <a:gd name="T95" fmla="*/ 2003 h 159"/>
                      <a:gd name="T96" fmla="*/ 9059 w 161"/>
                      <a:gd name="T97" fmla="*/ 2012 h 159"/>
                      <a:gd name="T98" fmla="*/ 9419 w 161"/>
                      <a:gd name="T99" fmla="*/ 2032 h 159"/>
                      <a:gd name="T100" fmla="*/ 9674 w 161"/>
                      <a:gd name="T101" fmla="*/ 2037 h 159"/>
                      <a:gd name="T102" fmla="*/ 10751 w 161"/>
                      <a:gd name="T103" fmla="*/ 2139 h 159"/>
                      <a:gd name="T104" fmla="*/ 11041 w 161"/>
                      <a:gd name="T105" fmla="*/ 2321 h 159"/>
                      <a:gd name="T106" fmla="*/ 11287 w 161"/>
                      <a:gd name="T107" fmla="*/ 2360 h 159"/>
                      <a:gd name="T108" fmla="*/ 11486 w 161"/>
                      <a:gd name="T109" fmla="*/ 2561 h 159"/>
                      <a:gd name="T110" fmla="*/ 12058 w 161"/>
                      <a:gd name="T111" fmla="*/ 2651 h 159"/>
                      <a:gd name="T112" fmla="*/ 12299 w 161"/>
                      <a:gd name="T113" fmla="*/ 2727 h 159"/>
                      <a:gd name="T114" fmla="*/ 12606 w 161"/>
                      <a:gd name="T115" fmla="*/ 2924 h 159"/>
                      <a:gd name="T116" fmla="*/ 12606 w 161"/>
                      <a:gd name="T117" fmla="*/ 3129 h 159"/>
                      <a:gd name="T118" fmla="*/ 12297 w 161"/>
                      <a:gd name="T119" fmla="*/ 3129 h 159"/>
                      <a:gd name="T120" fmla="*/ 12271 w 161"/>
                      <a:gd name="T121" fmla="*/ 3329 h 159"/>
                      <a:gd name="T122" fmla="*/ 12058 w 161"/>
                      <a:gd name="T123" fmla="*/ 3396 h 159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161"/>
                      <a:gd name="T187" fmla="*/ 0 h 159"/>
                      <a:gd name="T188" fmla="*/ 161 w 161"/>
                      <a:gd name="T189" fmla="*/ 159 h 159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161" h="159">
                        <a:moveTo>
                          <a:pt x="154" y="137"/>
                        </a:moveTo>
                        <a:lnTo>
                          <a:pt x="153" y="140"/>
                        </a:lnTo>
                        <a:lnTo>
                          <a:pt x="153" y="159"/>
                        </a:lnTo>
                        <a:lnTo>
                          <a:pt x="138" y="156"/>
                        </a:lnTo>
                        <a:lnTo>
                          <a:pt x="134" y="153"/>
                        </a:lnTo>
                        <a:lnTo>
                          <a:pt x="130" y="151"/>
                        </a:lnTo>
                        <a:lnTo>
                          <a:pt x="127" y="151"/>
                        </a:lnTo>
                        <a:lnTo>
                          <a:pt x="119" y="149"/>
                        </a:lnTo>
                        <a:lnTo>
                          <a:pt x="112" y="146"/>
                        </a:lnTo>
                        <a:lnTo>
                          <a:pt x="108" y="143"/>
                        </a:lnTo>
                        <a:lnTo>
                          <a:pt x="102" y="140"/>
                        </a:lnTo>
                        <a:lnTo>
                          <a:pt x="93" y="134"/>
                        </a:lnTo>
                        <a:lnTo>
                          <a:pt x="85" y="130"/>
                        </a:lnTo>
                        <a:lnTo>
                          <a:pt x="73" y="118"/>
                        </a:lnTo>
                        <a:lnTo>
                          <a:pt x="48" y="97"/>
                        </a:lnTo>
                        <a:lnTo>
                          <a:pt x="45" y="93"/>
                        </a:lnTo>
                        <a:lnTo>
                          <a:pt x="40" y="90"/>
                        </a:lnTo>
                        <a:lnTo>
                          <a:pt x="33" y="88"/>
                        </a:lnTo>
                        <a:lnTo>
                          <a:pt x="25" y="85"/>
                        </a:lnTo>
                        <a:lnTo>
                          <a:pt x="20" y="76"/>
                        </a:lnTo>
                        <a:lnTo>
                          <a:pt x="12" y="72"/>
                        </a:lnTo>
                        <a:lnTo>
                          <a:pt x="11" y="71"/>
                        </a:lnTo>
                        <a:lnTo>
                          <a:pt x="11" y="68"/>
                        </a:lnTo>
                        <a:lnTo>
                          <a:pt x="11" y="66"/>
                        </a:lnTo>
                        <a:lnTo>
                          <a:pt x="3" y="63"/>
                        </a:lnTo>
                        <a:lnTo>
                          <a:pt x="2" y="61"/>
                        </a:lnTo>
                        <a:lnTo>
                          <a:pt x="0" y="61"/>
                        </a:lnTo>
                        <a:lnTo>
                          <a:pt x="2" y="60"/>
                        </a:lnTo>
                        <a:lnTo>
                          <a:pt x="2" y="59"/>
                        </a:lnTo>
                        <a:lnTo>
                          <a:pt x="3" y="59"/>
                        </a:lnTo>
                        <a:lnTo>
                          <a:pt x="6" y="57"/>
                        </a:lnTo>
                        <a:lnTo>
                          <a:pt x="7" y="53"/>
                        </a:lnTo>
                        <a:lnTo>
                          <a:pt x="9" y="52"/>
                        </a:lnTo>
                        <a:lnTo>
                          <a:pt x="9" y="50"/>
                        </a:lnTo>
                        <a:lnTo>
                          <a:pt x="10" y="47"/>
                        </a:lnTo>
                        <a:lnTo>
                          <a:pt x="13" y="47"/>
                        </a:lnTo>
                        <a:lnTo>
                          <a:pt x="16" y="45"/>
                        </a:lnTo>
                        <a:lnTo>
                          <a:pt x="21" y="40"/>
                        </a:lnTo>
                        <a:lnTo>
                          <a:pt x="26" y="39"/>
                        </a:lnTo>
                        <a:lnTo>
                          <a:pt x="28" y="34"/>
                        </a:lnTo>
                        <a:lnTo>
                          <a:pt x="32" y="32"/>
                        </a:lnTo>
                        <a:lnTo>
                          <a:pt x="32" y="29"/>
                        </a:lnTo>
                        <a:lnTo>
                          <a:pt x="35" y="29"/>
                        </a:lnTo>
                        <a:lnTo>
                          <a:pt x="35" y="18"/>
                        </a:lnTo>
                        <a:lnTo>
                          <a:pt x="37" y="17"/>
                        </a:lnTo>
                        <a:lnTo>
                          <a:pt x="40" y="14"/>
                        </a:lnTo>
                        <a:lnTo>
                          <a:pt x="48" y="12"/>
                        </a:lnTo>
                        <a:lnTo>
                          <a:pt x="48" y="11"/>
                        </a:lnTo>
                        <a:lnTo>
                          <a:pt x="45" y="9"/>
                        </a:lnTo>
                        <a:lnTo>
                          <a:pt x="45" y="5"/>
                        </a:lnTo>
                        <a:lnTo>
                          <a:pt x="48" y="5"/>
                        </a:lnTo>
                        <a:lnTo>
                          <a:pt x="50" y="1"/>
                        </a:lnTo>
                        <a:lnTo>
                          <a:pt x="53" y="0"/>
                        </a:lnTo>
                        <a:lnTo>
                          <a:pt x="55" y="1"/>
                        </a:lnTo>
                        <a:lnTo>
                          <a:pt x="59" y="3"/>
                        </a:lnTo>
                        <a:lnTo>
                          <a:pt x="60" y="3"/>
                        </a:lnTo>
                        <a:lnTo>
                          <a:pt x="63" y="2"/>
                        </a:lnTo>
                        <a:lnTo>
                          <a:pt x="68" y="0"/>
                        </a:lnTo>
                        <a:lnTo>
                          <a:pt x="70" y="1"/>
                        </a:lnTo>
                        <a:lnTo>
                          <a:pt x="70" y="2"/>
                        </a:lnTo>
                        <a:lnTo>
                          <a:pt x="71" y="4"/>
                        </a:lnTo>
                        <a:lnTo>
                          <a:pt x="78" y="8"/>
                        </a:lnTo>
                        <a:lnTo>
                          <a:pt x="78" y="14"/>
                        </a:lnTo>
                        <a:lnTo>
                          <a:pt x="81" y="17"/>
                        </a:lnTo>
                        <a:lnTo>
                          <a:pt x="81" y="27"/>
                        </a:lnTo>
                        <a:lnTo>
                          <a:pt x="83" y="29"/>
                        </a:lnTo>
                        <a:lnTo>
                          <a:pt x="81" y="39"/>
                        </a:lnTo>
                        <a:lnTo>
                          <a:pt x="81" y="42"/>
                        </a:lnTo>
                        <a:lnTo>
                          <a:pt x="78" y="43"/>
                        </a:lnTo>
                        <a:lnTo>
                          <a:pt x="78" y="45"/>
                        </a:lnTo>
                        <a:lnTo>
                          <a:pt x="78" y="46"/>
                        </a:lnTo>
                        <a:lnTo>
                          <a:pt x="81" y="45"/>
                        </a:lnTo>
                        <a:lnTo>
                          <a:pt x="85" y="43"/>
                        </a:lnTo>
                        <a:lnTo>
                          <a:pt x="86" y="44"/>
                        </a:lnTo>
                        <a:lnTo>
                          <a:pt x="89" y="46"/>
                        </a:lnTo>
                        <a:lnTo>
                          <a:pt x="92" y="50"/>
                        </a:lnTo>
                        <a:lnTo>
                          <a:pt x="96" y="50"/>
                        </a:lnTo>
                        <a:lnTo>
                          <a:pt x="98" y="49"/>
                        </a:lnTo>
                        <a:lnTo>
                          <a:pt x="104" y="49"/>
                        </a:lnTo>
                        <a:lnTo>
                          <a:pt x="104" y="45"/>
                        </a:lnTo>
                        <a:lnTo>
                          <a:pt x="107" y="40"/>
                        </a:lnTo>
                        <a:lnTo>
                          <a:pt x="107" y="35"/>
                        </a:lnTo>
                        <a:lnTo>
                          <a:pt x="109" y="34"/>
                        </a:lnTo>
                        <a:lnTo>
                          <a:pt x="114" y="34"/>
                        </a:lnTo>
                        <a:lnTo>
                          <a:pt x="116" y="39"/>
                        </a:lnTo>
                        <a:lnTo>
                          <a:pt x="118" y="42"/>
                        </a:lnTo>
                        <a:lnTo>
                          <a:pt x="119" y="49"/>
                        </a:lnTo>
                        <a:lnTo>
                          <a:pt x="121" y="49"/>
                        </a:lnTo>
                        <a:lnTo>
                          <a:pt x="123" y="50"/>
                        </a:lnTo>
                        <a:lnTo>
                          <a:pt x="123" y="53"/>
                        </a:lnTo>
                        <a:lnTo>
                          <a:pt x="126" y="54"/>
                        </a:lnTo>
                        <a:lnTo>
                          <a:pt x="123" y="66"/>
                        </a:lnTo>
                        <a:lnTo>
                          <a:pt x="123" y="68"/>
                        </a:lnTo>
                        <a:lnTo>
                          <a:pt x="116" y="73"/>
                        </a:lnTo>
                        <a:lnTo>
                          <a:pt x="112" y="76"/>
                        </a:lnTo>
                        <a:lnTo>
                          <a:pt x="114" y="78"/>
                        </a:lnTo>
                        <a:lnTo>
                          <a:pt x="115" y="78"/>
                        </a:lnTo>
                        <a:lnTo>
                          <a:pt x="116" y="79"/>
                        </a:lnTo>
                        <a:lnTo>
                          <a:pt x="119" y="79"/>
                        </a:lnTo>
                        <a:lnTo>
                          <a:pt x="119" y="80"/>
                        </a:lnTo>
                        <a:lnTo>
                          <a:pt x="121" y="81"/>
                        </a:lnTo>
                        <a:lnTo>
                          <a:pt x="123" y="81"/>
                        </a:lnTo>
                        <a:lnTo>
                          <a:pt x="129" y="85"/>
                        </a:lnTo>
                        <a:lnTo>
                          <a:pt x="136" y="85"/>
                        </a:lnTo>
                        <a:lnTo>
                          <a:pt x="137" y="85"/>
                        </a:lnTo>
                        <a:lnTo>
                          <a:pt x="140" y="90"/>
                        </a:lnTo>
                        <a:lnTo>
                          <a:pt x="140" y="93"/>
                        </a:lnTo>
                        <a:lnTo>
                          <a:pt x="143" y="93"/>
                        </a:lnTo>
                        <a:lnTo>
                          <a:pt x="145" y="97"/>
                        </a:lnTo>
                        <a:lnTo>
                          <a:pt x="145" y="100"/>
                        </a:lnTo>
                        <a:lnTo>
                          <a:pt x="150" y="101"/>
                        </a:lnTo>
                        <a:lnTo>
                          <a:pt x="153" y="104"/>
                        </a:lnTo>
                        <a:lnTo>
                          <a:pt x="157" y="103"/>
                        </a:lnTo>
                        <a:lnTo>
                          <a:pt x="157" y="107"/>
                        </a:lnTo>
                        <a:lnTo>
                          <a:pt x="159" y="110"/>
                        </a:lnTo>
                        <a:lnTo>
                          <a:pt x="161" y="114"/>
                        </a:lnTo>
                        <a:lnTo>
                          <a:pt x="159" y="118"/>
                        </a:lnTo>
                        <a:lnTo>
                          <a:pt x="161" y="123"/>
                        </a:lnTo>
                        <a:lnTo>
                          <a:pt x="156" y="123"/>
                        </a:lnTo>
                        <a:lnTo>
                          <a:pt x="155" y="126"/>
                        </a:lnTo>
                        <a:lnTo>
                          <a:pt x="155" y="131"/>
                        </a:lnTo>
                        <a:lnTo>
                          <a:pt x="154" y="131"/>
                        </a:lnTo>
                        <a:lnTo>
                          <a:pt x="153" y="133"/>
                        </a:lnTo>
                        <a:lnTo>
                          <a:pt x="154" y="137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7" name="Freeform 55"/>
                  <p:cNvSpPr>
                    <a:spLocks/>
                  </p:cNvSpPr>
                  <p:nvPr/>
                </p:nvSpPr>
                <p:spPr bwMode="auto">
                  <a:xfrm>
                    <a:off x="800" y="2176"/>
                    <a:ext cx="172" cy="167"/>
                  </a:xfrm>
                  <a:custGeom>
                    <a:avLst/>
                    <a:gdLst>
                      <a:gd name="T0" fmla="*/ 12058 w 161"/>
                      <a:gd name="T1" fmla="*/ 3567 h 159"/>
                      <a:gd name="T2" fmla="*/ 10776 w 161"/>
                      <a:gd name="T3" fmla="*/ 3999 h 159"/>
                      <a:gd name="T4" fmla="*/ 10113 w 161"/>
                      <a:gd name="T5" fmla="*/ 3844 h 159"/>
                      <a:gd name="T6" fmla="*/ 9419 w 161"/>
                      <a:gd name="T7" fmla="*/ 3807 h 159"/>
                      <a:gd name="T8" fmla="*/ 8476 w 161"/>
                      <a:gd name="T9" fmla="*/ 3645 h 159"/>
                      <a:gd name="T10" fmla="*/ 7249 w 161"/>
                      <a:gd name="T11" fmla="*/ 3438 h 159"/>
                      <a:gd name="T12" fmla="*/ 5701 w 161"/>
                      <a:gd name="T13" fmla="*/ 3008 h 159"/>
                      <a:gd name="T14" fmla="*/ 3504 w 161"/>
                      <a:gd name="T15" fmla="*/ 2360 h 159"/>
                      <a:gd name="T16" fmla="*/ 2580 w 161"/>
                      <a:gd name="T17" fmla="*/ 2241 h 159"/>
                      <a:gd name="T18" fmla="*/ 1563 w 161"/>
                      <a:gd name="T19" fmla="*/ 1935 h 159"/>
                      <a:gd name="T20" fmla="*/ 861 w 161"/>
                      <a:gd name="T21" fmla="*/ 1824 h 159"/>
                      <a:gd name="T22" fmla="*/ 861 w 161"/>
                      <a:gd name="T23" fmla="*/ 1670 h 159"/>
                      <a:gd name="T24" fmla="*/ 2 w 161"/>
                      <a:gd name="T25" fmla="*/ 1567 h 159"/>
                      <a:gd name="T26" fmla="*/ 2 w 161"/>
                      <a:gd name="T27" fmla="*/ 1514 h 159"/>
                      <a:gd name="T28" fmla="*/ 3 w 161"/>
                      <a:gd name="T29" fmla="*/ 1500 h 159"/>
                      <a:gd name="T30" fmla="*/ 7 w 161"/>
                      <a:gd name="T31" fmla="*/ 1360 h 159"/>
                      <a:gd name="T32" fmla="*/ 754 w 161"/>
                      <a:gd name="T33" fmla="*/ 1295 h 159"/>
                      <a:gd name="T34" fmla="*/ 983 w 161"/>
                      <a:gd name="T35" fmla="*/ 1183 h 159"/>
                      <a:gd name="T36" fmla="*/ 1670 w 161"/>
                      <a:gd name="T37" fmla="*/ 1013 h 159"/>
                      <a:gd name="T38" fmla="*/ 2175 w 161"/>
                      <a:gd name="T39" fmla="*/ 874 h 159"/>
                      <a:gd name="T40" fmla="*/ 2483 w 161"/>
                      <a:gd name="T41" fmla="*/ 754 h 159"/>
                      <a:gd name="T42" fmla="*/ 2756 w 161"/>
                      <a:gd name="T43" fmla="*/ 440 h 159"/>
                      <a:gd name="T44" fmla="*/ 3145 w 161"/>
                      <a:gd name="T45" fmla="*/ 362 h 159"/>
                      <a:gd name="T46" fmla="*/ 3743 w 161"/>
                      <a:gd name="T47" fmla="*/ 312 h 159"/>
                      <a:gd name="T48" fmla="*/ 3504 w 161"/>
                      <a:gd name="T49" fmla="*/ 5 h 159"/>
                      <a:gd name="T50" fmla="*/ 3944 w 161"/>
                      <a:gd name="T51" fmla="*/ 1 h 159"/>
                      <a:gd name="T52" fmla="*/ 4282 w 161"/>
                      <a:gd name="T53" fmla="*/ 1 h 159"/>
                      <a:gd name="T54" fmla="*/ 4676 w 161"/>
                      <a:gd name="T55" fmla="*/ 3 h 159"/>
                      <a:gd name="T56" fmla="*/ 5336 w 161"/>
                      <a:gd name="T57" fmla="*/ 0 h 159"/>
                      <a:gd name="T58" fmla="*/ 5552 w 161"/>
                      <a:gd name="T59" fmla="*/ 2 h 159"/>
                      <a:gd name="T60" fmla="*/ 6091 w 161"/>
                      <a:gd name="T61" fmla="*/ 8 h 159"/>
                      <a:gd name="T62" fmla="*/ 6351 w 161"/>
                      <a:gd name="T63" fmla="*/ 419 h 159"/>
                      <a:gd name="T64" fmla="*/ 6507 w 161"/>
                      <a:gd name="T65" fmla="*/ 754 h 159"/>
                      <a:gd name="T66" fmla="*/ 6351 w 161"/>
                      <a:gd name="T67" fmla="*/ 1064 h 159"/>
                      <a:gd name="T68" fmla="*/ 6091 w 161"/>
                      <a:gd name="T69" fmla="*/ 1126 h 159"/>
                      <a:gd name="T70" fmla="*/ 6351 w 161"/>
                      <a:gd name="T71" fmla="*/ 1126 h 159"/>
                      <a:gd name="T72" fmla="*/ 6784 w 161"/>
                      <a:gd name="T73" fmla="*/ 1118 h 159"/>
                      <a:gd name="T74" fmla="*/ 7248 w 161"/>
                      <a:gd name="T75" fmla="*/ 1295 h 159"/>
                      <a:gd name="T76" fmla="*/ 7743 w 161"/>
                      <a:gd name="T77" fmla="*/ 1243 h 159"/>
                      <a:gd name="T78" fmla="*/ 8253 w 161"/>
                      <a:gd name="T79" fmla="*/ 1126 h 159"/>
                      <a:gd name="T80" fmla="*/ 8294 w 161"/>
                      <a:gd name="T81" fmla="*/ 881 h 159"/>
                      <a:gd name="T82" fmla="*/ 8861 w 161"/>
                      <a:gd name="T83" fmla="*/ 874 h 159"/>
                      <a:gd name="T84" fmla="*/ 9315 w 161"/>
                      <a:gd name="T85" fmla="*/ 1064 h 159"/>
                      <a:gd name="T86" fmla="*/ 9442 w 161"/>
                      <a:gd name="T87" fmla="*/ 1243 h 159"/>
                      <a:gd name="T88" fmla="*/ 9674 w 161"/>
                      <a:gd name="T89" fmla="*/ 1360 h 159"/>
                      <a:gd name="T90" fmla="*/ 9674 w 161"/>
                      <a:gd name="T91" fmla="*/ 1670 h 159"/>
                      <a:gd name="T92" fmla="*/ 9059 w 161"/>
                      <a:gd name="T93" fmla="*/ 1846 h 159"/>
                      <a:gd name="T94" fmla="*/ 8861 w 161"/>
                      <a:gd name="T95" fmla="*/ 2003 h 159"/>
                      <a:gd name="T96" fmla="*/ 9059 w 161"/>
                      <a:gd name="T97" fmla="*/ 2012 h 159"/>
                      <a:gd name="T98" fmla="*/ 9419 w 161"/>
                      <a:gd name="T99" fmla="*/ 2032 h 159"/>
                      <a:gd name="T100" fmla="*/ 9674 w 161"/>
                      <a:gd name="T101" fmla="*/ 2037 h 159"/>
                      <a:gd name="T102" fmla="*/ 10751 w 161"/>
                      <a:gd name="T103" fmla="*/ 2139 h 159"/>
                      <a:gd name="T104" fmla="*/ 11041 w 161"/>
                      <a:gd name="T105" fmla="*/ 2321 h 159"/>
                      <a:gd name="T106" fmla="*/ 11287 w 161"/>
                      <a:gd name="T107" fmla="*/ 2360 h 159"/>
                      <a:gd name="T108" fmla="*/ 11486 w 161"/>
                      <a:gd name="T109" fmla="*/ 2561 h 159"/>
                      <a:gd name="T110" fmla="*/ 12058 w 161"/>
                      <a:gd name="T111" fmla="*/ 2651 h 159"/>
                      <a:gd name="T112" fmla="*/ 12299 w 161"/>
                      <a:gd name="T113" fmla="*/ 2727 h 159"/>
                      <a:gd name="T114" fmla="*/ 12606 w 161"/>
                      <a:gd name="T115" fmla="*/ 2924 h 159"/>
                      <a:gd name="T116" fmla="*/ 12606 w 161"/>
                      <a:gd name="T117" fmla="*/ 3129 h 159"/>
                      <a:gd name="T118" fmla="*/ 12297 w 161"/>
                      <a:gd name="T119" fmla="*/ 3129 h 159"/>
                      <a:gd name="T120" fmla="*/ 12271 w 161"/>
                      <a:gd name="T121" fmla="*/ 3329 h 159"/>
                      <a:gd name="T122" fmla="*/ 12058 w 161"/>
                      <a:gd name="T123" fmla="*/ 3396 h 159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161"/>
                      <a:gd name="T187" fmla="*/ 0 h 159"/>
                      <a:gd name="T188" fmla="*/ 161 w 161"/>
                      <a:gd name="T189" fmla="*/ 159 h 159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161" h="159">
                        <a:moveTo>
                          <a:pt x="154" y="137"/>
                        </a:moveTo>
                        <a:lnTo>
                          <a:pt x="153" y="140"/>
                        </a:lnTo>
                        <a:lnTo>
                          <a:pt x="153" y="159"/>
                        </a:lnTo>
                        <a:lnTo>
                          <a:pt x="138" y="156"/>
                        </a:lnTo>
                        <a:lnTo>
                          <a:pt x="134" y="153"/>
                        </a:lnTo>
                        <a:lnTo>
                          <a:pt x="130" y="151"/>
                        </a:lnTo>
                        <a:lnTo>
                          <a:pt x="127" y="151"/>
                        </a:lnTo>
                        <a:lnTo>
                          <a:pt x="119" y="149"/>
                        </a:lnTo>
                        <a:lnTo>
                          <a:pt x="112" y="146"/>
                        </a:lnTo>
                        <a:lnTo>
                          <a:pt x="108" y="143"/>
                        </a:lnTo>
                        <a:lnTo>
                          <a:pt x="102" y="140"/>
                        </a:lnTo>
                        <a:lnTo>
                          <a:pt x="93" y="134"/>
                        </a:lnTo>
                        <a:lnTo>
                          <a:pt x="85" y="130"/>
                        </a:lnTo>
                        <a:lnTo>
                          <a:pt x="73" y="118"/>
                        </a:lnTo>
                        <a:lnTo>
                          <a:pt x="48" y="97"/>
                        </a:lnTo>
                        <a:lnTo>
                          <a:pt x="45" y="93"/>
                        </a:lnTo>
                        <a:lnTo>
                          <a:pt x="40" y="90"/>
                        </a:lnTo>
                        <a:lnTo>
                          <a:pt x="33" y="88"/>
                        </a:lnTo>
                        <a:lnTo>
                          <a:pt x="25" y="85"/>
                        </a:lnTo>
                        <a:lnTo>
                          <a:pt x="20" y="76"/>
                        </a:lnTo>
                        <a:lnTo>
                          <a:pt x="12" y="72"/>
                        </a:lnTo>
                        <a:lnTo>
                          <a:pt x="11" y="71"/>
                        </a:lnTo>
                        <a:lnTo>
                          <a:pt x="11" y="68"/>
                        </a:lnTo>
                        <a:lnTo>
                          <a:pt x="11" y="66"/>
                        </a:lnTo>
                        <a:lnTo>
                          <a:pt x="3" y="63"/>
                        </a:lnTo>
                        <a:lnTo>
                          <a:pt x="2" y="61"/>
                        </a:lnTo>
                        <a:lnTo>
                          <a:pt x="0" y="61"/>
                        </a:lnTo>
                        <a:lnTo>
                          <a:pt x="2" y="60"/>
                        </a:lnTo>
                        <a:lnTo>
                          <a:pt x="2" y="59"/>
                        </a:lnTo>
                        <a:lnTo>
                          <a:pt x="3" y="59"/>
                        </a:lnTo>
                        <a:lnTo>
                          <a:pt x="6" y="57"/>
                        </a:lnTo>
                        <a:lnTo>
                          <a:pt x="7" y="53"/>
                        </a:lnTo>
                        <a:lnTo>
                          <a:pt x="9" y="52"/>
                        </a:lnTo>
                        <a:lnTo>
                          <a:pt x="9" y="50"/>
                        </a:lnTo>
                        <a:lnTo>
                          <a:pt x="10" y="47"/>
                        </a:lnTo>
                        <a:lnTo>
                          <a:pt x="13" y="47"/>
                        </a:lnTo>
                        <a:lnTo>
                          <a:pt x="16" y="45"/>
                        </a:lnTo>
                        <a:lnTo>
                          <a:pt x="21" y="40"/>
                        </a:lnTo>
                        <a:lnTo>
                          <a:pt x="26" y="39"/>
                        </a:lnTo>
                        <a:lnTo>
                          <a:pt x="28" y="34"/>
                        </a:lnTo>
                        <a:lnTo>
                          <a:pt x="32" y="32"/>
                        </a:lnTo>
                        <a:lnTo>
                          <a:pt x="32" y="29"/>
                        </a:lnTo>
                        <a:lnTo>
                          <a:pt x="35" y="29"/>
                        </a:lnTo>
                        <a:lnTo>
                          <a:pt x="35" y="18"/>
                        </a:lnTo>
                        <a:lnTo>
                          <a:pt x="37" y="17"/>
                        </a:lnTo>
                        <a:lnTo>
                          <a:pt x="40" y="14"/>
                        </a:lnTo>
                        <a:lnTo>
                          <a:pt x="48" y="12"/>
                        </a:lnTo>
                        <a:lnTo>
                          <a:pt x="48" y="11"/>
                        </a:lnTo>
                        <a:lnTo>
                          <a:pt x="45" y="9"/>
                        </a:lnTo>
                        <a:lnTo>
                          <a:pt x="45" y="5"/>
                        </a:lnTo>
                        <a:lnTo>
                          <a:pt x="48" y="5"/>
                        </a:lnTo>
                        <a:lnTo>
                          <a:pt x="50" y="1"/>
                        </a:lnTo>
                        <a:lnTo>
                          <a:pt x="53" y="0"/>
                        </a:lnTo>
                        <a:lnTo>
                          <a:pt x="55" y="1"/>
                        </a:lnTo>
                        <a:lnTo>
                          <a:pt x="59" y="3"/>
                        </a:lnTo>
                        <a:lnTo>
                          <a:pt x="60" y="3"/>
                        </a:lnTo>
                        <a:lnTo>
                          <a:pt x="63" y="2"/>
                        </a:lnTo>
                        <a:lnTo>
                          <a:pt x="68" y="0"/>
                        </a:lnTo>
                        <a:lnTo>
                          <a:pt x="70" y="1"/>
                        </a:lnTo>
                        <a:lnTo>
                          <a:pt x="70" y="2"/>
                        </a:lnTo>
                        <a:lnTo>
                          <a:pt x="71" y="4"/>
                        </a:lnTo>
                        <a:lnTo>
                          <a:pt x="78" y="8"/>
                        </a:lnTo>
                        <a:lnTo>
                          <a:pt x="78" y="14"/>
                        </a:lnTo>
                        <a:lnTo>
                          <a:pt x="81" y="17"/>
                        </a:lnTo>
                        <a:lnTo>
                          <a:pt x="81" y="27"/>
                        </a:lnTo>
                        <a:lnTo>
                          <a:pt x="83" y="29"/>
                        </a:lnTo>
                        <a:lnTo>
                          <a:pt x="81" y="39"/>
                        </a:lnTo>
                        <a:lnTo>
                          <a:pt x="81" y="42"/>
                        </a:lnTo>
                        <a:lnTo>
                          <a:pt x="78" y="43"/>
                        </a:lnTo>
                        <a:lnTo>
                          <a:pt x="78" y="45"/>
                        </a:lnTo>
                        <a:lnTo>
                          <a:pt x="78" y="46"/>
                        </a:lnTo>
                        <a:lnTo>
                          <a:pt x="81" y="45"/>
                        </a:lnTo>
                        <a:lnTo>
                          <a:pt x="85" y="43"/>
                        </a:lnTo>
                        <a:lnTo>
                          <a:pt x="86" y="44"/>
                        </a:lnTo>
                        <a:lnTo>
                          <a:pt x="89" y="46"/>
                        </a:lnTo>
                        <a:lnTo>
                          <a:pt x="92" y="50"/>
                        </a:lnTo>
                        <a:lnTo>
                          <a:pt x="96" y="50"/>
                        </a:lnTo>
                        <a:lnTo>
                          <a:pt x="98" y="49"/>
                        </a:lnTo>
                        <a:lnTo>
                          <a:pt x="104" y="49"/>
                        </a:lnTo>
                        <a:lnTo>
                          <a:pt x="104" y="45"/>
                        </a:lnTo>
                        <a:lnTo>
                          <a:pt x="107" y="40"/>
                        </a:lnTo>
                        <a:lnTo>
                          <a:pt x="107" y="35"/>
                        </a:lnTo>
                        <a:lnTo>
                          <a:pt x="109" y="34"/>
                        </a:lnTo>
                        <a:lnTo>
                          <a:pt x="114" y="34"/>
                        </a:lnTo>
                        <a:lnTo>
                          <a:pt x="116" y="39"/>
                        </a:lnTo>
                        <a:lnTo>
                          <a:pt x="118" y="42"/>
                        </a:lnTo>
                        <a:lnTo>
                          <a:pt x="119" y="49"/>
                        </a:lnTo>
                        <a:lnTo>
                          <a:pt x="121" y="49"/>
                        </a:lnTo>
                        <a:lnTo>
                          <a:pt x="123" y="50"/>
                        </a:lnTo>
                        <a:lnTo>
                          <a:pt x="123" y="53"/>
                        </a:lnTo>
                        <a:lnTo>
                          <a:pt x="126" y="54"/>
                        </a:lnTo>
                        <a:lnTo>
                          <a:pt x="123" y="66"/>
                        </a:lnTo>
                        <a:lnTo>
                          <a:pt x="123" y="68"/>
                        </a:lnTo>
                        <a:lnTo>
                          <a:pt x="116" y="73"/>
                        </a:lnTo>
                        <a:lnTo>
                          <a:pt x="112" y="76"/>
                        </a:lnTo>
                        <a:lnTo>
                          <a:pt x="114" y="78"/>
                        </a:lnTo>
                        <a:lnTo>
                          <a:pt x="115" y="78"/>
                        </a:lnTo>
                        <a:lnTo>
                          <a:pt x="116" y="79"/>
                        </a:lnTo>
                        <a:lnTo>
                          <a:pt x="119" y="79"/>
                        </a:lnTo>
                        <a:lnTo>
                          <a:pt x="119" y="80"/>
                        </a:lnTo>
                        <a:lnTo>
                          <a:pt x="121" y="81"/>
                        </a:lnTo>
                        <a:lnTo>
                          <a:pt x="123" y="81"/>
                        </a:lnTo>
                        <a:lnTo>
                          <a:pt x="129" y="85"/>
                        </a:lnTo>
                        <a:lnTo>
                          <a:pt x="136" y="85"/>
                        </a:lnTo>
                        <a:lnTo>
                          <a:pt x="137" y="85"/>
                        </a:lnTo>
                        <a:lnTo>
                          <a:pt x="140" y="90"/>
                        </a:lnTo>
                        <a:lnTo>
                          <a:pt x="140" y="93"/>
                        </a:lnTo>
                        <a:lnTo>
                          <a:pt x="143" y="93"/>
                        </a:lnTo>
                        <a:lnTo>
                          <a:pt x="145" y="97"/>
                        </a:lnTo>
                        <a:lnTo>
                          <a:pt x="145" y="100"/>
                        </a:lnTo>
                        <a:lnTo>
                          <a:pt x="150" y="101"/>
                        </a:lnTo>
                        <a:lnTo>
                          <a:pt x="153" y="104"/>
                        </a:lnTo>
                        <a:lnTo>
                          <a:pt x="157" y="103"/>
                        </a:lnTo>
                        <a:lnTo>
                          <a:pt x="157" y="107"/>
                        </a:lnTo>
                        <a:lnTo>
                          <a:pt x="159" y="110"/>
                        </a:lnTo>
                        <a:lnTo>
                          <a:pt x="161" y="114"/>
                        </a:lnTo>
                        <a:lnTo>
                          <a:pt x="159" y="118"/>
                        </a:lnTo>
                        <a:lnTo>
                          <a:pt x="161" y="123"/>
                        </a:lnTo>
                        <a:lnTo>
                          <a:pt x="156" y="123"/>
                        </a:lnTo>
                        <a:lnTo>
                          <a:pt x="155" y="126"/>
                        </a:lnTo>
                        <a:lnTo>
                          <a:pt x="155" y="131"/>
                        </a:lnTo>
                        <a:lnTo>
                          <a:pt x="154" y="131"/>
                        </a:lnTo>
                        <a:lnTo>
                          <a:pt x="153" y="133"/>
                        </a:lnTo>
                        <a:lnTo>
                          <a:pt x="154" y="137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8" name="Freeform 56"/>
                  <p:cNvSpPr>
                    <a:spLocks/>
                  </p:cNvSpPr>
                  <p:nvPr/>
                </p:nvSpPr>
                <p:spPr bwMode="auto">
                  <a:xfrm>
                    <a:off x="1146" y="2071"/>
                    <a:ext cx="183" cy="262"/>
                  </a:xfrm>
                  <a:custGeom>
                    <a:avLst/>
                    <a:gdLst>
                      <a:gd name="T0" fmla="*/ 14677 w 171"/>
                      <a:gd name="T1" fmla="*/ 5607 h 249"/>
                      <a:gd name="T2" fmla="*/ 14884 w 171"/>
                      <a:gd name="T3" fmla="*/ 5660 h 249"/>
                      <a:gd name="T4" fmla="*/ 13513 w 171"/>
                      <a:gd name="T5" fmla="*/ 5977 h 249"/>
                      <a:gd name="T6" fmla="*/ 12242 w 171"/>
                      <a:gd name="T7" fmla="*/ 5977 h 249"/>
                      <a:gd name="T8" fmla="*/ 11348 w 171"/>
                      <a:gd name="T9" fmla="*/ 6055 h 249"/>
                      <a:gd name="T10" fmla="*/ 8405 w 171"/>
                      <a:gd name="T11" fmla="*/ 6594 h 249"/>
                      <a:gd name="T12" fmla="*/ 5906 w 171"/>
                      <a:gd name="T13" fmla="*/ 6826 h 249"/>
                      <a:gd name="T14" fmla="*/ 4190 w 171"/>
                      <a:gd name="T15" fmla="*/ 7197 h 249"/>
                      <a:gd name="T16" fmla="*/ 4 w 171"/>
                      <a:gd name="T17" fmla="*/ 6704 h 249"/>
                      <a:gd name="T18" fmla="*/ 1013 w 171"/>
                      <a:gd name="T19" fmla="*/ 6594 h 249"/>
                      <a:gd name="T20" fmla="*/ 1628 w 171"/>
                      <a:gd name="T21" fmla="*/ 6594 h 249"/>
                      <a:gd name="T22" fmla="*/ 1521 w 171"/>
                      <a:gd name="T23" fmla="*/ 6055 h 249"/>
                      <a:gd name="T24" fmla="*/ 885 w 171"/>
                      <a:gd name="T25" fmla="*/ 5977 h 249"/>
                      <a:gd name="T26" fmla="*/ 5 w 171"/>
                      <a:gd name="T27" fmla="*/ 5580 h 249"/>
                      <a:gd name="T28" fmla="*/ 0 w 171"/>
                      <a:gd name="T29" fmla="*/ 5040 h 249"/>
                      <a:gd name="T30" fmla="*/ 4 w 171"/>
                      <a:gd name="T31" fmla="*/ 4552 h 249"/>
                      <a:gd name="T32" fmla="*/ 885 w 171"/>
                      <a:gd name="T33" fmla="*/ 4326 h 249"/>
                      <a:gd name="T34" fmla="*/ 885 w 171"/>
                      <a:gd name="T35" fmla="*/ 3907 h 249"/>
                      <a:gd name="T36" fmla="*/ 1521 w 171"/>
                      <a:gd name="T37" fmla="*/ 3414 h 249"/>
                      <a:gd name="T38" fmla="*/ 1995 w 171"/>
                      <a:gd name="T39" fmla="*/ 3271 h 249"/>
                      <a:gd name="T40" fmla="*/ 2160 w 171"/>
                      <a:gd name="T41" fmla="*/ 3190 h 249"/>
                      <a:gd name="T42" fmla="*/ 2312 w 171"/>
                      <a:gd name="T43" fmla="*/ 2873 h 249"/>
                      <a:gd name="T44" fmla="*/ 1742 w 171"/>
                      <a:gd name="T45" fmla="*/ 2228 h 249"/>
                      <a:gd name="T46" fmla="*/ 1521 w 171"/>
                      <a:gd name="T47" fmla="*/ 2160 h 249"/>
                      <a:gd name="T48" fmla="*/ 1628 w 171"/>
                      <a:gd name="T49" fmla="*/ 1916 h 249"/>
                      <a:gd name="T50" fmla="*/ 1742 w 171"/>
                      <a:gd name="T51" fmla="*/ 1775 h 249"/>
                      <a:gd name="T52" fmla="*/ 1421 w 171"/>
                      <a:gd name="T53" fmla="*/ 1485 h 249"/>
                      <a:gd name="T54" fmla="*/ 1241 w 171"/>
                      <a:gd name="T55" fmla="*/ 1094 h 249"/>
                      <a:gd name="T56" fmla="*/ 1160 w 171"/>
                      <a:gd name="T57" fmla="*/ 848 h 249"/>
                      <a:gd name="T58" fmla="*/ 1013 w 171"/>
                      <a:gd name="T59" fmla="*/ 594 h 249"/>
                      <a:gd name="T60" fmla="*/ 885 w 171"/>
                      <a:gd name="T61" fmla="*/ 321 h 249"/>
                      <a:gd name="T62" fmla="*/ 2160 w 171"/>
                      <a:gd name="T63" fmla="*/ 4 h 249"/>
                      <a:gd name="T64" fmla="*/ 3658 w 171"/>
                      <a:gd name="T65" fmla="*/ 4 h 249"/>
                      <a:gd name="T66" fmla="*/ 6961 w 171"/>
                      <a:gd name="T67" fmla="*/ 8 h 249"/>
                      <a:gd name="T68" fmla="*/ 8257 w 171"/>
                      <a:gd name="T69" fmla="*/ 7 h 249"/>
                      <a:gd name="T70" fmla="*/ 9988 w 171"/>
                      <a:gd name="T71" fmla="*/ 0 h 249"/>
                      <a:gd name="T72" fmla="*/ 10120 w 171"/>
                      <a:gd name="T73" fmla="*/ 2 h 249"/>
                      <a:gd name="T74" fmla="*/ 10753 w 171"/>
                      <a:gd name="T75" fmla="*/ 4 h 249"/>
                      <a:gd name="T76" fmla="*/ 10604 w 171"/>
                      <a:gd name="T77" fmla="*/ 321 h 249"/>
                      <a:gd name="T78" fmla="*/ 10282 w 171"/>
                      <a:gd name="T79" fmla="*/ 510 h 249"/>
                      <a:gd name="T80" fmla="*/ 11191 w 171"/>
                      <a:gd name="T81" fmla="*/ 766 h 249"/>
                      <a:gd name="T82" fmla="*/ 11776 w 171"/>
                      <a:gd name="T83" fmla="*/ 1039 h 249"/>
                      <a:gd name="T84" fmla="*/ 12242 w 171"/>
                      <a:gd name="T85" fmla="*/ 1775 h 249"/>
                      <a:gd name="T86" fmla="*/ 12455 w 171"/>
                      <a:gd name="T87" fmla="*/ 2016 h 249"/>
                      <a:gd name="T88" fmla="*/ 12627 w 171"/>
                      <a:gd name="T89" fmla="*/ 2955 h 249"/>
                      <a:gd name="T90" fmla="*/ 12628 w 171"/>
                      <a:gd name="T91" fmla="*/ 4170 h 249"/>
                      <a:gd name="T92" fmla="*/ 13101 w 171"/>
                      <a:gd name="T93" fmla="*/ 4814 h 249"/>
                      <a:gd name="T94" fmla="*/ 13715 w 171"/>
                      <a:gd name="T95" fmla="*/ 5292 h 249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71"/>
                      <a:gd name="T145" fmla="*/ 0 h 249"/>
                      <a:gd name="T146" fmla="*/ 171 w 171"/>
                      <a:gd name="T147" fmla="*/ 249 h 249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71" h="249">
                        <a:moveTo>
                          <a:pt x="156" y="182"/>
                        </a:moveTo>
                        <a:lnTo>
                          <a:pt x="167" y="195"/>
                        </a:lnTo>
                        <a:lnTo>
                          <a:pt x="171" y="197"/>
                        </a:lnTo>
                        <a:lnTo>
                          <a:pt x="168" y="197"/>
                        </a:lnTo>
                        <a:lnTo>
                          <a:pt x="160" y="208"/>
                        </a:lnTo>
                        <a:lnTo>
                          <a:pt x="154" y="208"/>
                        </a:lnTo>
                        <a:lnTo>
                          <a:pt x="151" y="207"/>
                        </a:lnTo>
                        <a:lnTo>
                          <a:pt x="138" y="208"/>
                        </a:lnTo>
                        <a:lnTo>
                          <a:pt x="132" y="208"/>
                        </a:lnTo>
                        <a:lnTo>
                          <a:pt x="128" y="211"/>
                        </a:lnTo>
                        <a:lnTo>
                          <a:pt x="117" y="217"/>
                        </a:lnTo>
                        <a:lnTo>
                          <a:pt x="96" y="229"/>
                        </a:lnTo>
                        <a:lnTo>
                          <a:pt x="73" y="234"/>
                        </a:lnTo>
                        <a:lnTo>
                          <a:pt x="67" y="236"/>
                        </a:lnTo>
                        <a:lnTo>
                          <a:pt x="62" y="241"/>
                        </a:lnTo>
                        <a:lnTo>
                          <a:pt x="47" y="249"/>
                        </a:lnTo>
                        <a:lnTo>
                          <a:pt x="29" y="241"/>
                        </a:lnTo>
                        <a:lnTo>
                          <a:pt x="4" y="234"/>
                        </a:lnTo>
                        <a:lnTo>
                          <a:pt x="7" y="229"/>
                        </a:lnTo>
                        <a:lnTo>
                          <a:pt x="12" y="229"/>
                        </a:lnTo>
                        <a:lnTo>
                          <a:pt x="15" y="230"/>
                        </a:lnTo>
                        <a:lnTo>
                          <a:pt x="19" y="229"/>
                        </a:lnTo>
                        <a:lnTo>
                          <a:pt x="19" y="218"/>
                        </a:lnTo>
                        <a:lnTo>
                          <a:pt x="18" y="211"/>
                        </a:lnTo>
                        <a:lnTo>
                          <a:pt x="15" y="210"/>
                        </a:lnTo>
                        <a:lnTo>
                          <a:pt x="10" y="208"/>
                        </a:lnTo>
                        <a:lnTo>
                          <a:pt x="7" y="205"/>
                        </a:lnTo>
                        <a:lnTo>
                          <a:pt x="5" y="193"/>
                        </a:lnTo>
                        <a:lnTo>
                          <a:pt x="0" y="180"/>
                        </a:lnTo>
                        <a:lnTo>
                          <a:pt x="0" y="174"/>
                        </a:lnTo>
                        <a:lnTo>
                          <a:pt x="0" y="162"/>
                        </a:lnTo>
                        <a:lnTo>
                          <a:pt x="4" y="157"/>
                        </a:lnTo>
                        <a:lnTo>
                          <a:pt x="7" y="152"/>
                        </a:lnTo>
                        <a:lnTo>
                          <a:pt x="10" y="149"/>
                        </a:lnTo>
                        <a:lnTo>
                          <a:pt x="10" y="141"/>
                        </a:lnTo>
                        <a:lnTo>
                          <a:pt x="10" y="135"/>
                        </a:lnTo>
                        <a:lnTo>
                          <a:pt x="15" y="126"/>
                        </a:lnTo>
                        <a:lnTo>
                          <a:pt x="18" y="119"/>
                        </a:lnTo>
                        <a:lnTo>
                          <a:pt x="20" y="119"/>
                        </a:lnTo>
                        <a:lnTo>
                          <a:pt x="22" y="114"/>
                        </a:lnTo>
                        <a:lnTo>
                          <a:pt x="25" y="114"/>
                        </a:lnTo>
                        <a:lnTo>
                          <a:pt x="25" y="111"/>
                        </a:lnTo>
                        <a:lnTo>
                          <a:pt x="29" y="109"/>
                        </a:lnTo>
                        <a:lnTo>
                          <a:pt x="27" y="99"/>
                        </a:lnTo>
                        <a:lnTo>
                          <a:pt x="22" y="80"/>
                        </a:lnTo>
                        <a:lnTo>
                          <a:pt x="20" y="77"/>
                        </a:lnTo>
                        <a:lnTo>
                          <a:pt x="17" y="77"/>
                        </a:lnTo>
                        <a:lnTo>
                          <a:pt x="18" y="75"/>
                        </a:lnTo>
                        <a:lnTo>
                          <a:pt x="21" y="72"/>
                        </a:lnTo>
                        <a:lnTo>
                          <a:pt x="19" y="67"/>
                        </a:lnTo>
                        <a:lnTo>
                          <a:pt x="20" y="65"/>
                        </a:lnTo>
                        <a:lnTo>
                          <a:pt x="20" y="62"/>
                        </a:lnTo>
                        <a:lnTo>
                          <a:pt x="18" y="56"/>
                        </a:lnTo>
                        <a:lnTo>
                          <a:pt x="17" y="52"/>
                        </a:lnTo>
                        <a:lnTo>
                          <a:pt x="18" y="45"/>
                        </a:lnTo>
                        <a:lnTo>
                          <a:pt x="15" y="39"/>
                        </a:lnTo>
                        <a:lnTo>
                          <a:pt x="17" y="30"/>
                        </a:lnTo>
                        <a:lnTo>
                          <a:pt x="14" y="29"/>
                        </a:lnTo>
                        <a:lnTo>
                          <a:pt x="15" y="24"/>
                        </a:lnTo>
                        <a:lnTo>
                          <a:pt x="12" y="22"/>
                        </a:lnTo>
                        <a:lnTo>
                          <a:pt x="10" y="15"/>
                        </a:lnTo>
                        <a:lnTo>
                          <a:pt x="10" y="10"/>
                        </a:lnTo>
                        <a:lnTo>
                          <a:pt x="14" y="4"/>
                        </a:lnTo>
                        <a:lnTo>
                          <a:pt x="25" y="4"/>
                        </a:lnTo>
                        <a:lnTo>
                          <a:pt x="32" y="4"/>
                        </a:lnTo>
                        <a:lnTo>
                          <a:pt x="41" y="4"/>
                        </a:lnTo>
                        <a:lnTo>
                          <a:pt x="60" y="4"/>
                        </a:lnTo>
                        <a:lnTo>
                          <a:pt x="79" y="8"/>
                        </a:lnTo>
                        <a:lnTo>
                          <a:pt x="90" y="8"/>
                        </a:lnTo>
                        <a:lnTo>
                          <a:pt x="93" y="7"/>
                        </a:lnTo>
                        <a:lnTo>
                          <a:pt x="102" y="1"/>
                        </a:lnTo>
                        <a:lnTo>
                          <a:pt x="113" y="0"/>
                        </a:lnTo>
                        <a:lnTo>
                          <a:pt x="113" y="1"/>
                        </a:lnTo>
                        <a:lnTo>
                          <a:pt x="115" y="2"/>
                        </a:lnTo>
                        <a:lnTo>
                          <a:pt x="122" y="2"/>
                        </a:lnTo>
                        <a:lnTo>
                          <a:pt x="122" y="4"/>
                        </a:lnTo>
                        <a:lnTo>
                          <a:pt x="120" y="7"/>
                        </a:lnTo>
                        <a:lnTo>
                          <a:pt x="120" y="10"/>
                        </a:lnTo>
                        <a:lnTo>
                          <a:pt x="117" y="15"/>
                        </a:lnTo>
                        <a:lnTo>
                          <a:pt x="117" y="19"/>
                        </a:lnTo>
                        <a:lnTo>
                          <a:pt x="123" y="22"/>
                        </a:lnTo>
                        <a:lnTo>
                          <a:pt x="127" y="27"/>
                        </a:lnTo>
                        <a:lnTo>
                          <a:pt x="132" y="33"/>
                        </a:lnTo>
                        <a:lnTo>
                          <a:pt x="134" y="36"/>
                        </a:lnTo>
                        <a:lnTo>
                          <a:pt x="137" y="46"/>
                        </a:lnTo>
                        <a:lnTo>
                          <a:pt x="138" y="62"/>
                        </a:lnTo>
                        <a:lnTo>
                          <a:pt x="140" y="65"/>
                        </a:lnTo>
                        <a:lnTo>
                          <a:pt x="142" y="70"/>
                        </a:lnTo>
                        <a:lnTo>
                          <a:pt x="143" y="78"/>
                        </a:lnTo>
                        <a:lnTo>
                          <a:pt x="144" y="103"/>
                        </a:lnTo>
                        <a:lnTo>
                          <a:pt x="147" y="131"/>
                        </a:lnTo>
                        <a:lnTo>
                          <a:pt x="145" y="145"/>
                        </a:lnTo>
                        <a:lnTo>
                          <a:pt x="147" y="161"/>
                        </a:lnTo>
                        <a:lnTo>
                          <a:pt x="148" y="167"/>
                        </a:lnTo>
                        <a:lnTo>
                          <a:pt x="151" y="176"/>
                        </a:lnTo>
                        <a:lnTo>
                          <a:pt x="156" y="182"/>
                        </a:lnTo>
                        <a:close/>
                      </a:path>
                    </a:pathLst>
                  </a:custGeom>
                  <a:solidFill>
                    <a:srgbClr val="D9969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9" name="Freeform 57"/>
                  <p:cNvSpPr>
                    <a:spLocks/>
                  </p:cNvSpPr>
                  <p:nvPr/>
                </p:nvSpPr>
                <p:spPr bwMode="auto">
                  <a:xfrm>
                    <a:off x="1146" y="2071"/>
                    <a:ext cx="183" cy="262"/>
                  </a:xfrm>
                  <a:custGeom>
                    <a:avLst/>
                    <a:gdLst>
                      <a:gd name="T0" fmla="*/ 14677 w 171"/>
                      <a:gd name="T1" fmla="*/ 5607 h 249"/>
                      <a:gd name="T2" fmla="*/ 14884 w 171"/>
                      <a:gd name="T3" fmla="*/ 5660 h 249"/>
                      <a:gd name="T4" fmla="*/ 13513 w 171"/>
                      <a:gd name="T5" fmla="*/ 5977 h 249"/>
                      <a:gd name="T6" fmla="*/ 12242 w 171"/>
                      <a:gd name="T7" fmla="*/ 5977 h 249"/>
                      <a:gd name="T8" fmla="*/ 11348 w 171"/>
                      <a:gd name="T9" fmla="*/ 6055 h 249"/>
                      <a:gd name="T10" fmla="*/ 8405 w 171"/>
                      <a:gd name="T11" fmla="*/ 6594 h 249"/>
                      <a:gd name="T12" fmla="*/ 5906 w 171"/>
                      <a:gd name="T13" fmla="*/ 6826 h 249"/>
                      <a:gd name="T14" fmla="*/ 4190 w 171"/>
                      <a:gd name="T15" fmla="*/ 7197 h 249"/>
                      <a:gd name="T16" fmla="*/ 4 w 171"/>
                      <a:gd name="T17" fmla="*/ 6704 h 249"/>
                      <a:gd name="T18" fmla="*/ 1013 w 171"/>
                      <a:gd name="T19" fmla="*/ 6594 h 249"/>
                      <a:gd name="T20" fmla="*/ 1628 w 171"/>
                      <a:gd name="T21" fmla="*/ 6594 h 249"/>
                      <a:gd name="T22" fmla="*/ 1521 w 171"/>
                      <a:gd name="T23" fmla="*/ 6055 h 249"/>
                      <a:gd name="T24" fmla="*/ 885 w 171"/>
                      <a:gd name="T25" fmla="*/ 5977 h 249"/>
                      <a:gd name="T26" fmla="*/ 5 w 171"/>
                      <a:gd name="T27" fmla="*/ 5580 h 249"/>
                      <a:gd name="T28" fmla="*/ 0 w 171"/>
                      <a:gd name="T29" fmla="*/ 5040 h 249"/>
                      <a:gd name="T30" fmla="*/ 4 w 171"/>
                      <a:gd name="T31" fmla="*/ 4552 h 249"/>
                      <a:gd name="T32" fmla="*/ 885 w 171"/>
                      <a:gd name="T33" fmla="*/ 4326 h 249"/>
                      <a:gd name="T34" fmla="*/ 885 w 171"/>
                      <a:gd name="T35" fmla="*/ 3907 h 249"/>
                      <a:gd name="T36" fmla="*/ 1521 w 171"/>
                      <a:gd name="T37" fmla="*/ 3414 h 249"/>
                      <a:gd name="T38" fmla="*/ 1995 w 171"/>
                      <a:gd name="T39" fmla="*/ 3271 h 249"/>
                      <a:gd name="T40" fmla="*/ 2160 w 171"/>
                      <a:gd name="T41" fmla="*/ 3190 h 249"/>
                      <a:gd name="T42" fmla="*/ 2312 w 171"/>
                      <a:gd name="T43" fmla="*/ 2873 h 249"/>
                      <a:gd name="T44" fmla="*/ 1742 w 171"/>
                      <a:gd name="T45" fmla="*/ 2228 h 249"/>
                      <a:gd name="T46" fmla="*/ 1521 w 171"/>
                      <a:gd name="T47" fmla="*/ 2160 h 249"/>
                      <a:gd name="T48" fmla="*/ 1628 w 171"/>
                      <a:gd name="T49" fmla="*/ 1916 h 249"/>
                      <a:gd name="T50" fmla="*/ 1742 w 171"/>
                      <a:gd name="T51" fmla="*/ 1775 h 249"/>
                      <a:gd name="T52" fmla="*/ 1421 w 171"/>
                      <a:gd name="T53" fmla="*/ 1485 h 249"/>
                      <a:gd name="T54" fmla="*/ 1241 w 171"/>
                      <a:gd name="T55" fmla="*/ 1094 h 249"/>
                      <a:gd name="T56" fmla="*/ 1160 w 171"/>
                      <a:gd name="T57" fmla="*/ 848 h 249"/>
                      <a:gd name="T58" fmla="*/ 1013 w 171"/>
                      <a:gd name="T59" fmla="*/ 594 h 249"/>
                      <a:gd name="T60" fmla="*/ 885 w 171"/>
                      <a:gd name="T61" fmla="*/ 321 h 249"/>
                      <a:gd name="T62" fmla="*/ 2160 w 171"/>
                      <a:gd name="T63" fmla="*/ 4 h 249"/>
                      <a:gd name="T64" fmla="*/ 3658 w 171"/>
                      <a:gd name="T65" fmla="*/ 4 h 249"/>
                      <a:gd name="T66" fmla="*/ 6961 w 171"/>
                      <a:gd name="T67" fmla="*/ 8 h 249"/>
                      <a:gd name="T68" fmla="*/ 8257 w 171"/>
                      <a:gd name="T69" fmla="*/ 7 h 249"/>
                      <a:gd name="T70" fmla="*/ 9988 w 171"/>
                      <a:gd name="T71" fmla="*/ 0 h 249"/>
                      <a:gd name="T72" fmla="*/ 10120 w 171"/>
                      <a:gd name="T73" fmla="*/ 2 h 249"/>
                      <a:gd name="T74" fmla="*/ 10753 w 171"/>
                      <a:gd name="T75" fmla="*/ 4 h 249"/>
                      <a:gd name="T76" fmla="*/ 10604 w 171"/>
                      <a:gd name="T77" fmla="*/ 321 h 249"/>
                      <a:gd name="T78" fmla="*/ 10282 w 171"/>
                      <a:gd name="T79" fmla="*/ 510 h 249"/>
                      <a:gd name="T80" fmla="*/ 11191 w 171"/>
                      <a:gd name="T81" fmla="*/ 766 h 249"/>
                      <a:gd name="T82" fmla="*/ 11776 w 171"/>
                      <a:gd name="T83" fmla="*/ 1039 h 249"/>
                      <a:gd name="T84" fmla="*/ 12242 w 171"/>
                      <a:gd name="T85" fmla="*/ 1775 h 249"/>
                      <a:gd name="T86" fmla="*/ 12455 w 171"/>
                      <a:gd name="T87" fmla="*/ 2016 h 249"/>
                      <a:gd name="T88" fmla="*/ 12627 w 171"/>
                      <a:gd name="T89" fmla="*/ 2955 h 249"/>
                      <a:gd name="T90" fmla="*/ 12628 w 171"/>
                      <a:gd name="T91" fmla="*/ 4170 h 249"/>
                      <a:gd name="T92" fmla="*/ 13101 w 171"/>
                      <a:gd name="T93" fmla="*/ 4814 h 249"/>
                      <a:gd name="T94" fmla="*/ 13715 w 171"/>
                      <a:gd name="T95" fmla="*/ 5292 h 249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71"/>
                      <a:gd name="T145" fmla="*/ 0 h 249"/>
                      <a:gd name="T146" fmla="*/ 171 w 171"/>
                      <a:gd name="T147" fmla="*/ 249 h 249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71" h="249">
                        <a:moveTo>
                          <a:pt x="156" y="182"/>
                        </a:moveTo>
                        <a:lnTo>
                          <a:pt x="167" y="195"/>
                        </a:lnTo>
                        <a:lnTo>
                          <a:pt x="171" y="197"/>
                        </a:lnTo>
                        <a:lnTo>
                          <a:pt x="168" y="197"/>
                        </a:lnTo>
                        <a:lnTo>
                          <a:pt x="160" y="208"/>
                        </a:lnTo>
                        <a:lnTo>
                          <a:pt x="154" y="208"/>
                        </a:lnTo>
                        <a:lnTo>
                          <a:pt x="151" y="207"/>
                        </a:lnTo>
                        <a:lnTo>
                          <a:pt x="138" y="208"/>
                        </a:lnTo>
                        <a:lnTo>
                          <a:pt x="132" y="208"/>
                        </a:lnTo>
                        <a:lnTo>
                          <a:pt x="128" y="211"/>
                        </a:lnTo>
                        <a:lnTo>
                          <a:pt x="117" y="217"/>
                        </a:lnTo>
                        <a:lnTo>
                          <a:pt x="96" y="229"/>
                        </a:lnTo>
                        <a:lnTo>
                          <a:pt x="73" y="234"/>
                        </a:lnTo>
                        <a:lnTo>
                          <a:pt x="67" y="236"/>
                        </a:lnTo>
                        <a:lnTo>
                          <a:pt x="62" y="241"/>
                        </a:lnTo>
                        <a:lnTo>
                          <a:pt x="47" y="249"/>
                        </a:lnTo>
                        <a:lnTo>
                          <a:pt x="29" y="241"/>
                        </a:lnTo>
                        <a:lnTo>
                          <a:pt x="4" y="234"/>
                        </a:lnTo>
                        <a:lnTo>
                          <a:pt x="7" y="229"/>
                        </a:lnTo>
                        <a:lnTo>
                          <a:pt x="12" y="229"/>
                        </a:lnTo>
                        <a:lnTo>
                          <a:pt x="15" y="230"/>
                        </a:lnTo>
                        <a:lnTo>
                          <a:pt x="19" y="229"/>
                        </a:lnTo>
                        <a:lnTo>
                          <a:pt x="19" y="218"/>
                        </a:lnTo>
                        <a:lnTo>
                          <a:pt x="18" y="211"/>
                        </a:lnTo>
                        <a:lnTo>
                          <a:pt x="15" y="210"/>
                        </a:lnTo>
                        <a:lnTo>
                          <a:pt x="10" y="208"/>
                        </a:lnTo>
                        <a:lnTo>
                          <a:pt x="7" y="205"/>
                        </a:lnTo>
                        <a:lnTo>
                          <a:pt x="5" y="193"/>
                        </a:lnTo>
                        <a:lnTo>
                          <a:pt x="0" y="180"/>
                        </a:lnTo>
                        <a:lnTo>
                          <a:pt x="0" y="174"/>
                        </a:lnTo>
                        <a:lnTo>
                          <a:pt x="0" y="162"/>
                        </a:lnTo>
                        <a:lnTo>
                          <a:pt x="4" y="157"/>
                        </a:lnTo>
                        <a:lnTo>
                          <a:pt x="7" y="152"/>
                        </a:lnTo>
                        <a:lnTo>
                          <a:pt x="10" y="149"/>
                        </a:lnTo>
                        <a:lnTo>
                          <a:pt x="10" y="141"/>
                        </a:lnTo>
                        <a:lnTo>
                          <a:pt x="10" y="135"/>
                        </a:lnTo>
                        <a:lnTo>
                          <a:pt x="15" y="126"/>
                        </a:lnTo>
                        <a:lnTo>
                          <a:pt x="18" y="119"/>
                        </a:lnTo>
                        <a:lnTo>
                          <a:pt x="20" y="119"/>
                        </a:lnTo>
                        <a:lnTo>
                          <a:pt x="22" y="114"/>
                        </a:lnTo>
                        <a:lnTo>
                          <a:pt x="25" y="114"/>
                        </a:lnTo>
                        <a:lnTo>
                          <a:pt x="25" y="111"/>
                        </a:lnTo>
                        <a:lnTo>
                          <a:pt x="29" y="109"/>
                        </a:lnTo>
                        <a:lnTo>
                          <a:pt x="27" y="99"/>
                        </a:lnTo>
                        <a:lnTo>
                          <a:pt x="22" y="80"/>
                        </a:lnTo>
                        <a:lnTo>
                          <a:pt x="20" y="77"/>
                        </a:lnTo>
                        <a:lnTo>
                          <a:pt x="17" y="77"/>
                        </a:lnTo>
                        <a:lnTo>
                          <a:pt x="18" y="75"/>
                        </a:lnTo>
                        <a:lnTo>
                          <a:pt x="21" y="72"/>
                        </a:lnTo>
                        <a:lnTo>
                          <a:pt x="19" y="67"/>
                        </a:lnTo>
                        <a:lnTo>
                          <a:pt x="20" y="65"/>
                        </a:lnTo>
                        <a:lnTo>
                          <a:pt x="20" y="62"/>
                        </a:lnTo>
                        <a:lnTo>
                          <a:pt x="18" y="56"/>
                        </a:lnTo>
                        <a:lnTo>
                          <a:pt x="17" y="52"/>
                        </a:lnTo>
                        <a:lnTo>
                          <a:pt x="18" y="45"/>
                        </a:lnTo>
                        <a:lnTo>
                          <a:pt x="15" y="39"/>
                        </a:lnTo>
                        <a:lnTo>
                          <a:pt x="17" y="30"/>
                        </a:lnTo>
                        <a:lnTo>
                          <a:pt x="14" y="29"/>
                        </a:lnTo>
                        <a:lnTo>
                          <a:pt x="15" y="24"/>
                        </a:lnTo>
                        <a:lnTo>
                          <a:pt x="12" y="22"/>
                        </a:lnTo>
                        <a:lnTo>
                          <a:pt x="10" y="15"/>
                        </a:lnTo>
                        <a:lnTo>
                          <a:pt x="10" y="10"/>
                        </a:lnTo>
                        <a:lnTo>
                          <a:pt x="14" y="4"/>
                        </a:lnTo>
                        <a:lnTo>
                          <a:pt x="25" y="4"/>
                        </a:lnTo>
                        <a:lnTo>
                          <a:pt x="32" y="4"/>
                        </a:lnTo>
                        <a:lnTo>
                          <a:pt x="41" y="4"/>
                        </a:lnTo>
                        <a:lnTo>
                          <a:pt x="60" y="4"/>
                        </a:lnTo>
                        <a:lnTo>
                          <a:pt x="79" y="8"/>
                        </a:lnTo>
                        <a:lnTo>
                          <a:pt x="90" y="8"/>
                        </a:lnTo>
                        <a:lnTo>
                          <a:pt x="93" y="7"/>
                        </a:lnTo>
                        <a:lnTo>
                          <a:pt x="102" y="1"/>
                        </a:lnTo>
                        <a:lnTo>
                          <a:pt x="113" y="0"/>
                        </a:lnTo>
                        <a:lnTo>
                          <a:pt x="113" y="1"/>
                        </a:lnTo>
                        <a:lnTo>
                          <a:pt x="115" y="2"/>
                        </a:lnTo>
                        <a:lnTo>
                          <a:pt x="122" y="2"/>
                        </a:lnTo>
                        <a:lnTo>
                          <a:pt x="122" y="4"/>
                        </a:lnTo>
                        <a:lnTo>
                          <a:pt x="120" y="7"/>
                        </a:lnTo>
                        <a:lnTo>
                          <a:pt x="120" y="10"/>
                        </a:lnTo>
                        <a:lnTo>
                          <a:pt x="117" y="15"/>
                        </a:lnTo>
                        <a:lnTo>
                          <a:pt x="117" y="19"/>
                        </a:lnTo>
                        <a:lnTo>
                          <a:pt x="123" y="22"/>
                        </a:lnTo>
                        <a:lnTo>
                          <a:pt x="127" y="27"/>
                        </a:lnTo>
                        <a:lnTo>
                          <a:pt x="132" y="33"/>
                        </a:lnTo>
                        <a:lnTo>
                          <a:pt x="134" y="36"/>
                        </a:lnTo>
                        <a:lnTo>
                          <a:pt x="137" y="46"/>
                        </a:lnTo>
                        <a:lnTo>
                          <a:pt x="138" y="62"/>
                        </a:lnTo>
                        <a:lnTo>
                          <a:pt x="140" y="65"/>
                        </a:lnTo>
                        <a:lnTo>
                          <a:pt x="142" y="70"/>
                        </a:lnTo>
                        <a:lnTo>
                          <a:pt x="143" y="78"/>
                        </a:lnTo>
                        <a:lnTo>
                          <a:pt x="144" y="103"/>
                        </a:lnTo>
                        <a:lnTo>
                          <a:pt x="147" y="131"/>
                        </a:lnTo>
                        <a:lnTo>
                          <a:pt x="145" y="145"/>
                        </a:lnTo>
                        <a:lnTo>
                          <a:pt x="147" y="161"/>
                        </a:lnTo>
                        <a:lnTo>
                          <a:pt x="148" y="167"/>
                        </a:lnTo>
                        <a:lnTo>
                          <a:pt x="151" y="176"/>
                        </a:lnTo>
                        <a:lnTo>
                          <a:pt x="156" y="182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0" name="Freeform 58"/>
                  <p:cNvSpPr>
                    <a:spLocks/>
                  </p:cNvSpPr>
                  <p:nvPr/>
                </p:nvSpPr>
                <p:spPr bwMode="auto">
                  <a:xfrm>
                    <a:off x="1269" y="2071"/>
                    <a:ext cx="91" cy="207"/>
                  </a:xfrm>
                  <a:custGeom>
                    <a:avLst/>
                    <a:gdLst>
                      <a:gd name="T0" fmla="*/ 7204 w 85"/>
                      <a:gd name="T1" fmla="*/ 4899 h 197"/>
                      <a:gd name="T2" fmla="*/ 7706 w 85"/>
                      <a:gd name="T3" fmla="*/ 4941 h 197"/>
                      <a:gd name="T4" fmla="*/ 6285 w 85"/>
                      <a:gd name="T5" fmla="*/ 5037 h 197"/>
                      <a:gd name="T6" fmla="*/ 5122 w 85"/>
                      <a:gd name="T7" fmla="*/ 5172 h 197"/>
                      <a:gd name="T8" fmla="*/ 4895 w 85"/>
                      <a:gd name="T9" fmla="*/ 5116 h 197"/>
                      <a:gd name="T10" fmla="*/ 3747 w 85"/>
                      <a:gd name="T11" fmla="*/ 4774 h 197"/>
                      <a:gd name="T12" fmla="*/ 3400 w 85"/>
                      <a:gd name="T13" fmla="*/ 4624 h 197"/>
                      <a:gd name="T14" fmla="*/ 3053 w 85"/>
                      <a:gd name="T15" fmla="*/ 4382 h 197"/>
                      <a:gd name="T16" fmla="*/ 2967 w 85"/>
                      <a:gd name="T17" fmla="*/ 4223 h 197"/>
                      <a:gd name="T18" fmla="*/ 2852 w 85"/>
                      <a:gd name="T19" fmla="*/ 3801 h 197"/>
                      <a:gd name="T20" fmla="*/ 2967 w 85"/>
                      <a:gd name="T21" fmla="*/ 3442 h 197"/>
                      <a:gd name="T22" fmla="*/ 2664 w 85"/>
                      <a:gd name="T23" fmla="*/ 2688 h 197"/>
                      <a:gd name="T24" fmla="*/ 2588 w 85"/>
                      <a:gd name="T25" fmla="*/ 2052 h 197"/>
                      <a:gd name="T26" fmla="*/ 2488 w 85"/>
                      <a:gd name="T27" fmla="*/ 1859 h 197"/>
                      <a:gd name="T28" fmla="*/ 2324 w 85"/>
                      <a:gd name="T29" fmla="*/ 1694 h 197"/>
                      <a:gd name="T30" fmla="*/ 2109 w 85"/>
                      <a:gd name="T31" fmla="*/ 1612 h 197"/>
                      <a:gd name="T32" fmla="*/ 2109 w 85"/>
                      <a:gd name="T33" fmla="*/ 1197 h 197"/>
                      <a:gd name="T34" fmla="*/ 1769 w 85"/>
                      <a:gd name="T35" fmla="*/ 935 h 197"/>
                      <a:gd name="T36" fmla="*/ 1543 w 85"/>
                      <a:gd name="T37" fmla="*/ 874 h 197"/>
                      <a:gd name="T38" fmla="*/ 1025 w 85"/>
                      <a:gd name="T39" fmla="*/ 695 h 197"/>
                      <a:gd name="T40" fmla="*/ 894 w 85"/>
                      <a:gd name="T41" fmla="*/ 542 h 197"/>
                      <a:gd name="T42" fmla="*/ 3 w 85"/>
                      <a:gd name="T43" fmla="*/ 467 h 197"/>
                      <a:gd name="T44" fmla="*/ 3 w 85"/>
                      <a:gd name="T45" fmla="*/ 384 h 197"/>
                      <a:gd name="T46" fmla="*/ 6 w 85"/>
                      <a:gd name="T47" fmla="*/ 299 h 197"/>
                      <a:gd name="T48" fmla="*/ 6 w 85"/>
                      <a:gd name="T49" fmla="*/ 7 h 197"/>
                      <a:gd name="T50" fmla="*/ 7 w 85"/>
                      <a:gd name="T51" fmla="*/ 4 h 197"/>
                      <a:gd name="T52" fmla="*/ 7 w 85"/>
                      <a:gd name="T53" fmla="*/ 2 h 197"/>
                      <a:gd name="T54" fmla="*/ 1 w 85"/>
                      <a:gd name="T55" fmla="*/ 2 h 197"/>
                      <a:gd name="T56" fmla="*/ 0 w 85"/>
                      <a:gd name="T57" fmla="*/ 1 h 197"/>
                      <a:gd name="T58" fmla="*/ 0 w 85"/>
                      <a:gd name="T59" fmla="*/ 0 h 197"/>
                      <a:gd name="T60" fmla="*/ 1 w 85"/>
                      <a:gd name="T61" fmla="*/ 0 h 197"/>
                      <a:gd name="T62" fmla="*/ 2109 w 85"/>
                      <a:gd name="T63" fmla="*/ 4 h 197"/>
                      <a:gd name="T64" fmla="*/ 2417 w 85"/>
                      <a:gd name="T65" fmla="*/ 8 h 197"/>
                      <a:gd name="T66" fmla="*/ 2588 w 85"/>
                      <a:gd name="T67" fmla="*/ 7 h 197"/>
                      <a:gd name="T68" fmla="*/ 2664 w 85"/>
                      <a:gd name="T69" fmla="*/ 4 h 197"/>
                      <a:gd name="T70" fmla="*/ 3640 w 85"/>
                      <a:gd name="T71" fmla="*/ 5 h 197"/>
                      <a:gd name="T72" fmla="*/ 3747 w 85"/>
                      <a:gd name="T73" fmla="*/ 4 h 197"/>
                      <a:gd name="T74" fmla="*/ 3640 w 85"/>
                      <a:gd name="T75" fmla="*/ 5 h 197"/>
                      <a:gd name="T76" fmla="*/ 3640 w 85"/>
                      <a:gd name="T77" fmla="*/ 314 h 197"/>
                      <a:gd name="T78" fmla="*/ 3400 w 85"/>
                      <a:gd name="T79" fmla="*/ 384 h 197"/>
                      <a:gd name="T80" fmla="*/ 3269 w 85"/>
                      <a:gd name="T81" fmla="*/ 599 h 197"/>
                      <a:gd name="T82" fmla="*/ 3269 w 85"/>
                      <a:gd name="T83" fmla="*/ 806 h 197"/>
                      <a:gd name="T84" fmla="*/ 3640 w 85"/>
                      <a:gd name="T85" fmla="*/ 847 h 197"/>
                      <a:gd name="T86" fmla="*/ 3989 w 85"/>
                      <a:gd name="T87" fmla="*/ 935 h 197"/>
                      <a:gd name="T88" fmla="*/ 4271 w 85"/>
                      <a:gd name="T89" fmla="*/ 935 h 197"/>
                      <a:gd name="T90" fmla="*/ 4572 w 85"/>
                      <a:gd name="T91" fmla="*/ 935 h 197"/>
                      <a:gd name="T92" fmla="*/ 5268 w 85"/>
                      <a:gd name="T93" fmla="*/ 1258 h 197"/>
                      <a:gd name="T94" fmla="*/ 5871 w 85"/>
                      <a:gd name="T95" fmla="*/ 1612 h 197"/>
                      <a:gd name="T96" fmla="*/ 6285 w 85"/>
                      <a:gd name="T97" fmla="*/ 2027 h 197"/>
                      <a:gd name="T98" fmla="*/ 6431 w 85"/>
                      <a:gd name="T99" fmla="*/ 2156 h 197"/>
                      <a:gd name="T100" fmla="*/ 6594 w 85"/>
                      <a:gd name="T101" fmla="*/ 2280 h 197"/>
                      <a:gd name="T102" fmla="*/ 6723 w 85"/>
                      <a:gd name="T103" fmla="*/ 2434 h 197"/>
                      <a:gd name="T104" fmla="*/ 6920 w 85"/>
                      <a:gd name="T105" fmla="*/ 2628 h 197"/>
                      <a:gd name="T106" fmla="*/ 6920 w 85"/>
                      <a:gd name="T107" fmla="*/ 2967 h 197"/>
                      <a:gd name="T108" fmla="*/ 6920 w 85"/>
                      <a:gd name="T109" fmla="*/ 3916 h 197"/>
                      <a:gd name="T110" fmla="*/ 6723 w 85"/>
                      <a:gd name="T111" fmla="*/ 4342 h 197"/>
                      <a:gd name="T112" fmla="*/ 6723 w 85"/>
                      <a:gd name="T113" fmla="*/ 4531 h 197"/>
                      <a:gd name="T114" fmla="*/ 6920 w 85"/>
                      <a:gd name="T115" fmla="*/ 4761 h 197"/>
                      <a:gd name="T116" fmla="*/ 7204 w 85"/>
                      <a:gd name="T117" fmla="*/ 4899 h 197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85"/>
                      <a:gd name="T178" fmla="*/ 0 h 197"/>
                      <a:gd name="T179" fmla="*/ 85 w 85"/>
                      <a:gd name="T180" fmla="*/ 197 h 197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85" h="197">
                        <a:moveTo>
                          <a:pt x="80" y="187"/>
                        </a:moveTo>
                        <a:lnTo>
                          <a:pt x="85" y="188"/>
                        </a:lnTo>
                        <a:lnTo>
                          <a:pt x="70" y="192"/>
                        </a:lnTo>
                        <a:lnTo>
                          <a:pt x="57" y="197"/>
                        </a:lnTo>
                        <a:lnTo>
                          <a:pt x="54" y="195"/>
                        </a:lnTo>
                        <a:lnTo>
                          <a:pt x="42" y="182"/>
                        </a:lnTo>
                        <a:lnTo>
                          <a:pt x="37" y="176"/>
                        </a:lnTo>
                        <a:lnTo>
                          <a:pt x="34" y="167"/>
                        </a:lnTo>
                        <a:lnTo>
                          <a:pt x="33" y="161"/>
                        </a:lnTo>
                        <a:lnTo>
                          <a:pt x="32" y="145"/>
                        </a:lnTo>
                        <a:lnTo>
                          <a:pt x="33" y="131"/>
                        </a:lnTo>
                        <a:lnTo>
                          <a:pt x="30" y="103"/>
                        </a:lnTo>
                        <a:lnTo>
                          <a:pt x="29" y="78"/>
                        </a:lnTo>
                        <a:lnTo>
                          <a:pt x="28" y="70"/>
                        </a:lnTo>
                        <a:lnTo>
                          <a:pt x="26" y="65"/>
                        </a:lnTo>
                        <a:lnTo>
                          <a:pt x="23" y="62"/>
                        </a:lnTo>
                        <a:lnTo>
                          <a:pt x="23" y="46"/>
                        </a:lnTo>
                        <a:lnTo>
                          <a:pt x="20" y="36"/>
                        </a:lnTo>
                        <a:lnTo>
                          <a:pt x="18" y="33"/>
                        </a:lnTo>
                        <a:lnTo>
                          <a:pt x="12" y="27"/>
                        </a:lnTo>
                        <a:lnTo>
                          <a:pt x="10" y="22"/>
                        </a:lnTo>
                        <a:lnTo>
                          <a:pt x="3" y="19"/>
                        </a:lnTo>
                        <a:lnTo>
                          <a:pt x="3" y="15"/>
                        </a:lnTo>
                        <a:lnTo>
                          <a:pt x="6" y="10"/>
                        </a:lnTo>
                        <a:lnTo>
                          <a:pt x="6" y="7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1" y="2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23" y="4"/>
                        </a:lnTo>
                        <a:lnTo>
                          <a:pt x="27" y="8"/>
                        </a:lnTo>
                        <a:lnTo>
                          <a:pt x="29" y="7"/>
                        </a:lnTo>
                        <a:lnTo>
                          <a:pt x="30" y="4"/>
                        </a:lnTo>
                        <a:lnTo>
                          <a:pt x="40" y="5"/>
                        </a:lnTo>
                        <a:lnTo>
                          <a:pt x="42" y="4"/>
                        </a:lnTo>
                        <a:lnTo>
                          <a:pt x="40" y="5"/>
                        </a:lnTo>
                        <a:lnTo>
                          <a:pt x="40" y="11"/>
                        </a:lnTo>
                        <a:lnTo>
                          <a:pt x="37" y="15"/>
                        </a:lnTo>
                        <a:lnTo>
                          <a:pt x="36" y="24"/>
                        </a:lnTo>
                        <a:lnTo>
                          <a:pt x="36" y="30"/>
                        </a:lnTo>
                        <a:lnTo>
                          <a:pt x="40" y="32"/>
                        </a:lnTo>
                        <a:lnTo>
                          <a:pt x="44" y="36"/>
                        </a:lnTo>
                        <a:lnTo>
                          <a:pt x="47" y="36"/>
                        </a:lnTo>
                        <a:lnTo>
                          <a:pt x="50" y="36"/>
                        </a:lnTo>
                        <a:lnTo>
                          <a:pt x="59" y="48"/>
                        </a:lnTo>
                        <a:lnTo>
                          <a:pt x="65" y="62"/>
                        </a:lnTo>
                        <a:lnTo>
                          <a:pt x="70" y="77"/>
                        </a:lnTo>
                        <a:lnTo>
                          <a:pt x="71" y="82"/>
                        </a:lnTo>
                        <a:lnTo>
                          <a:pt x="73" y="87"/>
                        </a:lnTo>
                        <a:lnTo>
                          <a:pt x="74" y="93"/>
                        </a:lnTo>
                        <a:lnTo>
                          <a:pt x="77" y="100"/>
                        </a:lnTo>
                        <a:lnTo>
                          <a:pt x="77" y="113"/>
                        </a:lnTo>
                        <a:lnTo>
                          <a:pt x="77" y="149"/>
                        </a:lnTo>
                        <a:lnTo>
                          <a:pt x="74" y="166"/>
                        </a:lnTo>
                        <a:lnTo>
                          <a:pt x="74" y="172"/>
                        </a:lnTo>
                        <a:lnTo>
                          <a:pt x="77" y="181"/>
                        </a:lnTo>
                        <a:lnTo>
                          <a:pt x="80" y="18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1" name="Freeform 59"/>
                  <p:cNvSpPr>
                    <a:spLocks/>
                  </p:cNvSpPr>
                  <p:nvPr/>
                </p:nvSpPr>
                <p:spPr bwMode="auto">
                  <a:xfrm>
                    <a:off x="1269" y="2071"/>
                    <a:ext cx="91" cy="207"/>
                  </a:xfrm>
                  <a:custGeom>
                    <a:avLst/>
                    <a:gdLst>
                      <a:gd name="T0" fmla="*/ 7204 w 85"/>
                      <a:gd name="T1" fmla="*/ 4899 h 197"/>
                      <a:gd name="T2" fmla="*/ 7706 w 85"/>
                      <a:gd name="T3" fmla="*/ 4941 h 197"/>
                      <a:gd name="T4" fmla="*/ 6285 w 85"/>
                      <a:gd name="T5" fmla="*/ 5037 h 197"/>
                      <a:gd name="T6" fmla="*/ 5122 w 85"/>
                      <a:gd name="T7" fmla="*/ 5172 h 197"/>
                      <a:gd name="T8" fmla="*/ 4895 w 85"/>
                      <a:gd name="T9" fmla="*/ 5116 h 197"/>
                      <a:gd name="T10" fmla="*/ 3747 w 85"/>
                      <a:gd name="T11" fmla="*/ 4774 h 197"/>
                      <a:gd name="T12" fmla="*/ 3400 w 85"/>
                      <a:gd name="T13" fmla="*/ 4624 h 197"/>
                      <a:gd name="T14" fmla="*/ 3053 w 85"/>
                      <a:gd name="T15" fmla="*/ 4382 h 197"/>
                      <a:gd name="T16" fmla="*/ 2967 w 85"/>
                      <a:gd name="T17" fmla="*/ 4223 h 197"/>
                      <a:gd name="T18" fmla="*/ 2852 w 85"/>
                      <a:gd name="T19" fmla="*/ 3801 h 197"/>
                      <a:gd name="T20" fmla="*/ 2967 w 85"/>
                      <a:gd name="T21" fmla="*/ 3442 h 197"/>
                      <a:gd name="T22" fmla="*/ 2664 w 85"/>
                      <a:gd name="T23" fmla="*/ 2688 h 197"/>
                      <a:gd name="T24" fmla="*/ 2588 w 85"/>
                      <a:gd name="T25" fmla="*/ 2052 h 197"/>
                      <a:gd name="T26" fmla="*/ 2488 w 85"/>
                      <a:gd name="T27" fmla="*/ 1859 h 197"/>
                      <a:gd name="T28" fmla="*/ 2324 w 85"/>
                      <a:gd name="T29" fmla="*/ 1694 h 197"/>
                      <a:gd name="T30" fmla="*/ 2109 w 85"/>
                      <a:gd name="T31" fmla="*/ 1612 h 197"/>
                      <a:gd name="T32" fmla="*/ 2109 w 85"/>
                      <a:gd name="T33" fmla="*/ 1197 h 197"/>
                      <a:gd name="T34" fmla="*/ 1769 w 85"/>
                      <a:gd name="T35" fmla="*/ 935 h 197"/>
                      <a:gd name="T36" fmla="*/ 1543 w 85"/>
                      <a:gd name="T37" fmla="*/ 874 h 197"/>
                      <a:gd name="T38" fmla="*/ 1025 w 85"/>
                      <a:gd name="T39" fmla="*/ 695 h 197"/>
                      <a:gd name="T40" fmla="*/ 894 w 85"/>
                      <a:gd name="T41" fmla="*/ 542 h 197"/>
                      <a:gd name="T42" fmla="*/ 3 w 85"/>
                      <a:gd name="T43" fmla="*/ 467 h 197"/>
                      <a:gd name="T44" fmla="*/ 3 w 85"/>
                      <a:gd name="T45" fmla="*/ 384 h 197"/>
                      <a:gd name="T46" fmla="*/ 6 w 85"/>
                      <a:gd name="T47" fmla="*/ 299 h 197"/>
                      <a:gd name="T48" fmla="*/ 6 w 85"/>
                      <a:gd name="T49" fmla="*/ 7 h 197"/>
                      <a:gd name="T50" fmla="*/ 7 w 85"/>
                      <a:gd name="T51" fmla="*/ 4 h 197"/>
                      <a:gd name="T52" fmla="*/ 7 w 85"/>
                      <a:gd name="T53" fmla="*/ 2 h 197"/>
                      <a:gd name="T54" fmla="*/ 1 w 85"/>
                      <a:gd name="T55" fmla="*/ 2 h 197"/>
                      <a:gd name="T56" fmla="*/ 0 w 85"/>
                      <a:gd name="T57" fmla="*/ 1 h 197"/>
                      <a:gd name="T58" fmla="*/ 0 w 85"/>
                      <a:gd name="T59" fmla="*/ 0 h 197"/>
                      <a:gd name="T60" fmla="*/ 1 w 85"/>
                      <a:gd name="T61" fmla="*/ 0 h 197"/>
                      <a:gd name="T62" fmla="*/ 2109 w 85"/>
                      <a:gd name="T63" fmla="*/ 4 h 197"/>
                      <a:gd name="T64" fmla="*/ 2417 w 85"/>
                      <a:gd name="T65" fmla="*/ 8 h 197"/>
                      <a:gd name="T66" fmla="*/ 2588 w 85"/>
                      <a:gd name="T67" fmla="*/ 7 h 197"/>
                      <a:gd name="T68" fmla="*/ 2664 w 85"/>
                      <a:gd name="T69" fmla="*/ 4 h 197"/>
                      <a:gd name="T70" fmla="*/ 3640 w 85"/>
                      <a:gd name="T71" fmla="*/ 5 h 197"/>
                      <a:gd name="T72" fmla="*/ 3747 w 85"/>
                      <a:gd name="T73" fmla="*/ 4 h 197"/>
                      <a:gd name="T74" fmla="*/ 3640 w 85"/>
                      <a:gd name="T75" fmla="*/ 5 h 197"/>
                      <a:gd name="T76" fmla="*/ 3640 w 85"/>
                      <a:gd name="T77" fmla="*/ 314 h 197"/>
                      <a:gd name="T78" fmla="*/ 3400 w 85"/>
                      <a:gd name="T79" fmla="*/ 384 h 197"/>
                      <a:gd name="T80" fmla="*/ 3269 w 85"/>
                      <a:gd name="T81" fmla="*/ 599 h 197"/>
                      <a:gd name="T82" fmla="*/ 3269 w 85"/>
                      <a:gd name="T83" fmla="*/ 806 h 197"/>
                      <a:gd name="T84" fmla="*/ 3640 w 85"/>
                      <a:gd name="T85" fmla="*/ 847 h 197"/>
                      <a:gd name="T86" fmla="*/ 3989 w 85"/>
                      <a:gd name="T87" fmla="*/ 935 h 197"/>
                      <a:gd name="T88" fmla="*/ 4271 w 85"/>
                      <a:gd name="T89" fmla="*/ 935 h 197"/>
                      <a:gd name="T90" fmla="*/ 4572 w 85"/>
                      <a:gd name="T91" fmla="*/ 935 h 197"/>
                      <a:gd name="T92" fmla="*/ 5268 w 85"/>
                      <a:gd name="T93" fmla="*/ 1258 h 197"/>
                      <a:gd name="T94" fmla="*/ 5871 w 85"/>
                      <a:gd name="T95" fmla="*/ 1612 h 197"/>
                      <a:gd name="T96" fmla="*/ 6285 w 85"/>
                      <a:gd name="T97" fmla="*/ 2027 h 197"/>
                      <a:gd name="T98" fmla="*/ 6431 w 85"/>
                      <a:gd name="T99" fmla="*/ 2156 h 197"/>
                      <a:gd name="T100" fmla="*/ 6594 w 85"/>
                      <a:gd name="T101" fmla="*/ 2280 h 197"/>
                      <a:gd name="T102" fmla="*/ 6723 w 85"/>
                      <a:gd name="T103" fmla="*/ 2434 h 197"/>
                      <a:gd name="T104" fmla="*/ 6920 w 85"/>
                      <a:gd name="T105" fmla="*/ 2628 h 197"/>
                      <a:gd name="T106" fmla="*/ 6920 w 85"/>
                      <a:gd name="T107" fmla="*/ 2967 h 197"/>
                      <a:gd name="T108" fmla="*/ 6920 w 85"/>
                      <a:gd name="T109" fmla="*/ 3916 h 197"/>
                      <a:gd name="T110" fmla="*/ 6723 w 85"/>
                      <a:gd name="T111" fmla="*/ 4342 h 197"/>
                      <a:gd name="T112" fmla="*/ 6723 w 85"/>
                      <a:gd name="T113" fmla="*/ 4531 h 197"/>
                      <a:gd name="T114" fmla="*/ 6920 w 85"/>
                      <a:gd name="T115" fmla="*/ 4761 h 197"/>
                      <a:gd name="T116" fmla="*/ 7204 w 85"/>
                      <a:gd name="T117" fmla="*/ 4899 h 197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85"/>
                      <a:gd name="T178" fmla="*/ 0 h 197"/>
                      <a:gd name="T179" fmla="*/ 85 w 85"/>
                      <a:gd name="T180" fmla="*/ 197 h 197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85" h="197">
                        <a:moveTo>
                          <a:pt x="80" y="187"/>
                        </a:moveTo>
                        <a:lnTo>
                          <a:pt x="85" y="188"/>
                        </a:lnTo>
                        <a:lnTo>
                          <a:pt x="70" y="192"/>
                        </a:lnTo>
                        <a:lnTo>
                          <a:pt x="57" y="197"/>
                        </a:lnTo>
                        <a:lnTo>
                          <a:pt x="54" y="195"/>
                        </a:lnTo>
                        <a:lnTo>
                          <a:pt x="42" y="182"/>
                        </a:lnTo>
                        <a:lnTo>
                          <a:pt x="37" y="176"/>
                        </a:lnTo>
                        <a:lnTo>
                          <a:pt x="34" y="167"/>
                        </a:lnTo>
                        <a:lnTo>
                          <a:pt x="33" y="161"/>
                        </a:lnTo>
                        <a:lnTo>
                          <a:pt x="32" y="145"/>
                        </a:lnTo>
                        <a:lnTo>
                          <a:pt x="33" y="131"/>
                        </a:lnTo>
                        <a:lnTo>
                          <a:pt x="30" y="103"/>
                        </a:lnTo>
                        <a:lnTo>
                          <a:pt x="29" y="78"/>
                        </a:lnTo>
                        <a:lnTo>
                          <a:pt x="28" y="70"/>
                        </a:lnTo>
                        <a:lnTo>
                          <a:pt x="26" y="65"/>
                        </a:lnTo>
                        <a:lnTo>
                          <a:pt x="23" y="62"/>
                        </a:lnTo>
                        <a:lnTo>
                          <a:pt x="23" y="46"/>
                        </a:lnTo>
                        <a:lnTo>
                          <a:pt x="20" y="36"/>
                        </a:lnTo>
                        <a:lnTo>
                          <a:pt x="18" y="33"/>
                        </a:lnTo>
                        <a:lnTo>
                          <a:pt x="12" y="27"/>
                        </a:lnTo>
                        <a:lnTo>
                          <a:pt x="10" y="22"/>
                        </a:lnTo>
                        <a:lnTo>
                          <a:pt x="3" y="19"/>
                        </a:lnTo>
                        <a:lnTo>
                          <a:pt x="3" y="15"/>
                        </a:lnTo>
                        <a:lnTo>
                          <a:pt x="6" y="10"/>
                        </a:lnTo>
                        <a:lnTo>
                          <a:pt x="6" y="7"/>
                        </a:lnTo>
                        <a:lnTo>
                          <a:pt x="7" y="4"/>
                        </a:lnTo>
                        <a:lnTo>
                          <a:pt x="7" y="2"/>
                        </a:lnTo>
                        <a:lnTo>
                          <a:pt x="1" y="2"/>
                        </a:lnTo>
                        <a:lnTo>
                          <a:pt x="0" y="1"/>
                        </a:lnTo>
                        <a:lnTo>
                          <a:pt x="0" y="0"/>
                        </a:lnTo>
                        <a:lnTo>
                          <a:pt x="1" y="0"/>
                        </a:lnTo>
                        <a:lnTo>
                          <a:pt x="23" y="4"/>
                        </a:lnTo>
                        <a:lnTo>
                          <a:pt x="27" y="8"/>
                        </a:lnTo>
                        <a:lnTo>
                          <a:pt x="29" y="7"/>
                        </a:lnTo>
                        <a:lnTo>
                          <a:pt x="30" y="4"/>
                        </a:lnTo>
                        <a:lnTo>
                          <a:pt x="40" y="5"/>
                        </a:lnTo>
                        <a:lnTo>
                          <a:pt x="42" y="4"/>
                        </a:lnTo>
                        <a:lnTo>
                          <a:pt x="40" y="5"/>
                        </a:lnTo>
                        <a:lnTo>
                          <a:pt x="40" y="11"/>
                        </a:lnTo>
                        <a:lnTo>
                          <a:pt x="37" y="15"/>
                        </a:lnTo>
                        <a:lnTo>
                          <a:pt x="36" y="24"/>
                        </a:lnTo>
                        <a:lnTo>
                          <a:pt x="36" y="30"/>
                        </a:lnTo>
                        <a:lnTo>
                          <a:pt x="40" y="32"/>
                        </a:lnTo>
                        <a:lnTo>
                          <a:pt x="44" y="36"/>
                        </a:lnTo>
                        <a:lnTo>
                          <a:pt x="47" y="36"/>
                        </a:lnTo>
                        <a:lnTo>
                          <a:pt x="50" y="36"/>
                        </a:lnTo>
                        <a:lnTo>
                          <a:pt x="59" y="48"/>
                        </a:lnTo>
                        <a:lnTo>
                          <a:pt x="65" y="62"/>
                        </a:lnTo>
                        <a:lnTo>
                          <a:pt x="70" y="77"/>
                        </a:lnTo>
                        <a:lnTo>
                          <a:pt x="71" y="82"/>
                        </a:lnTo>
                        <a:lnTo>
                          <a:pt x="73" y="87"/>
                        </a:lnTo>
                        <a:lnTo>
                          <a:pt x="74" y="93"/>
                        </a:lnTo>
                        <a:lnTo>
                          <a:pt x="77" y="100"/>
                        </a:lnTo>
                        <a:lnTo>
                          <a:pt x="77" y="113"/>
                        </a:lnTo>
                        <a:lnTo>
                          <a:pt x="77" y="149"/>
                        </a:lnTo>
                        <a:lnTo>
                          <a:pt x="74" y="166"/>
                        </a:lnTo>
                        <a:lnTo>
                          <a:pt x="74" y="172"/>
                        </a:lnTo>
                        <a:lnTo>
                          <a:pt x="77" y="181"/>
                        </a:lnTo>
                        <a:lnTo>
                          <a:pt x="80" y="187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2" name="Freeform 60"/>
                  <p:cNvSpPr>
                    <a:spLocks/>
                  </p:cNvSpPr>
                  <p:nvPr/>
                </p:nvSpPr>
                <p:spPr bwMode="auto">
                  <a:xfrm>
                    <a:off x="1390" y="1962"/>
                    <a:ext cx="483" cy="389"/>
                  </a:xfrm>
                  <a:custGeom>
                    <a:avLst/>
                    <a:gdLst>
                      <a:gd name="T0" fmla="*/ 17479 w 452"/>
                      <a:gd name="T1" fmla="*/ 9565 h 370"/>
                      <a:gd name="T2" fmla="*/ 16694 w 452"/>
                      <a:gd name="T3" fmla="*/ 9565 h 370"/>
                      <a:gd name="T4" fmla="*/ 14878 w 452"/>
                      <a:gd name="T5" fmla="*/ 9761 h 370"/>
                      <a:gd name="T6" fmla="*/ 13190 w 452"/>
                      <a:gd name="T7" fmla="*/ 9723 h 370"/>
                      <a:gd name="T8" fmla="*/ 12526 w 452"/>
                      <a:gd name="T9" fmla="*/ 9959 h 370"/>
                      <a:gd name="T10" fmla="*/ 11741 w 452"/>
                      <a:gd name="T11" fmla="*/ 9965 h 370"/>
                      <a:gd name="T12" fmla="*/ 10678 w 452"/>
                      <a:gd name="T13" fmla="*/ 9959 h 370"/>
                      <a:gd name="T14" fmla="*/ 9352 w 452"/>
                      <a:gd name="T15" fmla="*/ 9925 h 370"/>
                      <a:gd name="T16" fmla="*/ 8316 w 452"/>
                      <a:gd name="T17" fmla="*/ 9098 h 370"/>
                      <a:gd name="T18" fmla="*/ 8316 w 452"/>
                      <a:gd name="T19" fmla="*/ 8831 h 370"/>
                      <a:gd name="T20" fmla="*/ 7293 w 452"/>
                      <a:gd name="T21" fmla="*/ 8575 h 370"/>
                      <a:gd name="T22" fmla="*/ 6825 w 452"/>
                      <a:gd name="T23" fmla="*/ 8334 h 370"/>
                      <a:gd name="T24" fmla="*/ 4817 w 452"/>
                      <a:gd name="T25" fmla="*/ 7836 h 370"/>
                      <a:gd name="T26" fmla="*/ 0 w 452"/>
                      <a:gd name="T27" fmla="*/ 7827 h 370"/>
                      <a:gd name="T28" fmla="*/ 3 w 452"/>
                      <a:gd name="T29" fmla="*/ 6494 h 370"/>
                      <a:gd name="T30" fmla="*/ 7 w 452"/>
                      <a:gd name="T31" fmla="*/ 5353 h 370"/>
                      <a:gd name="T32" fmla="*/ 1297 w 452"/>
                      <a:gd name="T33" fmla="*/ 4472 h 370"/>
                      <a:gd name="T34" fmla="*/ 2652 w 452"/>
                      <a:gd name="T35" fmla="*/ 3963 h 370"/>
                      <a:gd name="T36" fmla="*/ 2878 w 452"/>
                      <a:gd name="T37" fmla="*/ 3848 h 370"/>
                      <a:gd name="T38" fmla="*/ 2693 w 452"/>
                      <a:gd name="T39" fmla="*/ 3570 h 370"/>
                      <a:gd name="T40" fmla="*/ 3236 w 452"/>
                      <a:gd name="T41" fmla="*/ 3514 h 370"/>
                      <a:gd name="T42" fmla="*/ 3028 w 452"/>
                      <a:gd name="T43" fmla="*/ 2791 h 370"/>
                      <a:gd name="T44" fmla="*/ 2358 w 452"/>
                      <a:gd name="T45" fmla="*/ 2332 h 370"/>
                      <a:gd name="T46" fmla="*/ 2652 w 452"/>
                      <a:gd name="T47" fmla="*/ 1568 h 370"/>
                      <a:gd name="T48" fmla="*/ 3075 w 452"/>
                      <a:gd name="T49" fmla="*/ 1228 h 370"/>
                      <a:gd name="T50" fmla="*/ 4055 w 452"/>
                      <a:gd name="T51" fmla="*/ 823 h 370"/>
                      <a:gd name="T52" fmla="*/ 5287 w 452"/>
                      <a:gd name="T53" fmla="*/ 6 h 370"/>
                      <a:gd name="T54" fmla="*/ 7787 w 452"/>
                      <a:gd name="T55" fmla="*/ 3 h 370"/>
                      <a:gd name="T56" fmla="*/ 11022 w 452"/>
                      <a:gd name="T57" fmla="*/ 370 h 370"/>
                      <a:gd name="T58" fmla="*/ 13029 w 452"/>
                      <a:gd name="T59" fmla="*/ 903 h 370"/>
                      <a:gd name="T60" fmla="*/ 14878 w 452"/>
                      <a:gd name="T61" fmla="*/ 499 h 370"/>
                      <a:gd name="T62" fmla="*/ 16988 w 452"/>
                      <a:gd name="T63" fmla="*/ 641 h 370"/>
                      <a:gd name="T64" fmla="*/ 20298 w 452"/>
                      <a:gd name="T65" fmla="*/ 1103 h 370"/>
                      <a:gd name="T66" fmla="*/ 22755 w 452"/>
                      <a:gd name="T67" fmla="*/ 552 h 370"/>
                      <a:gd name="T68" fmla="*/ 25721 w 452"/>
                      <a:gd name="T69" fmla="*/ 499 h 370"/>
                      <a:gd name="T70" fmla="*/ 27809 w 452"/>
                      <a:gd name="T71" fmla="*/ 430 h 370"/>
                      <a:gd name="T72" fmla="*/ 29219 w 452"/>
                      <a:gd name="T73" fmla="*/ 641 h 370"/>
                      <a:gd name="T74" fmla="*/ 30568 w 452"/>
                      <a:gd name="T75" fmla="*/ 389 h 370"/>
                      <a:gd name="T76" fmla="*/ 31337 w 452"/>
                      <a:gd name="T77" fmla="*/ 303 h 370"/>
                      <a:gd name="T78" fmla="*/ 32147 w 452"/>
                      <a:gd name="T79" fmla="*/ 3 h 370"/>
                      <a:gd name="T80" fmla="*/ 32664 w 452"/>
                      <a:gd name="T81" fmla="*/ 370 h 370"/>
                      <a:gd name="T82" fmla="*/ 33879 w 452"/>
                      <a:gd name="T83" fmla="*/ 823 h 370"/>
                      <a:gd name="T84" fmla="*/ 35032 w 452"/>
                      <a:gd name="T85" fmla="*/ 1418 h 370"/>
                      <a:gd name="T86" fmla="*/ 35836 w 452"/>
                      <a:gd name="T87" fmla="*/ 1563 h 370"/>
                      <a:gd name="T88" fmla="*/ 35942 w 452"/>
                      <a:gd name="T89" fmla="*/ 2227 h 370"/>
                      <a:gd name="T90" fmla="*/ 33879 w 452"/>
                      <a:gd name="T91" fmla="*/ 2603 h 370"/>
                      <a:gd name="T92" fmla="*/ 32863 w 452"/>
                      <a:gd name="T93" fmla="*/ 2995 h 370"/>
                      <a:gd name="T94" fmla="*/ 31754 w 452"/>
                      <a:gd name="T95" fmla="*/ 3884 h 370"/>
                      <a:gd name="T96" fmla="*/ 31246 w 452"/>
                      <a:gd name="T97" fmla="*/ 4843 h 370"/>
                      <a:gd name="T98" fmla="*/ 30855 w 452"/>
                      <a:gd name="T99" fmla="*/ 5250 h 370"/>
                      <a:gd name="T100" fmla="*/ 29219 w 452"/>
                      <a:gd name="T101" fmla="*/ 5917 h 370"/>
                      <a:gd name="T102" fmla="*/ 28042 w 452"/>
                      <a:gd name="T103" fmla="*/ 6743 h 370"/>
                      <a:gd name="T104" fmla="*/ 26774 w 452"/>
                      <a:gd name="T105" fmla="*/ 7691 h 370"/>
                      <a:gd name="T106" fmla="*/ 25056 w 452"/>
                      <a:gd name="T107" fmla="*/ 7547 h 370"/>
                      <a:gd name="T108" fmla="*/ 24768 w 452"/>
                      <a:gd name="T109" fmla="*/ 7445 h 370"/>
                      <a:gd name="T110" fmla="*/ 21943 w 452"/>
                      <a:gd name="T111" fmla="*/ 7332 h 370"/>
                      <a:gd name="T112" fmla="*/ 20728 w 452"/>
                      <a:gd name="T113" fmla="*/ 7600 h 370"/>
                      <a:gd name="T114" fmla="*/ 19395 w 452"/>
                      <a:gd name="T115" fmla="*/ 8105 h 370"/>
                      <a:gd name="T116" fmla="*/ 18460 w 452"/>
                      <a:gd name="T117" fmla="*/ 8979 h 37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452"/>
                      <a:gd name="T178" fmla="*/ 0 h 370"/>
                      <a:gd name="T179" fmla="*/ 452 w 452"/>
                      <a:gd name="T180" fmla="*/ 370 h 37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452" h="370">
                        <a:moveTo>
                          <a:pt x="225" y="341"/>
                        </a:moveTo>
                        <a:lnTo>
                          <a:pt x="220" y="345"/>
                        </a:lnTo>
                        <a:lnTo>
                          <a:pt x="220" y="352"/>
                        </a:lnTo>
                        <a:lnTo>
                          <a:pt x="216" y="347"/>
                        </a:lnTo>
                        <a:lnTo>
                          <a:pt x="213" y="345"/>
                        </a:lnTo>
                        <a:lnTo>
                          <a:pt x="211" y="352"/>
                        </a:lnTo>
                        <a:lnTo>
                          <a:pt x="210" y="360"/>
                        </a:lnTo>
                        <a:lnTo>
                          <a:pt x="194" y="359"/>
                        </a:lnTo>
                        <a:lnTo>
                          <a:pt x="186" y="360"/>
                        </a:lnTo>
                        <a:lnTo>
                          <a:pt x="170" y="353"/>
                        </a:lnTo>
                        <a:lnTo>
                          <a:pt x="167" y="358"/>
                        </a:lnTo>
                        <a:lnTo>
                          <a:pt x="164" y="359"/>
                        </a:lnTo>
                        <a:lnTo>
                          <a:pt x="162" y="363"/>
                        </a:lnTo>
                        <a:lnTo>
                          <a:pt x="158" y="364"/>
                        </a:lnTo>
                        <a:lnTo>
                          <a:pt x="157" y="364"/>
                        </a:lnTo>
                        <a:lnTo>
                          <a:pt x="155" y="366"/>
                        </a:lnTo>
                        <a:lnTo>
                          <a:pt x="151" y="364"/>
                        </a:lnTo>
                        <a:lnTo>
                          <a:pt x="148" y="365"/>
                        </a:lnTo>
                        <a:lnTo>
                          <a:pt x="147" y="364"/>
                        </a:lnTo>
                        <a:lnTo>
                          <a:pt x="134" y="370"/>
                        </a:lnTo>
                        <a:lnTo>
                          <a:pt x="134" y="364"/>
                        </a:lnTo>
                        <a:lnTo>
                          <a:pt x="127" y="364"/>
                        </a:lnTo>
                        <a:lnTo>
                          <a:pt x="126" y="365"/>
                        </a:lnTo>
                        <a:lnTo>
                          <a:pt x="117" y="363"/>
                        </a:lnTo>
                        <a:lnTo>
                          <a:pt x="114" y="357"/>
                        </a:lnTo>
                        <a:lnTo>
                          <a:pt x="106" y="348"/>
                        </a:lnTo>
                        <a:lnTo>
                          <a:pt x="103" y="335"/>
                        </a:lnTo>
                        <a:lnTo>
                          <a:pt x="101" y="327"/>
                        </a:lnTo>
                        <a:lnTo>
                          <a:pt x="106" y="325"/>
                        </a:lnTo>
                        <a:lnTo>
                          <a:pt x="103" y="325"/>
                        </a:lnTo>
                        <a:lnTo>
                          <a:pt x="98" y="322"/>
                        </a:lnTo>
                        <a:lnTo>
                          <a:pt x="96" y="316"/>
                        </a:lnTo>
                        <a:lnTo>
                          <a:pt x="92" y="314"/>
                        </a:lnTo>
                        <a:lnTo>
                          <a:pt x="91" y="309"/>
                        </a:lnTo>
                        <a:lnTo>
                          <a:pt x="89" y="309"/>
                        </a:lnTo>
                        <a:lnTo>
                          <a:pt x="86" y="306"/>
                        </a:lnTo>
                        <a:lnTo>
                          <a:pt x="82" y="297"/>
                        </a:lnTo>
                        <a:lnTo>
                          <a:pt x="66" y="290"/>
                        </a:lnTo>
                        <a:lnTo>
                          <a:pt x="60" y="289"/>
                        </a:lnTo>
                        <a:lnTo>
                          <a:pt x="44" y="286"/>
                        </a:lnTo>
                        <a:lnTo>
                          <a:pt x="3" y="290"/>
                        </a:lnTo>
                        <a:lnTo>
                          <a:pt x="0" y="287"/>
                        </a:lnTo>
                        <a:lnTo>
                          <a:pt x="0" y="259"/>
                        </a:lnTo>
                        <a:lnTo>
                          <a:pt x="0" y="254"/>
                        </a:lnTo>
                        <a:lnTo>
                          <a:pt x="3" y="239"/>
                        </a:lnTo>
                        <a:lnTo>
                          <a:pt x="3" y="218"/>
                        </a:lnTo>
                        <a:lnTo>
                          <a:pt x="3" y="204"/>
                        </a:lnTo>
                        <a:lnTo>
                          <a:pt x="7" y="197"/>
                        </a:lnTo>
                        <a:lnTo>
                          <a:pt x="14" y="182"/>
                        </a:lnTo>
                        <a:lnTo>
                          <a:pt x="15" y="172"/>
                        </a:lnTo>
                        <a:lnTo>
                          <a:pt x="17" y="164"/>
                        </a:lnTo>
                        <a:lnTo>
                          <a:pt x="23" y="157"/>
                        </a:lnTo>
                        <a:lnTo>
                          <a:pt x="33" y="150"/>
                        </a:lnTo>
                        <a:lnTo>
                          <a:pt x="33" y="146"/>
                        </a:lnTo>
                        <a:lnTo>
                          <a:pt x="36" y="145"/>
                        </a:lnTo>
                        <a:lnTo>
                          <a:pt x="36" y="144"/>
                        </a:lnTo>
                        <a:lnTo>
                          <a:pt x="36" y="141"/>
                        </a:lnTo>
                        <a:lnTo>
                          <a:pt x="33" y="138"/>
                        </a:lnTo>
                        <a:lnTo>
                          <a:pt x="33" y="136"/>
                        </a:lnTo>
                        <a:lnTo>
                          <a:pt x="34" y="131"/>
                        </a:lnTo>
                        <a:lnTo>
                          <a:pt x="37" y="129"/>
                        </a:lnTo>
                        <a:lnTo>
                          <a:pt x="39" y="129"/>
                        </a:lnTo>
                        <a:lnTo>
                          <a:pt x="40" y="129"/>
                        </a:lnTo>
                        <a:lnTo>
                          <a:pt x="40" y="116"/>
                        </a:lnTo>
                        <a:lnTo>
                          <a:pt x="38" y="106"/>
                        </a:lnTo>
                        <a:lnTo>
                          <a:pt x="37" y="103"/>
                        </a:lnTo>
                        <a:lnTo>
                          <a:pt x="30" y="96"/>
                        </a:lnTo>
                        <a:lnTo>
                          <a:pt x="29" y="93"/>
                        </a:lnTo>
                        <a:lnTo>
                          <a:pt x="30" y="85"/>
                        </a:lnTo>
                        <a:lnTo>
                          <a:pt x="33" y="82"/>
                        </a:lnTo>
                        <a:lnTo>
                          <a:pt x="33" y="75"/>
                        </a:lnTo>
                        <a:lnTo>
                          <a:pt x="33" y="58"/>
                        </a:lnTo>
                        <a:lnTo>
                          <a:pt x="33" y="52"/>
                        </a:lnTo>
                        <a:lnTo>
                          <a:pt x="34" y="49"/>
                        </a:lnTo>
                        <a:lnTo>
                          <a:pt x="38" y="46"/>
                        </a:lnTo>
                        <a:lnTo>
                          <a:pt x="43" y="44"/>
                        </a:lnTo>
                        <a:lnTo>
                          <a:pt x="46" y="39"/>
                        </a:lnTo>
                        <a:lnTo>
                          <a:pt x="51" y="30"/>
                        </a:lnTo>
                        <a:lnTo>
                          <a:pt x="53" y="17"/>
                        </a:lnTo>
                        <a:lnTo>
                          <a:pt x="55" y="15"/>
                        </a:lnTo>
                        <a:lnTo>
                          <a:pt x="66" y="6"/>
                        </a:lnTo>
                        <a:lnTo>
                          <a:pt x="81" y="3"/>
                        </a:lnTo>
                        <a:lnTo>
                          <a:pt x="92" y="4"/>
                        </a:lnTo>
                        <a:lnTo>
                          <a:pt x="97" y="3"/>
                        </a:lnTo>
                        <a:lnTo>
                          <a:pt x="103" y="0"/>
                        </a:lnTo>
                        <a:lnTo>
                          <a:pt x="113" y="0"/>
                        </a:lnTo>
                        <a:lnTo>
                          <a:pt x="139" y="14"/>
                        </a:lnTo>
                        <a:lnTo>
                          <a:pt x="155" y="27"/>
                        </a:lnTo>
                        <a:lnTo>
                          <a:pt x="160" y="30"/>
                        </a:lnTo>
                        <a:lnTo>
                          <a:pt x="163" y="33"/>
                        </a:lnTo>
                        <a:lnTo>
                          <a:pt x="168" y="33"/>
                        </a:lnTo>
                        <a:lnTo>
                          <a:pt x="175" y="26"/>
                        </a:lnTo>
                        <a:lnTo>
                          <a:pt x="186" y="20"/>
                        </a:lnTo>
                        <a:lnTo>
                          <a:pt x="192" y="19"/>
                        </a:lnTo>
                        <a:lnTo>
                          <a:pt x="201" y="19"/>
                        </a:lnTo>
                        <a:lnTo>
                          <a:pt x="213" y="25"/>
                        </a:lnTo>
                        <a:lnTo>
                          <a:pt x="230" y="35"/>
                        </a:lnTo>
                        <a:lnTo>
                          <a:pt x="237" y="37"/>
                        </a:lnTo>
                        <a:lnTo>
                          <a:pt x="254" y="41"/>
                        </a:lnTo>
                        <a:lnTo>
                          <a:pt x="263" y="39"/>
                        </a:lnTo>
                        <a:lnTo>
                          <a:pt x="275" y="32"/>
                        </a:lnTo>
                        <a:lnTo>
                          <a:pt x="285" y="22"/>
                        </a:lnTo>
                        <a:lnTo>
                          <a:pt x="291" y="20"/>
                        </a:lnTo>
                        <a:lnTo>
                          <a:pt x="310" y="19"/>
                        </a:lnTo>
                        <a:lnTo>
                          <a:pt x="323" y="20"/>
                        </a:lnTo>
                        <a:lnTo>
                          <a:pt x="330" y="17"/>
                        </a:lnTo>
                        <a:lnTo>
                          <a:pt x="344" y="16"/>
                        </a:lnTo>
                        <a:lnTo>
                          <a:pt x="349" y="17"/>
                        </a:lnTo>
                        <a:lnTo>
                          <a:pt x="354" y="20"/>
                        </a:lnTo>
                        <a:lnTo>
                          <a:pt x="361" y="22"/>
                        </a:lnTo>
                        <a:lnTo>
                          <a:pt x="364" y="25"/>
                        </a:lnTo>
                        <a:lnTo>
                          <a:pt x="371" y="24"/>
                        </a:lnTo>
                        <a:lnTo>
                          <a:pt x="377" y="22"/>
                        </a:lnTo>
                        <a:lnTo>
                          <a:pt x="383" y="15"/>
                        </a:lnTo>
                        <a:lnTo>
                          <a:pt x="383" y="14"/>
                        </a:lnTo>
                        <a:lnTo>
                          <a:pt x="388" y="11"/>
                        </a:lnTo>
                        <a:lnTo>
                          <a:pt x="392" y="10"/>
                        </a:lnTo>
                        <a:lnTo>
                          <a:pt x="397" y="10"/>
                        </a:lnTo>
                        <a:lnTo>
                          <a:pt x="402" y="3"/>
                        </a:lnTo>
                        <a:lnTo>
                          <a:pt x="403" y="3"/>
                        </a:lnTo>
                        <a:lnTo>
                          <a:pt x="403" y="0"/>
                        </a:lnTo>
                        <a:lnTo>
                          <a:pt x="406" y="8"/>
                        </a:lnTo>
                        <a:lnTo>
                          <a:pt x="409" y="14"/>
                        </a:lnTo>
                        <a:lnTo>
                          <a:pt x="414" y="20"/>
                        </a:lnTo>
                        <a:lnTo>
                          <a:pt x="422" y="24"/>
                        </a:lnTo>
                        <a:lnTo>
                          <a:pt x="425" y="30"/>
                        </a:lnTo>
                        <a:lnTo>
                          <a:pt x="431" y="46"/>
                        </a:lnTo>
                        <a:lnTo>
                          <a:pt x="438" y="51"/>
                        </a:lnTo>
                        <a:lnTo>
                          <a:pt x="440" y="52"/>
                        </a:lnTo>
                        <a:lnTo>
                          <a:pt x="446" y="55"/>
                        </a:lnTo>
                        <a:lnTo>
                          <a:pt x="448" y="56"/>
                        </a:lnTo>
                        <a:lnTo>
                          <a:pt x="450" y="57"/>
                        </a:lnTo>
                        <a:lnTo>
                          <a:pt x="451" y="61"/>
                        </a:lnTo>
                        <a:lnTo>
                          <a:pt x="451" y="73"/>
                        </a:lnTo>
                        <a:lnTo>
                          <a:pt x="452" y="82"/>
                        </a:lnTo>
                        <a:lnTo>
                          <a:pt x="438" y="92"/>
                        </a:lnTo>
                        <a:lnTo>
                          <a:pt x="437" y="93"/>
                        </a:lnTo>
                        <a:lnTo>
                          <a:pt x="425" y="97"/>
                        </a:lnTo>
                        <a:lnTo>
                          <a:pt x="422" y="99"/>
                        </a:lnTo>
                        <a:lnTo>
                          <a:pt x="416" y="105"/>
                        </a:lnTo>
                        <a:lnTo>
                          <a:pt x="413" y="109"/>
                        </a:lnTo>
                        <a:lnTo>
                          <a:pt x="411" y="114"/>
                        </a:lnTo>
                        <a:lnTo>
                          <a:pt x="406" y="131"/>
                        </a:lnTo>
                        <a:lnTo>
                          <a:pt x="399" y="143"/>
                        </a:lnTo>
                        <a:lnTo>
                          <a:pt x="397" y="150"/>
                        </a:lnTo>
                        <a:lnTo>
                          <a:pt x="396" y="159"/>
                        </a:lnTo>
                        <a:lnTo>
                          <a:pt x="390" y="178"/>
                        </a:lnTo>
                        <a:lnTo>
                          <a:pt x="388" y="186"/>
                        </a:lnTo>
                        <a:lnTo>
                          <a:pt x="388" y="191"/>
                        </a:lnTo>
                        <a:lnTo>
                          <a:pt x="387" y="194"/>
                        </a:lnTo>
                        <a:lnTo>
                          <a:pt x="375" y="198"/>
                        </a:lnTo>
                        <a:lnTo>
                          <a:pt x="368" y="207"/>
                        </a:lnTo>
                        <a:lnTo>
                          <a:pt x="364" y="218"/>
                        </a:lnTo>
                        <a:lnTo>
                          <a:pt x="361" y="229"/>
                        </a:lnTo>
                        <a:lnTo>
                          <a:pt x="359" y="233"/>
                        </a:lnTo>
                        <a:lnTo>
                          <a:pt x="352" y="249"/>
                        </a:lnTo>
                        <a:lnTo>
                          <a:pt x="339" y="271"/>
                        </a:lnTo>
                        <a:lnTo>
                          <a:pt x="339" y="277"/>
                        </a:lnTo>
                        <a:lnTo>
                          <a:pt x="336" y="281"/>
                        </a:lnTo>
                        <a:lnTo>
                          <a:pt x="330" y="284"/>
                        </a:lnTo>
                        <a:lnTo>
                          <a:pt x="321" y="283"/>
                        </a:lnTo>
                        <a:lnTo>
                          <a:pt x="314" y="278"/>
                        </a:lnTo>
                        <a:lnTo>
                          <a:pt x="311" y="277"/>
                        </a:lnTo>
                        <a:lnTo>
                          <a:pt x="311" y="275"/>
                        </a:lnTo>
                        <a:lnTo>
                          <a:pt x="310" y="273"/>
                        </a:lnTo>
                        <a:lnTo>
                          <a:pt x="302" y="266"/>
                        </a:lnTo>
                        <a:lnTo>
                          <a:pt x="291" y="265"/>
                        </a:lnTo>
                        <a:lnTo>
                          <a:pt x="275" y="268"/>
                        </a:lnTo>
                        <a:lnTo>
                          <a:pt x="265" y="268"/>
                        </a:lnTo>
                        <a:lnTo>
                          <a:pt x="263" y="268"/>
                        </a:lnTo>
                        <a:lnTo>
                          <a:pt x="261" y="280"/>
                        </a:lnTo>
                        <a:lnTo>
                          <a:pt x="253" y="283"/>
                        </a:lnTo>
                        <a:lnTo>
                          <a:pt x="248" y="289"/>
                        </a:lnTo>
                        <a:lnTo>
                          <a:pt x="243" y="296"/>
                        </a:lnTo>
                        <a:lnTo>
                          <a:pt x="235" y="307"/>
                        </a:lnTo>
                        <a:lnTo>
                          <a:pt x="233" y="318"/>
                        </a:lnTo>
                        <a:lnTo>
                          <a:pt x="232" y="328"/>
                        </a:lnTo>
                        <a:lnTo>
                          <a:pt x="230" y="334"/>
                        </a:lnTo>
                        <a:lnTo>
                          <a:pt x="225" y="341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3" name="Freeform 61"/>
                  <p:cNvSpPr>
                    <a:spLocks/>
                  </p:cNvSpPr>
                  <p:nvPr/>
                </p:nvSpPr>
                <p:spPr bwMode="auto">
                  <a:xfrm>
                    <a:off x="1390" y="1962"/>
                    <a:ext cx="483" cy="389"/>
                  </a:xfrm>
                  <a:custGeom>
                    <a:avLst/>
                    <a:gdLst>
                      <a:gd name="T0" fmla="*/ 17479 w 452"/>
                      <a:gd name="T1" fmla="*/ 9565 h 370"/>
                      <a:gd name="T2" fmla="*/ 16694 w 452"/>
                      <a:gd name="T3" fmla="*/ 9565 h 370"/>
                      <a:gd name="T4" fmla="*/ 14878 w 452"/>
                      <a:gd name="T5" fmla="*/ 9761 h 370"/>
                      <a:gd name="T6" fmla="*/ 13190 w 452"/>
                      <a:gd name="T7" fmla="*/ 9723 h 370"/>
                      <a:gd name="T8" fmla="*/ 12526 w 452"/>
                      <a:gd name="T9" fmla="*/ 9959 h 370"/>
                      <a:gd name="T10" fmla="*/ 11741 w 452"/>
                      <a:gd name="T11" fmla="*/ 9965 h 370"/>
                      <a:gd name="T12" fmla="*/ 10678 w 452"/>
                      <a:gd name="T13" fmla="*/ 9959 h 370"/>
                      <a:gd name="T14" fmla="*/ 9352 w 452"/>
                      <a:gd name="T15" fmla="*/ 9925 h 370"/>
                      <a:gd name="T16" fmla="*/ 8316 w 452"/>
                      <a:gd name="T17" fmla="*/ 9098 h 370"/>
                      <a:gd name="T18" fmla="*/ 8316 w 452"/>
                      <a:gd name="T19" fmla="*/ 8831 h 370"/>
                      <a:gd name="T20" fmla="*/ 7293 w 452"/>
                      <a:gd name="T21" fmla="*/ 8575 h 370"/>
                      <a:gd name="T22" fmla="*/ 6825 w 452"/>
                      <a:gd name="T23" fmla="*/ 8334 h 370"/>
                      <a:gd name="T24" fmla="*/ 4817 w 452"/>
                      <a:gd name="T25" fmla="*/ 7836 h 370"/>
                      <a:gd name="T26" fmla="*/ 0 w 452"/>
                      <a:gd name="T27" fmla="*/ 7827 h 370"/>
                      <a:gd name="T28" fmla="*/ 3 w 452"/>
                      <a:gd name="T29" fmla="*/ 6494 h 370"/>
                      <a:gd name="T30" fmla="*/ 7 w 452"/>
                      <a:gd name="T31" fmla="*/ 5353 h 370"/>
                      <a:gd name="T32" fmla="*/ 1297 w 452"/>
                      <a:gd name="T33" fmla="*/ 4472 h 370"/>
                      <a:gd name="T34" fmla="*/ 2652 w 452"/>
                      <a:gd name="T35" fmla="*/ 3963 h 370"/>
                      <a:gd name="T36" fmla="*/ 2878 w 452"/>
                      <a:gd name="T37" fmla="*/ 3848 h 370"/>
                      <a:gd name="T38" fmla="*/ 2693 w 452"/>
                      <a:gd name="T39" fmla="*/ 3570 h 370"/>
                      <a:gd name="T40" fmla="*/ 3236 w 452"/>
                      <a:gd name="T41" fmla="*/ 3514 h 370"/>
                      <a:gd name="T42" fmla="*/ 3028 w 452"/>
                      <a:gd name="T43" fmla="*/ 2791 h 370"/>
                      <a:gd name="T44" fmla="*/ 2358 w 452"/>
                      <a:gd name="T45" fmla="*/ 2332 h 370"/>
                      <a:gd name="T46" fmla="*/ 2652 w 452"/>
                      <a:gd name="T47" fmla="*/ 1568 h 370"/>
                      <a:gd name="T48" fmla="*/ 3075 w 452"/>
                      <a:gd name="T49" fmla="*/ 1228 h 370"/>
                      <a:gd name="T50" fmla="*/ 4055 w 452"/>
                      <a:gd name="T51" fmla="*/ 823 h 370"/>
                      <a:gd name="T52" fmla="*/ 5287 w 452"/>
                      <a:gd name="T53" fmla="*/ 6 h 370"/>
                      <a:gd name="T54" fmla="*/ 7787 w 452"/>
                      <a:gd name="T55" fmla="*/ 3 h 370"/>
                      <a:gd name="T56" fmla="*/ 11022 w 452"/>
                      <a:gd name="T57" fmla="*/ 370 h 370"/>
                      <a:gd name="T58" fmla="*/ 13029 w 452"/>
                      <a:gd name="T59" fmla="*/ 903 h 370"/>
                      <a:gd name="T60" fmla="*/ 14878 w 452"/>
                      <a:gd name="T61" fmla="*/ 499 h 370"/>
                      <a:gd name="T62" fmla="*/ 16988 w 452"/>
                      <a:gd name="T63" fmla="*/ 641 h 370"/>
                      <a:gd name="T64" fmla="*/ 20298 w 452"/>
                      <a:gd name="T65" fmla="*/ 1103 h 370"/>
                      <a:gd name="T66" fmla="*/ 22755 w 452"/>
                      <a:gd name="T67" fmla="*/ 552 h 370"/>
                      <a:gd name="T68" fmla="*/ 25721 w 452"/>
                      <a:gd name="T69" fmla="*/ 499 h 370"/>
                      <a:gd name="T70" fmla="*/ 27809 w 452"/>
                      <a:gd name="T71" fmla="*/ 430 h 370"/>
                      <a:gd name="T72" fmla="*/ 29219 w 452"/>
                      <a:gd name="T73" fmla="*/ 641 h 370"/>
                      <a:gd name="T74" fmla="*/ 30568 w 452"/>
                      <a:gd name="T75" fmla="*/ 389 h 370"/>
                      <a:gd name="T76" fmla="*/ 31337 w 452"/>
                      <a:gd name="T77" fmla="*/ 303 h 370"/>
                      <a:gd name="T78" fmla="*/ 32147 w 452"/>
                      <a:gd name="T79" fmla="*/ 3 h 370"/>
                      <a:gd name="T80" fmla="*/ 32664 w 452"/>
                      <a:gd name="T81" fmla="*/ 370 h 370"/>
                      <a:gd name="T82" fmla="*/ 33879 w 452"/>
                      <a:gd name="T83" fmla="*/ 823 h 370"/>
                      <a:gd name="T84" fmla="*/ 35032 w 452"/>
                      <a:gd name="T85" fmla="*/ 1418 h 370"/>
                      <a:gd name="T86" fmla="*/ 35836 w 452"/>
                      <a:gd name="T87" fmla="*/ 1563 h 370"/>
                      <a:gd name="T88" fmla="*/ 35942 w 452"/>
                      <a:gd name="T89" fmla="*/ 2227 h 370"/>
                      <a:gd name="T90" fmla="*/ 33879 w 452"/>
                      <a:gd name="T91" fmla="*/ 2603 h 370"/>
                      <a:gd name="T92" fmla="*/ 32863 w 452"/>
                      <a:gd name="T93" fmla="*/ 2995 h 370"/>
                      <a:gd name="T94" fmla="*/ 31754 w 452"/>
                      <a:gd name="T95" fmla="*/ 3884 h 370"/>
                      <a:gd name="T96" fmla="*/ 31246 w 452"/>
                      <a:gd name="T97" fmla="*/ 4843 h 370"/>
                      <a:gd name="T98" fmla="*/ 30855 w 452"/>
                      <a:gd name="T99" fmla="*/ 5250 h 370"/>
                      <a:gd name="T100" fmla="*/ 29219 w 452"/>
                      <a:gd name="T101" fmla="*/ 5917 h 370"/>
                      <a:gd name="T102" fmla="*/ 28042 w 452"/>
                      <a:gd name="T103" fmla="*/ 6743 h 370"/>
                      <a:gd name="T104" fmla="*/ 26774 w 452"/>
                      <a:gd name="T105" fmla="*/ 7691 h 370"/>
                      <a:gd name="T106" fmla="*/ 25056 w 452"/>
                      <a:gd name="T107" fmla="*/ 7547 h 370"/>
                      <a:gd name="T108" fmla="*/ 24768 w 452"/>
                      <a:gd name="T109" fmla="*/ 7445 h 370"/>
                      <a:gd name="T110" fmla="*/ 21943 w 452"/>
                      <a:gd name="T111" fmla="*/ 7332 h 370"/>
                      <a:gd name="T112" fmla="*/ 20728 w 452"/>
                      <a:gd name="T113" fmla="*/ 7600 h 370"/>
                      <a:gd name="T114" fmla="*/ 19395 w 452"/>
                      <a:gd name="T115" fmla="*/ 8105 h 370"/>
                      <a:gd name="T116" fmla="*/ 18460 w 452"/>
                      <a:gd name="T117" fmla="*/ 8979 h 37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452"/>
                      <a:gd name="T178" fmla="*/ 0 h 370"/>
                      <a:gd name="T179" fmla="*/ 452 w 452"/>
                      <a:gd name="T180" fmla="*/ 370 h 37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452" h="370">
                        <a:moveTo>
                          <a:pt x="225" y="341"/>
                        </a:moveTo>
                        <a:lnTo>
                          <a:pt x="220" y="345"/>
                        </a:lnTo>
                        <a:lnTo>
                          <a:pt x="220" y="352"/>
                        </a:lnTo>
                        <a:lnTo>
                          <a:pt x="216" y="347"/>
                        </a:lnTo>
                        <a:lnTo>
                          <a:pt x="213" y="345"/>
                        </a:lnTo>
                        <a:lnTo>
                          <a:pt x="211" y="352"/>
                        </a:lnTo>
                        <a:lnTo>
                          <a:pt x="210" y="360"/>
                        </a:lnTo>
                        <a:lnTo>
                          <a:pt x="194" y="359"/>
                        </a:lnTo>
                        <a:lnTo>
                          <a:pt x="186" y="360"/>
                        </a:lnTo>
                        <a:lnTo>
                          <a:pt x="170" y="353"/>
                        </a:lnTo>
                        <a:lnTo>
                          <a:pt x="167" y="358"/>
                        </a:lnTo>
                        <a:lnTo>
                          <a:pt x="164" y="359"/>
                        </a:lnTo>
                        <a:lnTo>
                          <a:pt x="162" y="363"/>
                        </a:lnTo>
                        <a:lnTo>
                          <a:pt x="158" y="364"/>
                        </a:lnTo>
                        <a:lnTo>
                          <a:pt x="157" y="364"/>
                        </a:lnTo>
                        <a:lnTo>
                          <a:pt x="155" y="366"/>
                        </a:lnTo>
                        <a:lnTo>
                          <a:pt x="151" y="364"/>
                        </a:lnTo>
                        <a:lnTo>
                          <a:pt x="148" y="365"/>
                        </a:lnTo>
                        <a:lnTo>
                          <a:pt x="147" y="364"/>
                        </a:lnTo>
                        <a:lnTo>
                          <a:pt x="134" y="370"/>
                        </a:lnTo>
                        <a:lnTo>
                          <a:pt x="134" y="364"/>
                        </a:lnTo>
                        <a:lnTo>
                          <a:pt x="127" y="364"/>
                        </a:lnTo>
                        <a:lnTo>
                          <a:pt x="126" y="365"/>
                        </a:lnTo>
                        <a:lnTo>
                          <a:pt x="117" y="363"/>
                        </a:lnTo>
                        <a:lnTo>
                          <a:pt x="114" y="357"/>
                        </a:lnTo>
                        <a:lnTo>
                          <a:pt x="106" y="348"/>
                        </a:lnTo>
                        <a:lnTo>
                          <a:pt x="103" y="335"/>
                        </a:lnTo>
                        <a:lnTo>
                          <a:pt x="101" y="327"/>
                        </a:lnTo>
                        <a:lnTo>
                          <a:pt x="106" y="325"/>
                        </a:lnTo>
                        <a:lnTo>
                          <a:pt x="103" y="325"/>
                        </a:lnTo>
                        <a:lnTo>
                          <a:pt x="98" y="322"/>
                        </a:lnTo>
                        <a:lnTo>
                          <a:pt x="96" y="316"/>
                        </a:lnTo>
                        <a:lnTo>
                          <a:pt x="92" y="314"/>
                        </a:lnTo>
                        <a:lnTo>
                          <a:pt x="91" y="309"/>
                        </a:lnTo>
                        <a:lnTo>
                          <a:pt x="89" y="309"/>
                        </a:lnTo>
                        <a:lnTo>
                          <a:pt x="86" y="306"/>
                        </a:lnTo>
                        <a:lnTo>
                          <a:pt x="82" y="297"/>
                        </a:lnTo>
                        <a:lnTo>
                          <a:pt x="66" y="290"/>
                        </a:lnTo>
                        <a:lnTo>
                          <a:pt x="60" y="289"/>
                        </a:lnTo>
                        <a:lnTo>
                          <a:pt x="44" y="286"/>
                        </a:lnTo>
                        <a:lnTo>
                          <a:pt x="3" y="290"/>
                        </a:lnTo>
                        <a:lnTo>
                          <a:pt x="0" y="287"/>
                        </a:lnTo>
                        <a:lnTo>
                          <a:pt x="0" y="259"/>
                        </a:lnTo>
                        <a:lnTo>
                          <a:pt x="0" y="254"/>
                        </a:lnTo>
                        <a:lnTo>
                          <a:pt x="3" y="239"/>
                        </a:lnTo>
                        <a:lnTo>
                          <a:pt x="3" y="218"/>
                        </a:lnTo>
                        <a:lnTo>
                          <a:pt x="3" y="204"/>
                        </a:lnTo>
                        <a:lnTo>
                          <a:pt x="7" y="197"/>
                        </a:lnTo>
                        <a:lnTo>
                          <a:pt x="14" y="182"/>
                        </a:lnTo>
                        <a:lnTo>
                          <a:pt x="15" y="172"/>
                        </a:lnTo>
                        <a:lnTo>
                          <a:pt x="17" y="164"/>
                        </a:lnTo>
                        <a:lnTo>
                          <a:pt x="23" y="157"/>
                        </a:lnTo>
                        <a:lnTo>
                          <a:pt x="33" y="150"/>
                        </a:lnTo>
                        <a:lnTo>
                          <a:pt x="33" y="146"/>
                        </a:lnTo>
                        <a:lnTo>
                          <a:pt x="36" y="145"/>
                        </a:lnTo>
                        <a:lnTo>
                          <a:pt x="36" y="144"/>
                        </a:lnTo>
                        <a:lnTo>
                          <a:pt x="36" y="141"/>
                        </a:lnTo>
                        <a:lnTo>
                          <a:pt x="33" y="138"/>
                        </a:lnTo>
                        <a:lnTo>
                          <a:pt x="33" y="136"/>
                        </a:lnTo>
                        <a:lnTo>
                          <a:pt x="34" y="131"/>
                        </a:lnTo>
                        <a:lnTo>
                          <a:pt x="37" y="129"/>
                        </a:lnTo>
                        <a:lnTo>
                          <a:pt x="39" y="129"/>
                        </a:lnTo>
                        <a:lnTo>
                          <a:pt x="40" y="129"/>
                        </a:lnTo>
                        <a:lnTo>
                          <a:pt x="40" y="116"/>
                        </a:lnTo>
                        <a:lnTo>
                          <a:pt x="38" y="106"/>
                        </a:lnTo>
                        <a:lnTo>
                          <a:pt x="37" y="103"/>
                        </a:lnTo>
                        <a:lnTo>
                          <a:pt x="30" y="96"/>
                        </a:lnTo>
                        <a:lnTo>
                          <a:pt x="29" y="93"/>
                        </a:lnTo>
                        <a:lnTo>
                          <a:pt x="30" y="85"/>
                        </a:lnTo>
                        <a:lnTo>
                          <a:pt x="33" y="82"/>
                        </a:lnTo>
                        <a:lnTo>
                          <a:pt x="33" y="75"/>
                        </a:lnTo>
                        <a:lnTo>
                          <a:pt x="33" y="58"/>
                        </a:lnTo>
                        <a:lnTo>
                          <a:pt x="33" y="52"/>
                        </a:lnTo>
                        <a:lnTo>
                          <a:pt x="34" y="49"/>
                        </a:lnTo>
                        <a:lnTo>
                          <a:pt x="38" y="46"/>
                        </a:lnTo>
                        <a:lnTo>
                          <a:pt x="43" y="44"/>
                        </a:lnTo>
                        <a:lnTo>
                          <a:pt x="46" y="39"/>
                        </a:lnTo>
                        <a:lnTo>
                          <a:pt x="51" y="30"/>
                        </a:lnTo>
                        <a:lnTo>
                          <a:pt x="53" y="17"/>
                        </a:lnTo>
                        <a:lnTo>
                          <a:pt x="55" y="15"/>
                        </a:lnTo>
                        <a:lnTo>
                          <a:pt x="66" y="6"/>
                        </a:lnTo>
                        <a:lnTo>
                          <a:pt x="81" y="3"/>
                        </a:lnTo>
                        <a:lnTo>
                          <a:pt x="92" y="4"/>
                        </a:lnTo>
                        <a:lnTo>
                          <a:pt x="97" y="3"/>
                        </a:lnTo>
                        <a:lnTo>
                          <a:pt x="103" y="0"/>
                        </a:lnTo>
                        <a:lnTo>
                          <a:pt x="113" y="0"/>
                        </a:lnTo>
                        <a:lnTo>
                          <a:pt x="139" y="14"/>
                        </a:lnTo>
                        <a:lnTo>
                          <a:pt x="155" y="27"/>
                        </a:lnTo>
                        <a:lnTo>
                          <a:pt x="160" y="30"/>
                        </a:lnTo>
                        <a:lnTo>
                          <a:pt x="163" y="33"/>
                        </a:lnTo>
                        <a:lnTo>
                          <a:pt x="168" y="33"/>
                        </a:lnTo>
                        <a:lnTo>
                          <a:pt x="175" y="26"/>
                        </a:lnTo>
                        <a:lnTo>
                          <a:pt x="186" y="20"/>
                        </a:lnTo>
                        <a:lnTo>
                          <a:pt x="192" y="19"/>
                        </a:lnTo>
                        <a:lnTo>
                          <a:pt x="201" y="19"/>
                        </a:lnTo>
                        <a:lnTo>
                          <a:pt x="213" y="25"/>
                        </a:lnTo>
                        <a:lnTo>
                          <a:pt x="230" y="35"/>
                        </a:lnTo>
                        <a:lnTo>
                          <a:pt x="237" y="37"/>
                        </a:lnTo>
                        <a:lnTo>
                          <a:pt x="254" y="41"/>
                        </a:lnTo>
                        <a:lnTo>
                          <a:pt x="263" y="39"/>
                        </a:lnTo>
                        <a:lnTo>
                          <a:pt x="275" y="32"/>
                        </a:lnTo>
                        <a:lnTo>
                          <a:pt x="285" y="22"/>
                        </a:lnTo>
                        <a:lnTo>
                          <a:pt x="291" y="20"/>
                        </a:lnTo>
                        <a:lnTo>
                          <a:pt x="310" y="19"/>
                        </a:lnTo>
                        <a:lnTo>
                          <a:pt x="323" y="20"/>
                        </a:lnTo>
                        <a:lnTo>
                          <a:pt x="330" y="17"/>
                        </a:lnTo>
                        <a:lnTo>
                          <a:pt x="344" y="16"/>
                        </a:lnTo>
                        <a:lnTo>
                          <a:pt x="349" y="17"/>
                        </a:lnTo>
                        <a:lnTo>
                          <a:pt x="354" y="20"/>
                        </a:lnTo>
                        <a:lnTo>
                          <a:pt x="361" y="22"/>
                        </a:lnTo>
                        <a:lnTo>
                          <a:pt x="364" y="25"/>
                        </a:lnTo>
                        <a:lnTo>
                          <a:pt x="371" y="24"/>
                        </a:lnTo>
                        <a:lnTo>
                          <a:pt x="377" y="22"/>
                        </a:lnTo>
                        <a:lnTo>
                          <a:pt x="383" y="15"/>
                        </a:lnTo>
                        <a:lnTo>
                          <a:pt x="383" y="14"/>
                        </a:lnTo>
                        <a:lnTo>
                          <a:pt x="388" y="11"/>
                        </a:lnTo>
                        <a:lnTo>
                          <a:pt x="392" y="10"/>
                        </a:lnTo>
                        <a:lnTo>
                          <a:pt x="397" y="10"/>
                        </a:lnTo>
                        <a:lnTo>
                          <a:pt x="402" y="3"/>
                        </a:lnTo>
                        <a:lnTo>
                          <a:pt x="403" y="3"/>
                        </a:lnTo>
                        <a:lnTo>
                          <a:pt x="403" y="0"/>
                        </a:lnTo>
                        <a:lnTo>
                          <a:pt x="406" y="8"/>
                        </a:lnTo>
                        <a:lnTo>
                          <a:pt x="409" y="14"/>
                        </a:lnTo>
                        <a:lnTo>
                          <a:pt x="414" y="20"/>
                        </a:lnTo>
                        <a:lnTo>
                          <a:pt x="422" y="24"/>
                        </a:lnTo>
                        <a:lnTo>
                          <a:pt x="425" y="30"/>
                        </a:lnTo>
                        <a:lnTo>
                          <a:pt x="431" y="46"/>
                        </a:lnTo>
                        <a:lnTo>
                          <a:pt x="438" y="51"/>
                        </a:lnTo>
                        <a:lnTo>
                          <a:pt x="440" y="52"/>
                        </a:lnTo>
                        <a:lnTo>
                          <a:pt x="446" y="55"/>
                        </a:lnTo>
                        <a:lnTo>
                          <a:pt x="448" y="56"/>
                        </a:lnTo>
                        <a:lnTo>
                          <a:pt x="450" y="57"/>
                        </a:lnTo>
                        <a:lnTo>
                          <a:pt x="451" y="61"/>
                        </a:lnTo>
                        <a:lnTo>
                          <a:pt x="451" y="73"/>
                        </a:lnTo>
                        <a:lnTo>
                          <a:pt x="452" y="82"/>
                        </a:lnTo>
                        <a:lnTo>
                          <a:pt x="438" y="92"/>
                        </a:lnTo>
                        <a:lnTo>
                          <a:pt x="437" y="93"/>
                        </a:lnTo>
                        <a:lnTo>
                          <a:pt x="425" y="97"/>
                        </a:lnTo>
                        <a:lnTo>
                          <a:pt x="422" y="99"/>
                        </a:lnTo>
                        <a:lnTo>
                          <a:pt x="416" y="105"/>
                        </a:lnTo>
                        <a:lnTo>
                          <a:pt x="413" y="109"/>
                        </a:lnTo>
                        <a:lnTo>
                          <a:pt x="411" y="114"/>
                        </a:lnTo>
                        <a:lnTo>
                          <a:pt x="406" y="131"/>
                        </a:lnTo>
                        <a:lnTo>
                          <a:pt x="399" y="143"/>
                        </a:lnTo>
                        <a:lnTo>
                          <a:pt x="397" y="150"/>
                        </a:lnTo>
                        <a:lnTo>
                          <a:pt x="396" y="159"/>
                        </a:lnTo>
                        <a:lnTo>
                          <a:pt x="390" y="178"/>
                        </a:lnTo>
                        <a:lnTo>
                          <a:pt x="388" y="186"/>
                        </a:lnTo>
                        <a:lnTo>
                          <a:pt x="388" y="191"/>
                        </a:lnTo>
                        <a:lnTo>
                          <a:pt x="387" y="194"/>
                        </a:lnTo>
                        <a:lnTo>
                          <a:pt x="375" y="198"/>
                        </a:lnTo>
                        <a:lnTo>
                          <a:pt x="368" y="207"/>
                        </a:lnTo>
                        <a:lnTo>
                          <a:pt x="364" y="218"/>
                        </a:lnTo>
                        <a:lnTo>
                          <a:pt x="361" y="229"/>
                        </a:lnTo>
                        <a:lnTo>
                          <a:pt x="359" y="233"/>
                        </a:lnTo>
                        <a:lnTo>
                          <a:pt x="352" y="249"/>
                        </a:lnTo>
                        <a:lnTo>
                          <a:pt x="339" y="271"/>
                        </a:lnTo>
                        <a:lnTo>
                          <a:pt x="339" y="277"/>
                        </a:lnTo>
                        <a:lnTo>
                          <a:pt x="336" y="281"/>
                        </a:lnTo>
                        <a:lnTo>
                          <a:pt x="330" y="284"/>
                        </a:lnTo>
                        <a:lnTo>
                          <a:pt x="321" y="283"/>
                        </a:lnTo>
                        <a:lnTo>
                          <a:pt x="314" y="278"/>
                        </a:lnTo>
                        <a:lnTo>
                          <a:pt x="311" y="277"/>
                        </a:lnTo>
                        <a:lnTo>
                          <a:pt x="311" y="275"/>
                        </a:lnTo>
                        <a:lnTo>
                          <a:pt x="310" y="273"/>
                        </a:lnTo>
                        <a:lnTo>
                          <a:pt x="302" y="266"/>
                        </a:lnTo>
                        <a:lnTo>
                          <a:pt x="291" y="265"/>
                        </a:lnTo>
                        <a:lnTo>
                          <a:pt x="275" y="268"/>
                        </a:lnTo>
                        <a:lnTo>
                          <a:pt x="265" y="268"/>
                        </a:lnTo>
                        <a:lnTo>
                          <a:pt x="263" y="268"/>
                        </a:lnTo>
                        <a:lnTo>
                          <a:pt x="261" y="280"/>
                        </a:lnTo>
                        <a:lnTo>
                          <a:pt x="253" y="283"/>
                        </a:lnTo>
                        <a:lnTo>
                          <a:pt x="248" y="289"/>
                        </a:lnTo>
                        <a:lnTo>
                          <a:pt x="243" y="296"/>
                        </a:lnTo>
                        <a:lnTo>
                          <a:pt x="235" y="307"/>
                        </a:lnTo>
                        <a:lnTo>
                          <a:pt x="233" y="318"/>
                        </a:lnTo>
                        <a:lnTo>
                          <a:pt x="232" y="328"/>
                        </a:lnTo>
                        <a:lnTo>
                          <a:pt x="230" y="334"/>
                        </a:lnTo>
                        <a:lnTo>
                          <a:pt x="225" y="341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4" name="Freeform 62"/>
                  <p:cNvSpPr>
                    <a:spLocks/>
                  </p:cNvSpPr>
                  <p:nvPr/>
                </p:nvSpPr>
                <p:spPr bwMode="auto">
                  <a:xfrm>
                    <a:off x="1308" y="2021"/>
                    <a:ext cx="124" cy="248"/>
                  </a:xfrm>
                  <a:custGeom>
                    <a:avLst/>
                    <a:gdLst>
                      <a:gd name="T0" fmla="*/ 6171 w 116"/>
                      <a:gd name="T1" fmla="*/ 6094 h 236"/>
                      <a:gd name="T2" fmla="*/ 3780 w 116"/>
                      <a:gd name="T3" fmla="*/ 6254 h 236"/>
                      <a:gd name="T4" fmla="*/ 3306 w 116"/>
                      <a:gd name="T5" fmla="*/ 6047 h 236"/>
                      <a:gd name="T6" fmla="*/ 3093 w 116"/>
                      <a:gd name="T7" fmla="*/ 5663 h 236"/>
                      <a:gd name="T8" fmla="*/ 3306 w 116"/>
                      <a:gd name="T9" fmla="*/ 4274 h 236"/>
                      <a:gd name="T10" fmla="*/ 3093 w 116"/>
                      <a:gd name="T11" fmla="*/ 3734 h 236"/>
                      <a:gd name="T12" fmla="*/ 2708 w 116"/>
                      <a:gd name="T13" fmla="*/ 3446 h 236"/>
                      <a:gd name="T14" fmla="*/ 2217 w 116"/>
                      <a:gd name="T15" fmla="*/ 2920 h 236"/>
                      <a:gd name="T16" fmla="*/ 996 w 116"/>
                      <a:gd name="T17" fmla="*/ 2204 h 236"/>
                      <a:gd name="T18" fmla="*/ 7 w 116"/>
                      <a:gd name="T19" fmla="*/ 2204 h 236"/>
                      <a:gd name="T20" fmla="*/ 0 w 116"/>
                      <a:gd name="T21" fmla="*/ 2064 h 236"/>
                      <a:gd name="T22" fmla="*/ 0 w 116"/>
                      <a:gd name="T23" fmla="*/ 1693 h 236"/>
                      <a:gd name="T24" fmla="*/ 3 w 116"/>
                      <a:gd name="T25" fmla="*/ 1440 h 236"/>
                      <a:gd name="T26" fmla="*/ 7 w 116"/>
                      <a:gd name="T27" fmla="*/ 1334 h 236"/>
                      <a:gd name="T28" fmla="*/ 816 w 116"/>
                      <a:gd name="T29" fmla="*/ 1241 h 236"/>
                      <a:gd name="T30" fmla="*/ 1065 w 116"/>
                      <a:gd name="T31" fmla="*/ 1124 h 236"/>
                      <a:gd name="T32" fmla="*/ 1390 w 116"/>
                      <a:gd name="T33" fmla="*/ 1124 h 236"/>
                      <a:gd name="T34" fmla="*/ 2072 w 116"/>
                      <a:gd name="T35" fmla="*/ 877 h 236"/>
                      <a:gd name="T36" fmla="*/ 2895 w 116"/>
                      <a:gd name="T37" fmla="*/ 943 h 236"/>
                      <a:gd name="T38" fmla="*/ 3778 w 116"/>
                      <a:gd name="T39" fmla="*/ 943 h 236"/>
                      <a:gd name="T40" fmla="*/ 4727 w 116"/>
                      <a:gd name="T41" fmla="*/ 667 h 236"/>
                      <a:gd name="T42" fmla="*/ 4727 w 116"/>
                      <a:gd name="T43" fmla="*/ 575 h 236"/>
                      <a:gd name="T44" fmla="*/ 5086 w 116"/>
                      <a:gd name="T45" fmla="*/ 427 h 236"/>
                      <a:gd name="T46" fmla="*/ 5437 w 116"/>
                      <a:gd name="T47" fmla="*/ 367 h 236"/>
                      <a:gd name="T48" fmla="*/ 4936 w 116"/>
                      <a:gd name="T49" fmla="*/ 5 h 236"/>
                      <a:gd name="T50" fmla="*/ 6027 w 116"/>
                      <a:gd name="T51" fmla="*/ 3 h 236"/>
                      <a:gd name="T52" fmla="*/ 6641 w 116"/>
                      <a:gd name="T53" fmla="*/ 0 h 236"/>
                      <a:gd name="T54" fmla="*/ 7977 w 116"/>
                      <a:gd name="T55" fmla="*/ 406 h 236"/>
                      <a:gd name="T56" fmla="*/ 8993 w 116"/>
                      <a:gd name="T57" fmla="*/ 667 h 236"/>
                      <a:gd name="T58" fmla="*/ 8429 w 116"/>
                      <a:gd name="T59" fmla="*/ 969 h 236"/>
                      <a:gd name="T60" fmla="*/ 9115 w 116"/>
                      <a:gd name="T61" fmla="*/ 1241 h 236"/>
                      <a:gd name="T62" fmla="*/ 9545 w 116"/>
                      <a:gd name="T63" fmla="*/ 1611 h 236"/>
                      <a:gd name="T64" fmla="*/ 9390 w 116"/>
                      <a:gd name="T65" fmla="*/ 1964 h 236"/>
                      <a:gd name="T66" fmla="*/ 8993 w 116"/>
                      <a:gd name="T67" fmla="*/ 1996 h 236"/>
                      <a:gd name="T68" fmla="*/ 8784 w 116"/>
                      <a:gd name="T69" fmla="*/ 2191 h 236"/>
                      <a:gd name="T70" fmla="*/ 9010 w 116"/>
                      <a:gd name="T71" fmla="*/ 2316 h 236"/>
                      <a:gd name="T72" fmla="*/ 8993 w 116"/>
                      <a:gd name="T73" fmla="*/ 2395 h 236"/>
                      <a:gd name="T74" fmla="*/ 8058 w 116"/>
                      <a:gd name="T75" fmla="*/ 2671 h 236"/>
                      <a:gd name="T76" fmla="*/ 7364 w 116"/>
                      <a:gd name="T77" fmla="*/ 3068 h 236"/>
                      <a:gd name="T78" fmla="*/ 6641 w 116"/>
                      <a:gd name="T79" fmla="*/ 3734 h 236"/>
                      <a:gd name="T80" fmla="*/ 6443 w 116"/>
                      <a:gd name="T81" fmla="*/ 4289 h 236"/>
                      <a:gd name="T82" fmla="*/ 6171 w 116"/>
                      <a:gd name="T83" fmla="*/ 5230 h 2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116"/>
                      <a:gd name="T127" fmla="*/ 0 h 236"/>
                      <a:gd name="T128" fmla="*/ 116 w 116"/>
                      <a:gd name="T129" fmla="*/ 236 h 236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116" h="236">
                        <a:moveTo>
                          <a:pt x="75" y="203"/>
                        </a:moveTo>
                        <a:lnTo>
                          <a:pt x="76" y="231"/>
                        </a:lnTo>
                        <a:lnTo>
                          <a:pt x="78" y="234"/>
                        </a:lnTo>
                        <a:lnTo>
                          <a:pt x="47" y="236"/>
                        </a:lnTo>
                        <a:lnTo>
                          <a:pt x="43" y="235"/>
                        </a:lnTo>
                        <a:lnTo>
                          <a:pt x="40" y="229"/>
                        </a:lnTo>
                        <a:lnTo>
                          <a:pt x="37" y="220"/>
                        </a:lnTo>
                        <a:lnTo>
                          <a:pt x="37" y="214"/>
                        </a:lnTo>
                        <a:lnTo>
                          <a:pt x="40" y="197"/>
                        </a:lnTo>
                        <a:lnTo>
                          <a:pt x="40" y="161"/>
                        </a:lnTo>
                        <a:lnTo>
                          <a:pt x="40" y="148"/>
                        </a:lnTo>
                        <a:lnTo>
                          <a:pt x="37" y="141"/>
                        </a:lnTo>
                        <a:lnTo>
                          <a:pt x="36" y="135"/>
                        </a:lnTo>
                        <a:lnTo>
                          <a:pt x="34" y="130"/>
                        </a:lnTo>
                        <a:lnTo>
                          <a:pt x="32" y="125"/>
                        </a:lnTo>
                        <a:lnTo>
                          <a:pt x="28" y="110"/>
                        </a:lnTo>
                        <a:lnTo>
                          <a:pt x="22" y="96"/>
                        </a:lnTo>
                        <a:lnTo>
                          <a:pt x="13" y="84"/>
                        </a:lnTo>
                        <a:lnTo>
                          <a:pt x="10" y="84"/>
                        </a:lnTo>
                        <a:lnTo>
                          <a:pt x="7" y="84"/>
                        </a:lnTo>
                        <a:lnTo>
                          <a:pt x="3" y="80"/>
                        </a:lnTo>
                        <a:lnTo>
                          <a:pt x="0" y="78"/>
                        </a:lnTo>
                        <a:lnTo>
                          <a:pt x="0" y="72"/>
                        </a:lnTo>
                        <a:lnTo>
                          <a:pt x="0" y="64"/>
                        </a:lnTo>
                        <a:lnTo>
                          <a:pt x="3" y="60"/>
                        </a:lnTo>
                        <a:lnTo>
                          <a:pt x="3" y="54"/>
                        </a:lnTo>
                        <a:lnTo>
                          <a:pt x="5" y="53"/>
                        </a:lnTo>
                        <a:lnTo>
                          <a:pt x="7" y="50"/>
                        </a:lnTo>
                        <a:lnTo>
                          <a:pt x="10" y="50"/>
                        </a:lnTo>
                        <a:lnTo>
                          <a:pt x="10" y="47"/>
                        </a:lnTo>
                        <a:lnTo>
                          <a:pt x="13" y="45"/>
                        </a:lnTo>
                        <a:lnTo>
                          <a:pt x="14" y="43"/>
                        </a:lnTo>
                        <a:lnTo>
                          <a:pt x="15" y="43"/>
                        </a:lnTo>
                        <a:lnTo>
                          <a:pt x="18" y="43"/>
                        </a:lnTo>
                        <a:lnTo>
                          <a:pt x="24" y="35"/>
                        </a:lnTo>
                        <a:lnTo>
                          <a:pt x="25" y="33"/>
                        </a:lnTo>
                        <a:lnTo>
                          <a:pt x="30" y="33"/>
                        </a:lnTo>
                        <a:lnTo>
                          <a:pt x="36" y="36"/>
                        </a:lnTo>
                        <a:lnTo>
                          <a:pt x="41" y="35"/>
                        </a:lnTo>
                        <a:lnTo>
                          <a:pt x="46" y="36"/>
                        </a:lnTo>
                        <a:lnTo>
                          <a:pt x="50" y="35"/>
                        </a:lnTo>
                        <a:lnTo>
                          <a:pt x="58" y="26"/>
                        </a:lnTo>
                        <a:lnTo>
                          <a:pt x="60" y="25"/>
                        </a:lnTo>
                        <a:lnTo>
                          <a:pt x="58" y="23"/>
                        </a:lnTo>
                        <a:lnTo>
                          <a:pt x="61" y="21"/>
                        </a:lnTo>
                        <a:lnTo>
                          <a:pt x="63" y="17"/>
                        </a:lnTo>
                        <a:lnTo>
                          <a:pt x="63" y="16"/>
                        </a:lnTo>
                        <a:lnTo>
                          <a:pt x="67" y="14"/>
                        </a:lnTo>
                        <a:lnTo>
                          <a:pt x="63" y="7"/>
                        </a:lnTo>
                        <a:lnTo>
                          <a:pt x="61" y="5"/>
                        </a:lnTo>
                        <a:lnTo>
                          <a:pt x="70" y="3"/>
                        </a:lnTo>
                        <a:lnTo>
                          <a:pt x="73" y="3"/>
                        </a:lnTo>
                        <a:lnTo>
                          <a:pt x="79" y="0"/>
                        </a:lnTo>
                        <a:lnTo>
                          <a:pt x="82" y="0"/>
                        </a:lnTo>
                        <a:lnTo>
                          <a:pt x="89" y="9"/>
                        </a:lnTo>
                        <a:lnTo>
                          <a:pt x="98" y="16"/>
                        </a:lnTo>
                        <a:lnTo>
                          <a:pt x="103" y="20"/>
                        </a:lnTo>
                        <a:lnTo>
                          <a:pt x="109" y="26"/>
                        </a:lnTo>
                        <a:lnTo>
                          <a:pt x="105" y="29"/>
                        </a:lnTo>
                        <a:lnTo>
                          <a:pt x="104" y="37"/>
                        </a:lnTo>
                        <a:lnTo>
                          <a:pt x="105" y="40"/>
                        </a:lnTo>
                        <a:lnTo>
                          <a:pt x="112" y="47"/>
                        </a:lnTo>
                        <a:lnTo>
                          <a:pt x="113" y="50"/>
                        </a:lnTo>
                        <a:lnTo>
                          <a:pt x="116" y="61"/>
                        </a:lnTo>
                        <a:lnTo>
                          <a:pt x="116" y="73"/>
                        </a:lnTo>
                        <a:lnTo>
                          <a:pt x="115" y="74"/>
                        </a:lnTo>
                        <a:lnTo>
                          <a:pt x="112" y="74"/>
                        </a:lnTo>
                        <a:lnTo>
                          <a:pt x="109" y="76"/>
                        </a:lnTo>
                        <a:lnTo>
                          <a:pt x="108" y="80"/>
                        </a:lnTo>
                        <a:lnTo>
                          <a:pt x="108" y="83"/>
                        </a:lnTo>
                        <a:lnTo>
                          <a:pt x="111" y="86"/>
                        </a:lnTo>
                        <a:lnTo>
                          <a:pt x="111" y="88"/>
                        </a:lnTo>
                        <a:lnTo>
                          <a:pt x="111" y="89"/>
                        </a:lnTo>
                        <a:lnTo>
                          <a:pt x="109" y="90"/>
                        </a:lnTo>
                        <a:lnTo>
                          <a:pt x="109" y="94"/>
                        </a:lnTo>
                        <a:lnTo>
                          <a:pt x="99" y="101"/>
                        </a:lnTo>
                        <a:lnTo>
                          <a:pt x="93" y="109"/>
                        </a:lnTo>
                        <a:lnTo>
                          <a:pt x="90" y="116"/>
                        </a:lnTo>
                        <a:lnTo>
                          <a:pt x="89" y="126"/>
                        </a:lnTo>
                        <a:lnTo>
                          <a:pt x="82" y="141"/>
                        </a:lnTo>
                        <a:lnTo>
                          <a:pt x="79" y="148"/>
                        </a:lnTo>
                        <a:lnTo>
                          <a:pt x="78" y="162"/>
                        </a:lnTo>
                        <a:lnTo>
                          <a:pt x="79" y="183"/>
                        </a:lnTo>
                        <a:lnTo>
                          <a:pt x="76" y="198"/>
                        </a:lnTo>
                        <a:lnTo>
                          <a:pt x="75" y="203"/>
                        </a:lnTo>
                        <a:close/>
                      </a:path>
                    </a:pathLst>
                  </a:custGeom>
                  <a:solidFill>
                    <a:srgbClr val="D9969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5" name="Freeform 63"/>
                  <p:cNvSpPr>
                    <a:spLocks/>
                  </p:cNvSpPr>
                  <p:nvPr/>
                </p:nvSpPr>
                <p:spPr bwMode="auto">
                  <a:xfrm>
                    <a:off x="1308" y="2021"/>
                    <a:ext cx="124" cy="248"/>
                  </a:xfrm>
                  <a:custGeom>
                    <a:avLst/>
                    <a:gdLst>
                      <a:gd name="T0" fmla="*/ 6171 w 116"/>
                      <a:gd name="T1" fmla="*/ 6094 h 236"/>
                      <a:gd name="T2" fmla="*/ 3780 w 116"/>
                      <a:gd name="T3" fmla="*/ 6254 h 236"/>
                      <a:gd name="T4" fmla="*/ 3306 w 116"/>
                      <a:gd name="T5" fmla="*/ 6047 h 236"/>
                      <a:gd name="T6" fmla="*/ 3093 w 116"/>
                      <a:gd name="T7" fmla="*/ 5663 h 236"/>
                      <a:gd name="T8" fmla="*/ 3306 w 116"/>
                      <a:gd name="T9" fmla="*/ 4274 h 236"/>
                      <a:gd name="T10" fmla="*/ 3093 w 116"/>
                      <a:gd name="T11" fmla="*/ 3734 h 236"/>
                      <a:gd name="T12" fmla="*/ 2708 w 116"/>
                      <a:gd name="T13" fmla="*/ 3446 h 236"/>
                      <a:gd name="T14" fmla="*/ 2217 w 116"/>
                      <a:gd name="T15" fmla="*/ 2920 h 236"/>
                      <a:gd name="T16" fmla="*/ 996 w 116"/>
                      <a:gd name="T17" fmla="*/ 2204 h 236"/>
                      <a:gd name="T18" fmla="*/ 7 w 116"/>
                      <a:gd name="T19" fmla="*/ 2204 h 236"/>
                      <a:gd name="T20" fmla="*/ 0 w 116"/>
                      <a:gd name="T21" fmla="*/ 2064 h 236"/>
                      <a:gd name="T22" fmla="*/ 0 w 116"/>
                      <a:gd name="T23" fmla="*/ 1693 h 236"/>
                      <a:gd name="T24" fmla="*/ 3 w 116"/>
                      <a:gd name="T25" fmla="*/ 1440 h 236"/>
                      <a:gd name="T26" fmla="*/ 7 w 116"/>
                      <a:gd name="T27" fmla="*/ 1334 h 236"/>
                      <a:gd name="T28" fmla="*/ 816 w 116"/>
                      <a:gd name="T29" fmla="*/ 1241 h 236"/>
                      <a:gd name="T30" fmla="*/ 1065 w 116"/>
                      <a:gd name="T31" fmla="*/ 1124 h 236"/>
                      <a:gd name="T32" fmla="*/ 1390 w 116"/>
                      <a:gd name="T33" fmla="*/ 1124 h 236"/>
                      <a:gd name="T34" fmla="*/ 2072 w 116"/>
                      <a:gd name="T35" fmla="*/ 877 h 236"/>
                      <a:gd name="T36" fmla="*/ 2895 w 116"/>
                      <a:gd name="T37" fmla="*/ 943 h 236"/>
                      <a:gd name="T38" fmla="*/ 3778 w 116"/>
                      <a:gd name="T39" fmla="*/ 943 h 236"/>
                      <a:gd name="T40" fmla="*/ 4727 w 116"/>
                      <a:gd name="T41" fmla="*/ 667 h 236"/>
                      <a:gd name="T42" fmla="*/ 4727 w 116"/>
                      <a:gd name="T43" fmla="*/ 575 h 236"/>
                      <a:gd name="T44" fmla="*/ 5086 w 116"/>
                      <a:gd name="T45" fmla="*/ 427 h 236"/>
                      <a:gd name="T46" fmla="*/ 5437 w 116"/>
                      <a:gd name="T47" fmla="*/ 367 h 236"/>
                      <a:gd name="T48" fmla="*/ 4936 w 116"/>
                      <a:gd name="T49" fmla="*/ 5 h 236"/>
                      <a:gd name="T50" fmla="*/ 6027 w 116"/>
                      <a:gd name="T51" fmla="*/ 3 h 236"/>
                      <a:gd name="T52" fmla="*/ 6641 w 116"/>
                      <a:gd name="T53" fmla="*/ 0 h 236"/>
                      <a:gd name="T54" fmla="*/ 7977 w 116"/>
                      <a:gd name="T55" fmla="*/ 406 h 236"/>
                      <a:gd name="T56" fmla="*/ 8993 w 116"/>
                      <a:gd name="T57" fmla="*/ 667 h 236"/>
                      <a:gd name="T58" fmla="*/ 8429 w 116"/>
                      <a:gd name="T59" fmla="*/ 969 h 236"/>
                      <a:gd name="T60" fmla="*/ 9115 w 116"/>
                      <a:gd name="T61" fmla="*/ 1241 h 236"/>
                      <a:gd name="T62" fmla="*/ 9545 w 116"/>
                      <a:gd name="T63" fmla="*/ 1611 h 236"/>
                      <a:gd name="T64" fmla="*/ 9390 w 116"/>
                      <a:gd name="T65" fmla="*/ 1964 h 236"/>
                      <a:gd name="T66" fmla="*/ 8993 w 116"/>
                      <a:gd name="T67" fmla="*/ 1996 h 236"/>
                      <a:gd name="T68" fmla="*/ 8784 w 116"/>
                      <a:gd name="T69" fmla="*/ 2191 h 236"/>
                      <a:gd name="T70" fmla="*/ 9010 w 116"/>
                      <a:gd name="T71" fmla="*/ 2316 h 236"/>
                      <a:gd name="T72" fmla="*/ 8993 w 116"/>
                      <a:gd name="T73" fmla="*/ 2395 h 236"/>
                      <a:gd name="T74" fmla="*/ 8058 w 116"/>
                      <a:gd name="T75" fmla="*/ 2671 h 236"/>
                      <a:gd name="T76" fmla="*/ 7364 w 116"/>
                      <a:gd name="T77" fmla="*/ 3068 h 236"/>
                      <a:gd name="T78" fmla="*/ 6641 w 116"/>
                      <a:gd name="T79" fmla="*/ 3734 h 236"/>
                      <a:gd name="T80" fmla="*/ 6443 w 116"/>
                      <a:gd name="T81" fmla="*/ 4289 h 236"/>
                      <a:gd name="T82" fmla="*/ 6171 w 116"/>
                      <a:gd name="T83" fmla="*/ 5230 h 2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w 116"/>
                      <a:gd name="T127" fmla="*/ 0 h 236"/>
                      <a:gd name="T128" fmla="*/ 116 w 116"/>
                      <a:gd name="T129" fmla="*/ 236 h 236"/>
                    </a:gdLst>
                    <a:ahLst/>
                    <a:cxnLst>
                      <a:cxn ang="T84">
                        <a:pos x="T0" y="T1"/>
                      </a:cxn>
                      <a:cxn ang="T85">
                        <a:pos x="T2" y="T3"/>
                      </a:cxn>
                      <a:cxn ang="T86">
                        <a:pos x="T4" y="T5"/>
                      </a:cxn>
                      <a:cxn ang="T87">
                        <a:pos x="T6" y="T7"/>
                      </a:cxn>
                      <a:cxn ang="T88">
                        <a:pos x="T8" y="T9"/>
                      </a:cxn>
                      <a:cxn ang="T89">
                        <a:pos x="T10" y="T11"/>
                      </a:cxn>
                      <a:cxn ang="T90">
                        <a:pos x="T12" y="T13"/>
                      </a:cxn>
                      <a:cxn ang="T91">
                        <a:pos x="T14" y="T15"/>
                      </a:cxn>
                      <a:cxn ang="T92">
                        <a:pos x="T16" y="T17"/>
                      </a:cxn>
                      <a:cxn ang="T93">
                        <a:pos x="T18" y="T19"/>
                      </a:cxn>
                      <a:cxn ang="T94">
                        <a:pos x="T20" y="T21"/>
                      </a:cxn>
                      <a:cxn ang="T95">
                        <a:pos x="T22" y="T23"/>
                      </a:cxn>
                      <a:cxn ang="T96">
                        <a:pos x="T24" y="T25"/>
                      </a:cxn>
                      <a:cxn ang="T97">
                        <a:pos x="T26" y="T27"/>
                      </a:cxn>
                      <a:cxn ang="T98">
                        <a:pos x="T28" y="T29"/>
                      </a:cxn>
                      <a:cxn ang="T99">
                        <a:pos x="T30" y="T31"/>
                      </a:cxn>
                      <a:cxn ang="T100">
                        <a:pos x="T32" y="T33"/>
                      </a:cxn>
                      <a:cxn ang="T101">
                        <a:pos x="T34" y="T35"/>
                      </a:cxn>
                      <a:cxn ang="T102">
                        <a:pos x="T36" y="T37"/>
                      </a:cxn>
                      <a:cxn ang="T103">
                        <a:pos x="T38" y="T39"/>
                      </a:cxn>
                      <a:cxn ang="T104">
                        <a:pos x="T40" y="T41"/>
                      </a:cxn>
                      <a:cxn ang="T105">
                        <a:pos x="T42" y="T43"/>
                      </a:cxn>
                      <a:cxn ang="T106">
                        <a:pos x="T44" y="T45"/>
                      </a:cxn>
                      <a:cxn ang="T107">
                        <a:pos x="T46" y="T47"/>
                      </a:cxn>
                      <a:cxn ang="T108">
                        <a:pos x="T48" y="T49"/>
                      </a:cxn>
                      <a:cxn ang="T109">
                        <a:pos x="T50" y="T51"/>
                      </a:cxn>
                      <a:cxn ang="T110">
                        <a:pos x="T52" y="T53"/>
                      </a:cxn>
                      <a:cxn ang="T111">
                        <a:pos x="T54" y="T55"/>
                      </a:cxn>
                      <a:cxn ang="T112">
                        <a:pos x="T56" y="T57"/>
                      </a:cxn>
                      <a:cxn ang="T113">
                        <a:pos x="T58" y="T59"/>
                      </a:cxn>
                      <a:cxn ang="T114">
                        <a:pos x="T60" y="T61"/>
                      </a:cxn>
                      <a:cxn ang="T115">
                        <a:pos x="T62" y="T63"/>
                      </a:cxn>
                      <a:cxn ang="T116">
                        <a:pos x="T64" y="T65"/>
                      </a:cxn>
                      <a:cxn ang="T117">
                        <a:pos x="T66" y="T67"/>
                      </a:cxn>
                      <a:cxn ang="T118">
                        <a:pos x="T68" y="T69"/>
                      </a:cxn>
                      <a:cxn ang="T119">
                        <a:pos x="T70" y="T71"/>
                      </a:cxn>
                      <a:cxn ang="T120">
                        <a:pos x="T72" y="T73"/>
                      </a:cxn>
                      <a:cxn ang="T121">
                        <a:pos x="T74" y="T75"/>
                      </a:cxn>
                      <a:cxn ang="T122">
                        <a:pos x="T76" y="T77"/>
                      </a:cxn>
                      <a:cxn ang="T123">
                        <a:pos x="T78" y="T79"/>
                      </a:cxn>
                      <a:cxn ang="T124">
                        <a:pos x="T80" y="T81"/>
                      </a:cxn>
                      <a:cxn ang="T125">
                        <a:pos x="T82" y="T83"/>
                      </a:cxn>
                    </a:cxnLst>
                    <a:rect l="T126" t="T127" r="T128" b="T129"/>
                    <a:pathLst>
                      <a:path w="116" h="236">
                        <a:moveTo>
                          <a:pt x="75" y="203"/>
                        </a:moveTo>
                        <a:lnTo>
                          <a:pt x="76" y="231"/>
                        </a:lnTo>
                        <a:lnTo>
                          <a:pt x="78" y="234"/>
                        </a:lnTo>
                        <a:lnTo>
                          <a:pt x="47" y="236"/>
                        </a:lnTo>
                        <a:lnTo>
                          <a:pt x="43" y="235"/>
                        </a:lnTo>
                        <a:lnTo>
                          <a:pt x="40" y="229"/>
                        </a:lnTo>
                        <a:lnTo>
                          <a:pt x="37" y="220"/>
                        </a:lnTo>
                        <a:lnTo>
                          <a:pt x="37" y="214"/>
                        </a:lnTo>
                        <a:lnTo>
                          <a:pt x="40" y="197"/>
                        </a:lnTo>
                        <a:lnTo>
                          <a:pt x="40" y="161"/>
                        </a:lnTo>
                        <a:lnTo>
                          <a:pt x="40" y="148"/>
                        </a:lnTo>
                        <a:lnTo>
                          <a:pt x="37" y="141"/>
                        </a:lnTo>
                        <a:lnTo>
                          <a:pt x="36" y="135"/>
                        </a:lnTo>
                        <a:lnTo>
                          <a:pt x="34" y="130"/>
                        </a:lnTo>
                        <a:lnTo>
                          <a:pt x="32" y="125"/>
                        </a:lnTo>
                        <a:lnTo>
                          <a:pt x="28" y="110"/>
                        </a:lnTo>
                        <a:lnTo>
                          <a:pt x="22" y="96"/>
                        </a:lnTo>
                        <a:lnTo>
                          <a:pt x="13" y="84"/>
                        </a:lnTo>
                        <a:lnTo>
                          <a:pt x="10" y="84"/>
                        </a:lnTo>
                        <a:lnTo>
                          <a:pt x="7" y="84"/>
                        </a:lnTo>
                        <a:lnTo>
                          <a:pt x="3" y="80"/>
                        </a:lnTo>
                        <a:lnTo>
                          <a:pt x="0" y="78"/>
                        </a:lnTo>
                        <a:lnTo>
                          <a:pt x="0" y="72"/>
                        </a:lnTo>
                        <a:lnTo>
                          <a:pt x="0" y="64"/>
                        </a:lnTo>
                        <a:lnTo>
                          <a:pt x="3" y="60"/>
                        </a:lnTo>
                        <a:lnTo>
                          <a:pt x="3" y="54"/>
                        </a:lnTo>
                        <a:lnTo>
                          <a:pt x="5" y="53"/>
                        </a:lnTo>
                        <a:lnTo>
                          <a:pt x="7" y="50"/>
                        </a:lnTo>
                        <a:lnTo>
                          <a:pt x="10" y="50"/>
                        </a:lnTo>
                        <a:lnTo>
                          <a:pt x="10" y="47"/>
                        </a:lnTo>
                        <a:lnTo>
                          <a:pt x="13" y="45"/>
                        </a:lnTo>
                        <a:lnTo>
                          <a:pt x="14" y="43"/>
                        </a:lnTo>
                        <a:lnTo>
                          <a:pt x="15" y="43"/>
                        </a:lnTo>
                        <a:lnTo>
                          <a:pt x="18" y="43"/>
                        </a:lnTo>
                        <a:lnTo>
                          <a:pt x="24" y="35"/>
                        </a:lnTo>
                        <a:lnTo>
                          <a:pt x="25" y="33"/>
                        </a:lnTo>
                        <a:lnTo>
                          <a:pt x="30" y="33"/>
                        </a:lnTo>
                        <a:lnTo>
                          <a:pt x="36" y="36"/>
                        </a:lnTo>
                        <a:lnTo>
                          <a:pt x="41" y="35"/>
                        </a:lnTo>
                        <a:lnTo>
                          <a:pt x="46" y="36"/>
                        </a:lnTo>
                        <a:lnTo>
                          <a:pt x="50" y="35"/>
                        </a:lnTo>
                        <a:lnTo>
                          <a:pt x="58" y="26"/>
                        </a:lnTo>
                        <a:lnTo>
                          <a:pt x="60" y="25"/>
                        </a:lnTo>
                        <a:lnTo>
                          <a:pt x="58" y="23"/>
                        </a:lnTo>
                        <a:lnTo>
                          <a:pt x="61" y="21"/>
                        </a:lnTo>
                        <a:lnTo>
                          <a:pt x="63" y="17"/>
                        </a:lnTo>
                        <a:lnTo>
                          <a:pt x="63" y="16"/>
                        </a:lnTo>
                        <a:lnTo>
                          <a:pt x="67" y="14"/>
                        </a:lnTo>
                        <a:lnTo>
                          <a:pt x="63" y="7"/>
                        </a:lnTo>
                        <a:lnTo>
                          <a:pt x="61" y="5"/>
                        </a:lnTo>
                        <a:lnTo>
                          <a:pt x="70" y="3"/>
                        </a:lnTo>
                        <a:lnTo>
                          <a:pt x="73" y="3"/>
                        </a:lnTo>
                        <a:lnTo>
                          <a:pt x="79" y="0"/>
                        </a:lnTo>
                        <a:lnTo>
                          <a:pt x="82" y="0"/>
                        </a:lnTo>
                        <a:lnTo>
                          <a:pt x="89" y="9"/>
                        </a:lnTo>
                        <a:lnTo>
                          <a:pt x="98" y="16"/>
                        </a:lnTo>
                        <a:lnTo>
                          <a:pt x="103" y="20"/>
                        </a:lnTo>
                        <a:lnTo>
                          <a:pt x="109" y="26"/>
                        </a:lnTo>
                        <a:lnTo>
                          <a:pt x="105" y="29"/>
                        </a:lnTo>
                        <a:lnTo>
                          <a:pt x="104" y="37"/>
                        </a:lnTo>
                        <a:lnTo>
                          <a:pt x="105" y="40"/>
                        </a:lnTo>
                        <a:lnTo>
                          <a:pt x="112" y="47"/>
                        </a:lnTo>
                        <a:lnTo>
                          <a:pt x="113" y="50"/>
                        </a:lnTo>
                        <a:lnTo>
                          <a:pt x="116" y="61"/>
                        </a:lnTo>
                        <a:lnTo>
                          <a:pt x="116" y="73"/>
                        </a:lnTo>
                        <a:lnTo>
                          <a:pt x="115" y="74"/>
                        </a:lnTo>
                        <a:lnTo>
                          <a:pt x="112" y="74"/>
                        </a:lnTo>
                        <a:lnTo>
                          <a:pt x="109" y="76"/>
                        </a:lnTo>
                        <a:lnTo>
                          <a:pt x="108" y="80"/>
                        </a:lnTo>
                        <a:lnTo>
                          <a:pt x="108" y="83"/>
                        </a:lnTo>
                        <a:lnTo>
                          <a:pt x="111" y="86"/>
                        </a:lnTo>
                        <a:lnTo>
                          <a:pt x="111" y="88"/>
                        </a:lnTo>
                        <a:lnTo>
                          <a:pt x="111" y="89"/>
                        </a:lnTo>
                        <a:lnTo>
                          <a:pt x="109" y="90"/>
                        </a:lnTo>
                        <a:lnTo>
                          <a:pt x="109" y="94"/>
                        </a:lnTo>
                        <a:lnTo>
                          <a:pt x="99" y="101"/>
                        </a:lnTo>
                        <a:lnTo>
                          <a:pt x="93" y="109"/>
                        </a:lnTo>
                        <a:lnTo>
                          <a:pt x="90" y="116"/>
                        </a:lnTo>
                        <a:lnTo>
                          <a:pt x="89" y="126"/>
                        </a:lnTo>
                        <a:lnTo>
                          <a:pt x="82" y="141"/>
                        </a:lnTo>
                        <a:lnTo>
                          <a:pt x="79" y="148"/>
                        </a:lnTo>
                        <a:lnTo>
                          <a:pt x="78" y="162"/>
                        </a:lnTo>
                        <a:lnTo>
                          <a:pt x="79" y="183"/>
                        </a:lnTo>
                        <a:lnTo>
                          <a:pt x="76" y="198"/>
                        </a:lnTo>
                        <a:lnTo>
                          <a:pt x="75" y="203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6" name="Freeform 64"/>
                  <p:cNvSpPr>
                    <a:spLocks/>
                  </p:cNvSpPr>
                  <p:nvPr/>
                </p:nvSpPr>
                <p:spPr bwMode="auto">
                  <a:xfrm>
                    <a:off x="1582" y="1010"/>
                    <a:ext cx="164" cy="283"/>
                  </a:xfrm>
                  <a:custGeom>
                    <a:avLst/>
                    <a:gdLst>
                      <a:gd name="T0" fmla="*/ 5013 w 153"/>
                      <a:gd name="T1" fmla="*/ 461 h 269"/>
                      <a:gd name="T2" fmla="*/ 5227 w 153"/>
                      <a:gd name="T3" fmla="*/ 356 h 269"/>
                      <a:gd name="T4" fmla="*/ 6173 w 153"/>
                      <a:gd name="T5" fmla="*/ 7 h 269"/>
                      <a:gd name="T6" fmla="*/ 7787 w 153"/>
                      <a:gd name="T7" fmla="*/ 0 h 269"/>
                      <a:gd name="T8" fmla="*/ 9364 w 153"/>
                      <a:gd name="T9" fmla="*/ 0 h 269"/>
                      <a:gd name="T10" fmla="*/ 10642 w 153"/>
                      <a:gd name="T11" fmla="*/ 5 h 269"/>
                      <a:gd name="T12" fmla="*/ 10881 w 153"/>
                      <a:gd name="T13" fmla="*/ 395 h 269"/>
                      <a:gd name="T14" fmla="*/ 11649 w 153"/>
                      <a:gd name="T15" fmla="*/ 565 h 269"/>
                      <a:gd name="T16" fmla="*/ 12428 w 153"/>
                      <a:gd name="T17" fmla="*/ 485 h 269"/>
                      <a:gd name="T18" fmla="*/ 13251 w 153"/>
                      <a:gd name="T19" fmla="*/ 321 h 269"/>
                      <a:gd name="T20" fmla="*/ 14116 w 153"/>
                      <a:gd name="T21" fmla="*/ 461 h 269"/>
                      <a:gd name="T22" fmla="*/ 12428 w 153"/>
                      <a:gd name="T23" fmla="*/ 909 h 269"/>
                      <a:gd name="T24" fmla="*/ 11810 w 153"/>
                      <a:gd name="T25" fmla="*/ 1232 h 269"/>
                      <a:gd name="T26" fmla="*/ 12362 w 153"/>
                      <a:gd name="T27" fmla="*/ 1588 h 269"/>
                      <a:gd name="T28" fmla="*/ 13251 w 153"/>
                      <a:gd name="T29" fmla="*/ 1724 h 269"/>
                      <a:gd name="T30" fmla="*/ 14048 w 153"/>
                      <a:gd name="T31" fmla="*/ 2145 h 269"/>
                      <a:gd name="T32" fmla="*/ 13401 w 153"/>
                      <a:gd name="T33" fmla="*/ 2628 h 269"/>
                      <a:gd name="T34" fmla="*/ 12502 w 153"/>
                      <a:gd name="T35" fmla="*/ 2909 h 269"/>
                      <a:gd name="T36" fmla="*/ 11407 w 153"/>
                      <a:gd name="T37" fmla="*/ 3090 h 269"/>
                      <a:gd name="T38" fmla="*/ 10289 w 153"/>
                      <a:gd name="T39" fmla="*/ 3251 h 269"/>
                      <a:gd name="T40" fmla="*/ 10279 w 153"/>
                      <a:gd name="T41" fmla="*/ 3521 h 269"/>
                      <a:gd name="T42" fmla="*/ 9364 w 153"/>
                      <a:gd name="T43" fmla="*/ 3694 h 269"/>
                      <a:gd name="T44" fmla="*/ 10289 w 153"/>
                      <a:gd name="T45" fmla="*/ 3943 h 269"/>
                      <a:gd name="T46" fmla="*/ 11220 w 153"/>
                      <a:gd name="T47" fmla="*/ 3982 h 269"/>
                      <a:gd name="T48" fmla="*/ 11810 w 153"/>
                      <a:gd name="T49" fmla="*/ 4088 h 269"/>
                      <a:gd name="T50" fmla="*/ 12502 w 153"/>
                      <a:gd name="T51" fmla="*/ 4088 h 269"/>
                      <a:gd name="T52" fmla="*/ 13401 w 153"/>
                      <a:gd name="T53" fmla="*/ 4364 h 269"/>
                      <a:gd name="T54" fmla="*/ 13819 w 153"/>
                      <a:gd name="T55" fmla="*/ 4525 h 269"/>
                      <a:gd name="T56" fmla="*/ 14364 w 153"/>
                      <a:gd name="T57" fmla="*/ 4523 h 269"/>
                      <a:gd name="T58" fmla="*/ 14813 w 153"/>
                      <a:gd name="T59" fmla="*/ 4580 h 269"/>
                      <a:gd name="T60" fmla="*/ 14364 w 153"/>
                      <a:gd name="T61" fmla="*/ 5364 h 269"/>
                      <a:gd name="T62" fmla="*/ 12227 w 153"/>
                      <a:gd name="T63" fmla="*/ 5833 h 269"/>
                      <a:gd name="T64" fmla="*/ 11220 w 153"/>
                      <a:gd name="T65" fmla="*/ 6137 h 269"/>
                      <a:gd name="T66" fmla="*/ 9976 w 153"/>
                      <a:gd name="T67" fmla="*/ 6286 h 269"/>
                      <a:gd name="T68" fmla="*/ 10279 w 153"/>
                      <a:gd name="T69" fmla="*/ 6954 h 269"/>
                      <a:gd name="T70" fmla="*/ 9928 w 153"/>
                      <a:gd name="T71" fmla="*/ 7314 h 269"/>
                      <a:gd name="T72" fmla="*/ 8354 w 153"/>
                      <a:gd name="T73" fmla="*/ 7607 h 269"/>
                      <a:gd name="T74" fmla="*/ 7397 w 153"/>
                      <a:gd name="T75" fmla="*/ 7563 h 269"/>
                      <a:gd name="T76" fmla="*/ 6173 w 153"/>
                      <a:gd name="T77" fmla="*/ 5677 h 269"/>
                      <a:gd name="T78" fmla="*/ 4472 w 153"/>
                      <a:gd name="T79" fmla="*/ 5500 h 269"/>
                      <a:gd name="T80" fmla="*/ 2998 w 153"/>
                      <a:gd name="T81" fmla="*/ 5006 h 269"/>
                      <a:gd name="T82" fmla="*/ 2271 w 153"/>
                      <a:gd name="T83" fmla="*/ 4555 h 269"/>
                      <a:gd name="T84" fmla="*/ 6 w 153"/>
                      <a:gd name="T85" fmla="*/ 3943 h 269"/>
                      <a:gd name="T86" fmla="*/ 0 w 153"/>
                      <a:gd name="T87" fmla="*/ 3694 h 269"/>
                      <a:gd name="T88" fmla="*/ 921 w 153"/>
                      <a:gd name="T89" fmla="*/ 3521 h 269"/>
                      <a:gd name="T90" fmla="*/ 1216 w 153"/>
                      <a:gd name="T91" fmla="*/ 3387 h 269"/>
                      <a:gd name="T92" fmla="*/ 1977 w 153"/>
                      <a:gd name="T93" fmla="*/ 3181 h 269"/>
                      <a:gd name="T94" fmla="*/ 3631 w 153"/>
                      <a:gd name="T95" fmla="*/ 2765 h 269"/>
                      <a:gd name="T96" fmla="*/ 4070 w 153"/>
                      <a:gd name="T97" fmla="*/ 2221 h 269"/>
                      <a:gd name="T98" fmla="*/ 3797 w 153"/>
                      <a:gd name="T99" fmla="*/ 1724 h 269"/>
                      <a:gd name="T100" fmla="*/ 3631 w 153"/>
                      <a:gd name="T101" fmla="*/ 1444 h 269"/>
                      <a:gd name="T102" fmla="*/ 3892 w 153"/>
                      <a:gd name="T103" fmla="*/ 892 h 269"/>
                      <a:gd name="T104" fmla="*/ 3631 w 153"/>
                      <a:gd name="T105" fmla="*/ 766 h 269"/>
                      <a:gd name="T106" fmla="*/ 4549 w 153"/>
                      <a:gd name="T107" fmla="*/ 510 h 26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153"/>
                      <a:gd name="T163" fmla="*/ 0 h 269"/>
                      <a:gd name="T164" fmla="*/ 153 w 153"/>
                      <a:gd name="T165" fmla="*/ 269 h 26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153" h="269">
                        <a:moveTo>
                          <a:pt x="47" y="19"/>
                        </a:moveTo>
                        <a:lnTo>
                          <a:pt x="51" y="17"/>
                        </a:lnTo>
                        <a:lnTo>
                          <a:pt x="52" y="14"/>
                        </a:lnTo>
                        <a:lnTo>
                          <a:pt x="54" y="12"/>
                        </a:lnTo>
                        <a:lnTo>
                          <a:pt x="57" y="10"/>
                        </a:lnTo>
                        <a:lnTo>
                          <a:pt x="63" y="7"/>
                        </a:lnTo>
                        <a:lnTo>
                          <a:pt x="71" y="4"/>
                        </a:lnTo>
                        <a:lnTo>
                          <a:pt x="79" y="0"/>
                        </a:lnTo>
                        <a:lnTo>
                          <a:pt x="89" y="0"/>
                        </a:lnTo>
                        <a:lnTo>
                          <a:pt x="96" y="0"/>
                        </a:lnTo>
                        <a:lnTo>
                          <a:pt x="109" y="4"/>
                        </a:lnTo>
                        <a:lnTo>
                          <a:pt x="108" y="5"/>
                        </a:lnTo>
                        <a:lnTo>
                          <a:pt x="109" y="7"/>
                        </a:lnTo>
                        <a:lnTo>
                          <a:pt x="112" y="14"/>
                        </a:lnTo>
                        <a:lnTo>
                          <a:pt x="112" y="19"/>
                        </a:lnTo>
                        <a:lnTo>
                          <a:pt x="119" y="21"/>
                        </a:lnTo>
                        <a:lnTo>
                          <a:pt x="122" y="19"/>
                        </a:lnTo>
                        <a:lnTo>
                          <a:pt x="127" y="18"/>
                        </a:lnTo>
                        <a:lnTo>
                          <a:pt x="132" y="14"/>
                        </a:lnTo>
                        <a:lnTo>
                          <a:pt x="135" y="10"/>
                        </a:lnTo>
                        <a:lnTo>
                          <a:pt x="141" y="10"/>
                        </a:lnTo>
                        <a:lnTo>
                          <a:pt x="144" y="17"/>
                        </a:lnTo>
                        <a:lnTo>
                          <a:pt x="136" y="30"/>
                        </a:lnTo>
                        <a:lnTo>
                          <a:pt x="127" y="32"/>
                        </a:lnTo>
                        <a:lnTo>
                          <a:pt x="122" y="35"/>
                        </a:lnTo>
                        <a:lnTo>
                          <a:pt x="121" y="44"/>
                        </a:lnTo>
                        <a:lnTo>
                          <a:pt x="122" y="53"/>
                        </a:lnTo>
                        <a:lnTo>
                          <a:pt x="126" y="56"/>
                        </a:lnTo>
                        <a:lnTo>
                          <a:pt x="132" y="57"/>
                        </a:lnTo>
                        <a:lnTo>
                          <a:pt x="135" y="61"/>
                        </a:lnTo>
                        <a:lnTo>
                          <a:pt x="141" y="65"/>
                        </a:lnTo>
                        <a:lnTo>
                          <a:pt x="143" y="75"/>
                        </a:lnTo>
                        <a:lnTo>
                          <a:pt x="144" y="78"/>
                        </a:lnTo>
                        <a:lnTo>
                          <a:pt x="138" y="92"/>
                        </a:lnTo>
                        <a:lnTo>
                          <a:pt x="134" y="97"/>
                        </a:lnTo>
                        <a:lnTo>
                          <a:pt x="129" y="102"/>
                        </a:lnTo>
                        <a:lnTo>
                          <a:pt x="121" y="108"/>
                        </a:lnTo>
                        <a:lnTo>
                          <a:pt x="116" y="109"/>
                        </a:lnTo>
                        <a:lnTo>
                          <a:pt x="112" y="113"/>
                        </a:lnTo>
                        <a:lnTo>
                          <a:pt x="106" y="115"/>
                        </a:lnTo>
                        <a:lnTo>
                          <a:pt x="105" y="118"/>
                        </a:lnTo>
                        <a:lnTo>
                          <a:pt x="105" y="124"/>
                        </a:lnTo>
                        <a:lnTo>
                          <a:pt x="96" y="122"/>
                        </a:lnTo>
                        <a:lnTo>
                          <a:pt x="96" y="129"/>
                        </a:lnTo>
                        <a:lnTo>
                          <a:pt x="99" y="136"/>
                        </a:lnTo>
                        <a:lnTo>
                          <a:pt x="106" y="139"/>
                        </a:lnTo>
                        <a:lnTo>
                          <a:pt x="110" y="141"/>
                        </a:lnTo>
                        <a:lnTo>
                          <a:pt x="115" y="141"/>
                        </a:lnTo>
                        <a:lnTo>
                          <a:pt x="118" y="139"/>
                        </a:lnTo>
                        <a:lnTo>
                          <a:pt x="121" y="143"/>
                        </a:lnTo>
                        <a:lnTo>
                          <a:pt x="124" y="146"/>
                        </a:lnTo>
                        <a:lnTo>
                          <a:pt x="129" y="143"/>
                        </a:lnTo>
                        <a:lnTo>
                          <a:pt x="132" y="143"/>
                        </a:lnTo>
                        <a:lnTo>
                          <a:pt x="138" y="154"/>
                        </a:lnTo>
                        <a:lnTo>
                          <a:pt x="138" y="156"/>
                        </a:lnTo>
                        <a:lnTo>
                          <a:pt x="141" y="158"/>
                        </a:lnTo>
                        <a:lnTo>
                          <a:pt x="145" y="158"/>
                        </a:lnTo>
                        <a:lnTo>
                          <a:pt x="148" y="157"/>
                        </a:lnTo>
                        <a:lnTo>
                          <a:pt x="153" y="160"/>
                        </a:lnTo>
                        <a:lnTo>
                          <a:pt x="151" y="161"/>
                        </a:lnTo>
                        <a:lnTo>
                          <a:pt x="153" y="183"/>
                        </a:lnTo>
                        <a:lnTo>
                          <a:pt x="148" y="189"/>
                        </a:lnTo>
                        <a:lnTo>
                          <a:pt x="144" y="192"/>
                        </a:lnTo>
                        <a:lnTo>
                          <a:pt x="124" y="204"/>
                        </a:lnTo>
                        <a:lnTo>
                          <a:pt x="122" y="211"/>
                        </a:lnTo>
                        <a:lnTo>
                          <a:pt x="115" y="215"/>
                        </a:lnTo>
                        <a:lnTo>
                          <a:pt x="105" y="218"/>
                        </a:lnTo>
                        <a:lnTo>
                          <a:pt x="102" y="222"/>
                        </a:lnTo>
                        <a:lnTo>
                          <a:pt x="102" y="228"/>
                        </a:lnTo>
                        <a:lnTo>
                          <a:pt x="105" y="245"/>
                        </a:lnTo>
                        <a:lnTo>
                          <a:pt x="105" y="251"/>
                        </a:lnTo>
                        <a:lnTo>
                          <a:pt x="101" y="257"/>
                        </a:lnTo>
                        <a:lnTo>
                          <a:pt x="95" y="262"/>
                        </a:lnTo>
                        <a:lnTo>
                          <a:pt x="86" y="267"/>
                        </a:lnTo>
                        <a:lnTo>
                          <a:pt x="78" y="269"/>
                        </a:lnTo>
                        <a:lnTo>
                          <a:pt x="76" y="265"/>
                        </a:lnTo>
                        <a:lnTo>
                          <a:pt x="73" y="243"/>
                        </a:lnTo>
                        <a:lnTo>
                          <a:pt x="63" y="200"/>
                        </a:lnTo>
                        <a:lnTo>
                          <a:pt x="61" y="200"/>
                        </a:lnTo>
                        <a:lnTo>
                          <a:pt x="46" y="192"/>
                        </a:lnTo>
                        <a:lnTo>
                          <a:pt x="31" y="186"/>
                        </a:lnTo>
                        <a:lnTo>
                          <a:pt x="31" y="174"/>
                        </a:lnTo>
                        <a:lnTo>
                          <a:pt x="26" y="163"/>
                        </a:lnTo>
                        <a:lnTo>
                          <a:pt x="23" y="160"/>
                        </a:lnTo>
                        <a:lnTo>
                          <a:pt x="9" y="155"/>
                        </a:lnTo>
                        <a:lnTo>
                          <a:pt x="6" y="139"/>
                        </a:lnTo>
                        <a:lnTo>
                          <a:pt x="1" y="132"/>
                        </a:lnTo>
                        <a:lnTo>
                          <a:pt x="0" y="129"/>
                        </a:lnTo>
                        <a:lnTo>
                          <a:pt x="1" y="129"/>
                        </a:lnTo>
                        <a:lnTo>
                          <a:pt x="9" y="124"/>
                        </a:lnTo>
                        <a:lnTo>
                          <a:pt x="9" y="123"/>
                        </a:lnTo>
                        <a:lnTo>
                          <a:pt x="13" y="119"/>
                        </a:lnTo>
                        <a:lnTo>
                          <a:pt x="20" y="118"/>
                        </a:lnTo>
                        <a:lnTo>
                          <a:pt x="20" y="112"/>
                        </a:lnTo>
                        <a:lnTo>
                          <a:pt x="34" y="103"/>
                        </a:lnTo>
                        <a:lnTo>
                          <a:pt x="37" y="97"/>
                        </a:lnTo>
                        <a:lnTo>
                          <a:pt x="42" y="82"/>
                        </a:lnTo>
                        <a:lnTo>
                          <a:pt x="42" y="78"/>
                        </a:lnTo>
                        <a:lnTo>
                          <a:pt x="39" y="75"/>
                        </a:lnTo>
                        <a:lnTo>
                          <a:pt x="39" y="61"/>
                        </a:lnTo>
                        <a:lnTo>
                          <a:pt x="36" y="56"/>
                        </a:lnTo>
                        <a:lnTo>
                          <a:pt x="37" y="51"/>
                        </a:lnTo>
                        <a:lnTo>
                          <a:pt x="41" y="34"/>
                        </a:lnTo>
                        <a:lnTo>
                          <a:pt x="40" y="31"/>
                        </a:lnTo>
                        <a:lnTo>
                          <a:pt x="36" y="30"/>
                        </a:lnTo>
                        <a:lnTo>
                          <a:pt x="37" y="27"/>
                        </a:lnTo>
                        <a:lnTo>
                          <a:pt x="43" y="22"/>
                        </a:lnTo>
                        <a:lnTo>
                          <a:pt x="47" y="1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7" name="Freeform 65"/>
                  <p:cNvSpPr>
                    <a:spLocks/>
                  </p:cNvSpPr>
                  <p:nvPr/>
                </p:nvSpPr>
                <p:spPr bwMode="auto">
                  <a:xfrm>
                    <a:off x="1582" y="1010"/>
                    <a:ext cx="164" cy="283"/>
                  </a:xfrm>
                  <a:custGeom>
                    <a:avLst/>
                    <a:gdLst>
                      <a:gd name="T0" fmla="*/ 5013 w 153"/>
                      <a:gd name="T1" fmla="*/ 461 h 269"/>
                      <a:gd name="T2" fmla="*/ 5227 w 153"/>
                      <a:gd name="T3" fmla="*/ 356 h 269"/>
                      <a:gd name="T4" fmla="*/ 6173 w 153"/>
                      <a:gd name="T5" fmla="*/ 7 h 269"/>
                      <a:gd name="T6" fmla="*/ 7787 w 153"/>
                      <a:gd name="T7" fmla="*/ 0 h 269"/>
                      <a:gd name="T8" fmla="*/ 9364 w 153"/>
                      <a:gd name="T9" fmla="*/ 0 h 269"/>
                      <a:gd name="T10" fmla="*/ 10642 w 153"/>
                      <a:gd name="T11" fmla="*/ 5 h 269"/>
                      <a:gd name="T12" fmla="*/ 10881 w 153"/>
                      <a:gd name="T13" fmla="*/ 395 h 269"/>
                      <a:gd name="T14" fmla="*/ 11649 w 153"/>
                      <a:gd name="T15" fmla="*/ 565 h 269"/>
                      <a:gd name="T16" fmla="*/ 12428 w 153"/>
                      <a:gd name="T17" fmla="*/ 485 h 269"/>
                      <a:gd name="T18" fmla="*/ 13251 w 153"/>
                      <a:gd name="T19" fmla="*/ 321 h 269"/>
                      <a:gd name="T20" fmla="*/ 14116 w 153"/>
                      <a:gd name="T21" fmla="*/ 461 h 269"/>
                      <a:gd name="T22" fmla="*/ 12428 w 153"/>
                      <a:gd name="T23" fmla="*/ 909 h 269"/>
                      <a:gd name="T24" fmla="*/ 11810 w 153"/>
                      <a:gd name="T25" fmla="*/ 1232 h 269"/>
                      <a:gd name="T26" fmla="*/ 12362 w 153"/>
                      <a:gd name="T27" fmla="*/ 1588 h 269"/>
                      <a:gd name="T28" fmla="*/ 13251 w 153"/>
                      <a:gd name="T29" fmla="*/ 1724 h 269"/>
                      <a:gd name="T30" fmla="*/ 14048 w 153"/>
                      <a:gd name="T31" fmla="*/ 2145 h 269"/>
                      <a:gd name="T32" fmla="*/ 13401 w 153"/>
                      <a:gd name="T33" fmla="*/ 2628 h 269"/>
                      <a:gd name="T34" fmla="*/ 12502 w 153"/>
                      <a:gd name="T35" fmla="*/ 2909 h 269"/>
                      <a:gd name="T36" fmla="*/ 11407 w 153"/>
                      <a:gd name="T37" fmla="*/ 3090 h 269"/>
                      <a:gd name="T38" fmla="*/ 10289 w 153"/>
                      <a:gd name="T39" fmla="*/ 3251 h 269"/>
                      <a:gd name="T40" fmla="*/ 10279 w 153"/>
                      <a:gd name="T41" fmla="*/ 3521 h 269"/>
                      <a:gd name="T42" fmla="*/ 9364 w 153"/>
                      <a:gd name="T43" fmla="*/ 3694 h 269"/>
                      <a:gd name="T44" fmla="*/ 10289 w 153"/>
                      <a:gd name="T45" fmla="*/ 3943 h 269"/>
                      <a:gd name="T46" fmla="*/ 11220 w 153"/>
                      <a:gd name="T47" fmla="*/ 3982 h 269"/>
                      <a:gd name="T48" fmla="*/ 11810 w 153"/>
                      <a:gd name="T49" fmla="*/ 4088 h 269"/>
                      <a:gd name="T50" fmla="*/ 12502 w 153"/>
                      <a:gd name="T51" fmla="*/ 4088 h 269"/>
                      <a:gd name="T52" fmla="*/ 13401 w 153"/>
                      <a:gd name="T53" fmla="*/ 4364 h 269"/>
                      <a:gd name="T54" fmla="*/ 13819 w 153"/>
                      <a:gd name="T55" fmla="*/ 4525 h 269"/>
                      <a:gd name="T56" fmla="*/ 14364 w 153"/>
                      <a:gd name="T57" fmla="*/ 4523 h 269"/>
                      <a:gd name="T58" fmla="*/ 14813 w 153"/>
                      <a:gd name="T59" fmla="*/ 4580 h 269"/>
                      <a:gd name="T60" fmla="*/ 14364 w 153"/>
                      <a:gd name="T61" fmla="*/ 5364 h 269"/>
                      <a:gd name="T62" fmla="*/ 12227 w 153"/>
                      <a:gd name="T63" fmla="*/ 5833 h 269"/>
                      <a:gd name="T64" fmla="*/ 11220 w 153"/>
                      <a:gd name="T65" fmla="*/ 6137 h 269"/>
                      <a:gd name="T66" fmla="*/ 9976 w 153"/>
                      <a:gd name="T67" fmla="*/ 6286 h 269"/>
                      <a:gd name="T68" fmla="*/ 10279 w 153"/>
                      <a:gd name="T69" fmla="*/ 6954 h 269"/>
                      <a:gd name="T70" fmla="*/ 9928 w 153"/>
                      <a:gd name="T71" fmla="*/ 7314 h 269"/>
                      <a:gd name="T72" fmla="*/ 8354 w 153"/>
                      <a:gd name="T73" fmla="*/ 7607 h 269"/>
                      <a:gd name="T74" fmla="*/ 7397 w 153"/>
                      <a:gd name="T75" fmla="*/ 7563 h 269"/>
                      <a:gd name="T76" fmla="*/ 6173 w 153"/>
                      <a:gd name="T77" fmla="*/ 5677 h 269"/>
                      <a:gd name="T78" fmla="*/ 4472 w 153"/>
                      <a:gd name="T79" fmla="*/ 5500 h 269"/>
                      <a:gd name="T80" fmla="*/ 2998 w 153"/>
                      <a:gd name="T81" fmla="*/ 5006 h 269"/>
                      <a:gd name="T82" fmla="*/ 2271 w 153"/>
                      <a:gd name="T83" fmla="*/ 4555 h 269"/>
                      <a:gd name="T84" fmla="*/ 6 w 153"/>
                      <a:gd name="T85" fmla="*/ 3943 h 269"/>
                      <a:gd name="T86" fmla="*/ 0 w 153"/>
                      <a:gd name="T87" fmla="*/ 3694 h 269"/>
                      <a:gd name="T88" fmla="*/ 921 w 153"/>
                      <a:gd name="T89" fmla="*/ 3521 h 269"/>
                      <a:gd name="T90" fmla="*/ 1216 w 153"/>
                      <a:gd name="T91" fmla="*/ 3387 h 269"/>
                      <a:gd name="T92" fmla="*/ 1977 w 153"/>
                      <a:gd name="T93" fmla="*/ 3181 h 269"/>
                      <a:gd name="T94" fmla="*/ 3631 w 153"/>
                      <a:gd name="T95" fmla="*/ 2765 h 269"/>
                      <a:gd name="T96" fmla="*/ 4070 w 153"/>
                      <a:gd name="T97" fmla="*/ 2221 h 269"/>
                      <a:gd name="T98" fmla="*/ 3797 w 153"/>
                      <a:gd name="T99" fmla="*/ 1724 h 269"/>
                      <a:gd name="T100" fmla="*/ 3631 w 153"/>
                      <a:gd name="T101" fmla="*/ 1444 h 269"/>
                      <a:gd name="T102" fmla="*/ 3892 w 153"/>
                      <a:gd name="T103" fmla="*/ 892 h 269"/>
                      <a:gd name="T104" fmla="*/ 3631 w 153"/>
                      <a:gd name="T105" fmla="*/ 766 h 269"/>
                      <a:gd name="T106" fmla="*/ 4549 w 153"/>
                      <a:gd name="T107" fmla="*/ 510 h 26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153"/>
                      <a:gd name="T163" fmla="*/ 0 h 269"/>
                      <a:gd name="T164" fmla="*/ 153 w 153"/>
                      <a:gd name="T165" fmla="*/ 269 h 26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153" h="269">
                        <a:moveTo>
                          <a:pt x="47" y="19"/>
                        </a:moveTo>
                        <a:lnTo>
                          <a:pt x="51" y="17"/>
                        </a:lnTo>
                        <a:lnTo>
                          <a:pt x="52" y="14"/>
                        </a:lnTo>
                        <a:lnTo>
                          <a:pt x="54" y="12"/>
                        </a:lnTo>
                        <a:lnTo>
                          <a:pt x="57" y="10"/>
                        </a:lnTo>
                        <a:lnTo>
                          <a:pt x="63" y="7"/>
                        </a:lnTo>
                        <a:lnTo>
                          <a:pt x="71" y="4"/>
                        </a:lnTo>
                        <a:lnTo>
                          <a:pt x="79" y="0"/>
                        </a:lnTo>
                        <a:lnTo>
                          <a:pt x="89" y="0"/>
                        </a:lnTo>
                        <a:lnTo>
                          <a:pt x="96" y="0"/>
                        </a:lnTo>
                        <a:lnTo>
                          <a:pt x="109" y="4"/>
                        </a:lnTo>
                        <a:lnTo>
                          <a:pt x="108" y="5"/>
                        </a:lnTo>
                        <a:lnTo>
                          <a:pt x="109" y="7"/>
                        </a:lnTo>
                        <a:lnTo>
                          <a:pt x="112" y="14"/>
                        </a:lnTo>
                        <a:lnTo>
                          <a:pt x="112" y="19"/>
                        </a:lnTo>
                        <a:lnTo>
                          <a:pt x="119" y="21"/>
                        </a:lnTo>
                        <a:lnTo>
                          <a:pt x="122" y="19"/>
                        </a:lnTo>
                        <a:lnTo>
                          <a:pt x="127" y="18"/>
                        </a:lnTo>
                        <a:lnTo>
                          <a:pt x="132" y="14"/>
                        </a:lnTo>
                        <a:lnTo>
                          <a:pt x="135" y="10"/>
                        </a:lnTo>
                        <a:lnTo>
                          <a:pt x="141" y="10"/>
                        </a:lnTo>
                        <a:lnTo>
                          <a:pt x="144" y="17"/>
                        </a:lnTo>
                        <a:lnTo>
                          <a:pt x="136" y="30"/>
                        </a:lnTo>
                        <a:lnTo>
                          <a:pt x="127" y="32"/>
                        </a:lnTo>
                        <a:lnTo>
                          <a:pt x="122" y="35"/>
                        </a:lnTo>
                        <a:lnTo>
                          <a:pt x="121" y="44"/>
                        </a:lnTo>
                        <a:lnTo>
                          <a:pt x="122" y="53"/>
                        </a:lnTo>
                        <a:lnTo>
                          <a:pt x="126" y="56"/>
                        </a:lnTo>
                        <a:lnTo>
                          <a:pt x="132" y="57"/>
                        </a:lnTo>
                        <a:lnTo>
                          <a:pt x="135" y="61"/>
                        </a:lnTo>
                        <a:lnTo>
                          <a:pt x="141" y="65"/>
                        </a:lnTo>
                        <a:lnTo>
                          <a:pt x="143" y="75"/>
                        </a:lnTo>
                        <a:lnTo>
                          <a:pt x="144" y="78"/>
                        </a:lnTo>
                        <a:lnTo>
                          <a:pt x="138" y="92"/>
                        </a:lnTo>
                        <a:lnTo>
                          <a:pt x="134" y="97"/>
                        </a:lnTo>
                        <a:lnTo>
                          <a:pt x="129" y="102"/>
                        </a:lnTo>
                        <a:lnTo>
                          <a:pt x="121" y="108"/>
                        </a:lnTo>
                        <a:lnTo>
                          <a:pt x="116" y="109"/>
                        </a:lnTo>
                        <a:lnTo>
                          <a:pt x="112" y="113"/>
                        </a:lnTo>
                        <a:lnTo>
                          <a:pt x="106" y="115"/>
                        </a:lnTo>
                        <a:lnTo>
                          <a:pt x="105" y="118"/>
                        </a:lnTo>
                        <a:lnTo>
                          <a:pt x="105" y="124"/>
                        </a:lnTo>
                        <a:lnTo>
                          <a:pt x="96" y="122"/>
                        </a:lnTo>
                        <a:lnTo>
                          <a:pt x="96" y="129"/>
                        </a:lnTo>
                        <a:lnTo>
                          <a:pt x="99" y="136"/>
                        </a:lnTo>
                        <a:lnTo>
                          <a:pt x="106" y="139"/>
                        </a:lnTo>
                        <a:lnTo>
                          <a:pt x="110" y="141"/>
                        </a:lnTo>
                        <a:lnTo>
                          <a:pt x="115" y="141"/>
                        </a:lnTo>
                        <a:lnTo>
                          <a:pt x="118" y="139"/>
                        </a:lnTo>
                        <a:lnTo>
                          <a:pt x="121" y="143"/>
                        </a:lnTo>
                        <a:lnTo>
                          <a:pt x="124" y="146"/>
                        </a:lnTo>
                        <a:lnTo>
                          <a:pt x="129" y="143"/>
                        </a:lnTo>
                        <a:lnTo>
                          <a:pt x="132" y="143"/>
                        </a:lnTo>
                        <a:lnTo>
                          <a:pt x="138" y="154"/>
                        </a:lnTo>
                        <a:lnTo>
                          <a:pt x="138" y="156"/>
                        </a:lnTo>
                        <a:lnTo>
                          <a:pt x="141" y="158"/>
                        </a:lnTo>
                        <a:lnTo>
                          <a:pt x="145" y="158"/>
                        </a:lnTo>
                        <a:lnTo>
                          <a:pt x="148" y="157"/>
                        </a:lnTo>
                        <a:lnTo>
                          <a:pt x="153" y="160"/>
                        </a:lnTo>
                        <a:lnTo>
                          <a:pt x="151" y="161"/>
                        </a:lnTo>
                        <a:lnTo>
                          <a:pt x="153" y="183"/>
                        </a:lnTo>
                        <a:lnTo>
                          <a:pt x="148" y="189"/>
                        </a:lnTo>
                        <a:lnTo>
                          <a:pt x="144" y="192"/>
                        </a:lnTo>
                        <a:lnTo>
                          <a:pt x="124" y="204"/>
                        </a:lnTo>
                        <a:lnTo>
                          <a:pt x="122" y="211"/>
                        </a:lnTo>
                        <a:lnTo>
                          <a:pt x="115" y="215"/>
                        </a:lnTo>
                        <a:lnTo>
                          <a:pt x="105" y="218"/>
                        </a:lnTo>
                        <a:lnTo>
                          <a:pt x="102" y="222"/>
                        </a:lnTo>
                        <a:lnTo>
                          <a:pt x="102" y="228"/>
                        </a:lnTo>
                        <a:lnTo>
                          <a:pt x="105" y="245"/>
                        </a:lnTo>
                        <a:lnTo>
                          <a:pt x="105" y="251"/>
                        </a:lnTo>
                        <a:lnTo>
                          <a:pt x="101" y="257"/>
                        </a:lnTo>
                        <a:lnTo>
                          <a:pt x="95" y="262"/>
                        </a:lnTo>
                        <a:lnTo>
                          <a:pt x="86" y="267"/>
                        </a:lnTo>
                        <a:lnTo>
                          <a:pt x="78" y="269"/>
                        </a:lnTo>
                        <a:lnTo>
                          <a:pt x="76" y="265"/>
                        </a:lnTo>
                        <a:lnTo>
                          <a:pt x="73" y="243"/>
                        </a:lnTo>
                        <a:lnTo>
                          <a:pt x="63" y="200"/>
                        </a:lnTo>
                        <a:lnTo>
                          <a:pt x="61" y="200"/>
                        </a:lnTo>
                        <a:lnTo>
                          <a:pt x="46" y="192"/>
                        </a:lnTo>
                        <a:lnTo>
                          <a:pt x="31" y="186"/>
                        </a:lnTo>
                        <a:lnTo>
                          <a:pt x="31" y="174"/>
                        </a:lnTo>
                        <a:lnTo>
                          <a:pt x="26" y="163"/>
                        </a:lnTo>
                        <a:lnTo>
                          <a:pt x="23" y="160"/>
                        </a:lnTo>
                        <a:lnTo>
                          <a:pt x="9" y="155"/>
                        </a:lnTo>
                        <a:lnTo>
                          <a:pt x="6" y="139"/>
                        </a:lnTo>
                        <a:lnTo>
                          <a:pt x="1" y="132"/>
                        </a:lnTo>
                        <a:lnTo>
                          <a:pt x="0" y="129"/>
                        </a:lnTo>
                        <a:lnTo>
                          <a:pt x="1" y="129"/>
                        </a:lnTo>
                        <a:lnTo>
                          <a:pt x="9" y="124"/>
                        </a:lnTo>
                        <a:lnTo>
                          <a:pt x="9" y="123"/>
                        </a:lnTo>
                        <a:lnTo>
                          <a:pt x="13" y="119"/>
                        </a:lnTo>
                        <a:lnTo>
                          <a:pt x="20" y="118"/>
                        </a:lnTo>
                        <a:lnTo>
                          <a:pt x="20" y="112"/>
                        </a:lnTo>
                        <a:lnTo>
                          <a:pt x="34" y="103"/>
                        </a:lnTo>
                        <a:lnTo>
                          <a:pt x="37" y="97"/>
                        </a:lnTo>
                        <a:lnTo>
                          <a:pt x="42" y="82"/>
                        </a:lnTo>
                        <a:lnTo>
                          <a:pt x="42" y="78"/>
                        </a:lnTo>
                        <a:lnTo>
                          <a:pt x="39" y="75"/>
                        </a:lnTo>
                        <a:lnTo>
                          <a:pt x="39" y="61"/>
                        </a:lnTo>
                        <a:lnTo>
                          <a:pt x="36" y="56"/>
                        </a:lnTo>
                        <a:lnTo>
                          <a:pt x="37" y="51"/>
                        </a:lnTo>
                        <a:lnTo>
                          <a:pt x="41" y="34"/>
                        </a:lnTo>
                        <a:lnTo>
                          <a:pt x="40" y="31"/>
                        </a:lnTo>
                        <a:lnTo>
                          <a:pt x="36" y="30"/>
                        </a:lnTo>
                        <a:lnTo>
                          <a:pt x="37" y="27"/>
                        </a:lnTo>
                        <a:lnTo>
                          <a:pt x="43" y="22"/>
                        </a:lnTo>
                        <a:lnTo>
                          <a:pt x="47" y="19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8" name="Freeform 66"/>
                  <p:cNvSpPr>
                    <a:spLocks/>
                  </p:cNvSpPr>
                  <p:nvPr/>
                </p:nvSpPr>
                <p:spPr bwMode="auto">
                  <a:xfrm>
                    <a:off x="1626" y="2005"/>
                    <a:ext cx="317" cy="451"/>
                  </a:xfrm>
                  <a:custGeom>
                    <a:avLst/>
                    <a:gdLst>
                      <a:gd name="T0" fmla="*/ 4337 w 296"/>
                      <a:gd name="T1" fmla="*/ 11081 h 429"/>
                      <a:gd name="T2" fmla="*/ 4975 w 296"/>
                      <a:gd name="T3" fmla="*/ 10026 h 429"/>
                      <a:gd name="T4" fmla="*/ 4337 w 296"/>
                      <a:gd name="T5" fmla="*/ 9671 h 429"/>
                      <a:gd name="T6" fmla="*/ 4034 w 296"/>
                      <a:gd name="T7" fmla="*/ 9463 h 429"/>
                      <a:gd name="T8" fmla="*/ 4337 w 296"/>
                      <a:gd name="T9" fmla="*/ 9184 h 429"/>
                      <a:gd name="T10" fmla="*/ 3531 w 296"/>
                      <a:gd name="T11" fmla="*/ 9184 h 429"/>
                      <a:gd name="T12" fmla="*/ 1552 w 296"/>
                      <a:gd name="T13" fmla="*/ 8951 h 429"/>
                      <a:gd name="T14" fmla="*/ 5 w 296"/>
                      <a:gd name="T15" fmla="*/ 8596 h 429"/>
                      <a:gd name="T16" fmla="*/ 0 w 296"/>
                      <a:gd name="T17" fmla="*/ 8420 h 429"/>
                      <a:gd name="T18" fmla="*/ 896 w 296"/>
                      <a:gd name="T19" fmla="*/ 7922 h 429"/>
                      <a:gd name="T20" fmla="*/ 1263 w 296"/>
                      <a:gd name="T21" fmla="*/ 7179 h 429"/>
                      <a:gd name="T22" fmla="*/ 2875 w 296"/>
                      <a:gd name="T23" fmla="*/ 6557 h 429"/>
                      <a:gd name="T24" fmla="*/ 4034 w 296"/>
                      <a:gd name="T25" fmla="*/ 6167 h 429"/>
                      <a:gd name="T26" fmla="*/ 7506 w 296"/>
                      <a:gd name="T27" fmla="*/ 6085 h 429"/>
                      <a:gd name="T28" fmla="*/ 8362 w 296"/>
                      <a:gd name="T29" fmla="*/ 6396 h 429"/>
                      <a:gd name="T30" fmla="*/ 10268 w 296"/>
                      <a:gd name="T31" fmla="*/ 6612 h 429"/>
                      <a:gd name="T32" fmla="*/ 10999 w 296"/>
                      <a:gd name="T33" fmla="*/ 6237 h 429"/>
                      <a:gd name="T34" fmla="*/ 12931 w 296"/>
                      <a:gd name="T35" fmla="*/ 5107 h 429"/>
                      <a:gd name="T36" fmla="*/ 14464 w 296"/>
                      <a:gd name="T37" fmla="*/ 4253 h 429"/>
                      <a:gd name="T38" fmla="*/ 15497 w 296"/>
                      <a:gd name="T39" fmla="*/ 3934 h 429"/>
                      <a:gd name="T40" fmla="*/ 16331 w 296"/>
                      <a:gd name="T41" fmla="*/ 2991 h 429"/>
                      <a:gd name="T42" fmla="*/ 17766 w 296"/>
                      <a:gd name="T43" fmla="*/ 2004 h 429"/>
                      <a:gd name="T44" fmla="*/ 18578 w 296"/>
                      <a:gd name="T45" fmla="*/ 1564 h 429"/>
                      <a:gd name="T46" fmla="*/ 20091 w 296"/>
                      <a:gd name="T47" fmla="*/ 1413 h 429"/>
                      <a:gd name="T48" fmla="*/ 21308 w 296"/>
                      <a:gd name="T49" fmla="*/ 497 h 429"/>
                      <a:gd name="T50" fmla="*/ 20867 w 296"/>
                      <a:gd name="T51" fmla="*/ 368 h 429"/>
                      <a:gd name="T52" fmla="*/ 20381 w 296"/>
                      <a:gd name="T53" fmla="*/ 302 h 429"/>
                      <a:gd name="T54" fmla="*/ 21997 w 296"/>
                      <a:gd name="T55" fmla="*/ 0 h 429"/>
                      <a:gd name="T56" fmla="*/ 22453 w 296"/>
                      <a:gd name="T57" fmla="*/ 497 h 429"/>
                      <a:gd name="T58" fmla="*/ 23031 w 296"/>
                      <a:gd name="T59" fmla="*/ 1222 h 429"/>
                      <a:gd name="T60" fmla="*/ 22820 w 296"/>
                      <a:gd name="T61" fmla="*/ 1817 h 429"/>
                      <a:gd name="T62" fmla="*/ 24439 w 296"/>
                      <a:gd name="T63" fmla="*/ 2711 h 429"/>
                      <a:gd name="T64" fmla="*/ 24259 w 296"/>
                      <a:gd name="T65" fmla="*/ 2991 h 429"/>
                      <a:gd name="T66" fmla="*/ 20892 w 296"/>
                      <a:gd name="T67" fmla="*/ 2862 h 429"/>
                      <a:gd name="T68" fmla="*/ 20091 w 296"/>
                      <a:gd name="T69" fmla="*/ 3063 h 429"/>
                      <a:gd name="T70" fmla="*/ 20892 w 296"/>
                      <a:gd name="T71" fmla="*/ 3839 h 429"/>
                      <a:gd name="T72" fmla="*/ 22820 w 296"/>
                      <a:gd name="T73" fmla="*/ 4061 h 429"/>
                      <a:gd name="T74" fmla="*/ 24068 w 296"/>
                      <a:gd name="T75" fmla="*/ 4805 h 429"/>
                      <a:gd name="T76" fmla="*/ 24639 w 296"/>
                      <a:gd name="T77" fmla="*/ 5506 h 429"/>
                      <a:gd name="T78" fmla="*/ 23376 w 296"/>
                      <a:gd name="T79" fmla="*/ 6362 h 429"/>
                      <a:gd name="T80" fmla="*/ 21589 w 296"/>
                      <a:gd name="T81" fmla="*/ 7072 h 429"/>
                      <a:gd name="T82" fmla="*/ 21822 w 296"/>
                      <a:gd name="T83" fmla="*/ 7934 h 429"/>
                      <a:gd name="T84" fmla="*/ 23031 w 296"/>
                      <a:gd name="T85" fmla="*/ 8852 h 429"/>
                      <a:gd name="T86" fmla="*/ 26814 w 296"/>
                      <a:gd name="T87" fmla="*/ 10400 h 429"/>
                      <a:gd name="T88" fmla="*/ 27340 w 296"/>
                      <a:gd name="T89" fmla="*/ 11410 h 429"/>
                      <a:gd name="T90" fmla="*/ 25229 w 296"/>
                      <a:gd name="T91" fmla="*/ 11259 h 429"/>
                      <a:gd name="T92" fmla="*/ 22820 w 296"/>
                      <a:gd name="T93" fmla="*/ 11093 h 429"/>
                      <a:gd name="T94" fmla="*/ 16596 w 296"/>
                      <a:gd name="T95" fmla="*/ 11029 h 429"/>
                      <a:gd name="T96" fmla="*/ 12011 w 296"/>
                      <a:gd name="T97" fmla="*/ 10994 h 429"/>
                      <a:gd name="T98" fmla="*/ 7506 w 296"/>
                      <a:gd name="T99" fmla="*/ 11029 h 429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296"/>
                      <a:gd name="T151" fmla="*/ 0 h 429"/>
                      <a:gd name="T152" fmla="*/ 296 w 296"/>
                      <a:gd name="T153" fmla="*/ 429 h 429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296" h="429">
                        <a:moveTo>
                          <a:pt x="82" y="406"/>
                        </a:moveTo>
                        <a:lnTo>
                          <a:pt x="52" y="406"/>
                        </a:lnTo>
                        <a:lnTo>
                          <a:pt x="48" y="408"/>
                        </a:lnTo>
                        <a:lnTo>
                          <a:pt x="52" y="385"/>
                        </a:lnTo>
                        <a:lnTo>
                          <a:pt x="55" y="373"/>
                        </a:lnTo>
                        <a:lnTo>
                          <a:pt x="55" y="369"/>
                        </a:lnTo>
                        <a:lnTo>
                          <a:pt x="56" y="367"/>
                        </a:lnTo>
                        <a:lnTo>
                          <a:pt x="53" y="362"/>
                        </a:lnTo>
                        <a:lnTo>
                          <a:pt x="48" y="357"/>
                        </a:lnTo>
                        <a:lnTo>
                          <a:pt x="48" y="354"/>
                        </a:lnTo>
                        <a:lnTo>
                          <a:pt x="44" y="350"/>
                        </a:lnTo>
                        <a:lnTo>
                          <a:pt x="44" y="348"/>
                        </a:lnTo>
                        <a:lnTo>
                          <a:pt x="46" y="347"/>
                        </a:lnTo>
                        <a:lnTo>
                          <a:pt x="48" y="343"/>
                        </a:lnTo>
                        <a:lnTo>
                          <a:pt x="48" y="338"/>
                        </a:lnTo>
                        <a:lnTo>
                          <a:pt x="44" y="336"/>
                        </a:lnTo>
                        <a:lnTo>
                          <a:pt x="41" y="336"/>
                        </a:lnTo>
                        <a:lnTo>
                          <a:pt x="39" y="338"/>
                        </a:lnTo>
                        <a:lnTo>
                          <a:pt x="36" y="340"/>
                        </a:lnTo>
                        <a:lnTo>
                          <a:pt x="22" y="334"/>
                        </a:lnTo>
                        <a:lnTo>
                          <a:pt x="18" y="328"/>
                        </a:lnTo>
                        <a:lnTo>
                          <a:pt x="14" y="317"/>
                        </a:lnTo>
                        <a:lnTo>
                          <a:pt x="8" y="317"/>
                        </a:lnTo>
                        <a:lnTo>
                          <a:pt x="5" y="317"/>
                        </a:lnTo>
                        <a:lnTo>
                          <a:pt x="1" y="316"/>
                        </a:lnTo>
                        <a:lnTo>
                          <a:pt x="1" y="311"/>
                        </a:lnTo>
                        <a:lnTo>
                          <a:pt x="0" y="310"/>
                        </a:lnTo>
                        <a:lnTo>
                          <a:pt x="0" y="304"/>
                        </a:lnTo>
                        <a:lnTo>
                          <a:pt x="5" y="300"/>
                        </a:lnTo>
                        <a:lnTo>
                          <a:pt x="10" y="293"/>
                        </a:lnTo>
                        <a:lnTo>
                          <a:pt x="11" y="287"/>
                        </a:lnTo>
                        <a:lnTo>
                          <a:pt x="13" y="277"/>
                        </a:lnTo>
                        <a:lnTo>
                          <a:pt x="15" y="266"/>
                        </a:lnTo>
                        <a:lnTo>
                          <a:pt x="22" y="255"/>
                        </a:lnTo>
                        <a:lnTo>
                          <a:pt x="27" y="247"/>
                        </a:lnTo>
                        <a:lnTo>
                          <a:pt x="32" y="242"/>
                        </a:lnTo>
                        <a:lnTo>
                          <a:pt x="41" y="239"/>
                        </a:lnTo>
                        <a:lnTo>
                          <a:pt x="43" y="227"/>
                        </a:lnTo>
                        <a:lnTo>
                          <a:pt x="44" y="227"/>
                        </a:lnTo>
                        <a:lnTo>
                          <a:pt x="55" y="227"/>
                        </a:lnTo>
                        <a:lnTo>
                          <a:pt x="70" y="224"/>
                        </a:lnTo>
                        <a:lnTo>
                          <a:pt x="82" y="225"/>
                        </a:lnTo>
                        <a:lnTo>
                          <a:pt x="89" y="232"/>
                        </a:lnTo>
                        <a:lnTo>
                          <a:pt x="91" y="234"/>
                        </a:lnTo>
                        <a:lnTo>
                          <a:pt x="91" y="236"/>
                        </a:lnTo>
                        <a:lnTo>
                          <a:pt x="94" y="237"/>
                        </a:lnTo>
                        <a:lnTo>
                          <a:pt x="101" y="242"/>
                        </a:lnTo>
                        <a:lnTo>
                          <a:pt x="110" y="243"/>
                        </a:lnTo>
                        <a:lnTo>
                          <a:pt x="116" y="240"/>
                        </a:lnTo>
                        <a:lnTo>
                          <a:pt x="118" y="236"/>
                        </a:lnTo>
                        <a:lnTo>
                          <a:pt x="119" y="230"/>
                        </a:lnTo>
                        <a:lnTo>
                          <a:pt x="132" y="208"/>
                        </a:lnTo>
                        <a:lnTo>
                          <a:pt x="139" y="192"/>
                        </a:lnTo>
                        <a:lnTo>
                          <a:pt x="141" y="188"/>
                        </a:lnTo>
                        <a:lnTo>
                          <a:pt x="144" y="177"/>
                        </a:lnTo>
                        <a:lnTo>
                          <a:pt x="148" y="166"/>
                        </a:lnTo>
                        <a:lnTo>
                          <a:pt x="155" y="157"/>
                        </a:lnTo>
                        <a:lnTo>
                          <a:pt x="166" y="153"/>
                        </a:lnTo>
                        <a:lnTo>
                          <a:pt x="168" y="150"/>
                        </a:lnTo>
                        <a:lnTo>
                          <a:pt x="168" y="145"/>
                        </a:lnTo>
                        <a:lnTo>
                          <a:pt x="170" y="136"/>
                        </a:lnTo>
                        <a:lnTo>
                          <a:pt x="176" y="118"/>
                        </a:lnTo>
                        <a:lnTo>
                          <a:pt x="177" y="109"/>
                        </a:lnTo>
                        <a:lnTo>
                          <a:pt x="179" y="102"/>
                        </a:lnTo>
                        <a:lnTo>
                          <a:pt x="186" y="90"/>
                        </a:lnTo>
                        <a:lnTo>
                          <a:pt x="191" y="73"/>
                        </a:lnTo>
                        <a:lnTo>
                          <a:pt x="193" y="68"/>
                        </a:lnTo>
                        <a:lnTo>
                          <a:pt x="196" y="64"/>
                        </a:lnTo>
                        <a:lnTo>
                          <a:pt x="202" y="58"/>
                        </a:lnTo>
                        <a:lnTo>
                          <a:pt x="206" y="56"/>
                        </a:lnTo>
                        <a:lnTo>
                          <a:pt x="217" y="52"/>
                        </a:lnTo>
                        <a:lnTo>
                          <a:pt x="218" y="51"/>
                        </a:lnTo>
                        <a:lnTo>
                          <a:pt x="232" y="41"/>
                        </a:lnTo>
                        <a:lnTo>
                          <a:pt x="231" y="32"/>
                        </a:lnTo>
                        <a:lnTo>
                          <a:pt x="231" y="20"/>
                        </a:lnTo>
                        <a:lnTo>
                          <a:pt x="230" y="16"/>
                        </a:lnTo>
                        <a:lnTo>
                          <a:pt x="228" y="15"/>
                        </a:lnTo>
                        <a:lnTo>
                          <a:pt x="226" y="14"/>
                        </a:lnTo>
                        <a:lnTo>
                          <a:pt x="220" y="11"/>
                        </a:lnTo>
                        <a:lnTo>
                          <a:pt x="218" y="10"/>
                        </a:lnTo>
                        <a:lnTo>
                          <a:pt x="221" y="10"/>
                        </a:lnTo>
                        <a:lnTo>
                          <a:pt x="227" y="0"/>
                        </a:lnTo>
                        <a:lnTo>
                          <a:pt x="233" y="0"/>
                        </a:lnTo>
                        <a:lnTo>
                          <a:pt x="239" y="0"/>
                        </a:lnTo>
                        <a:lnTo>
                          <a:pt x="240" y="0"/>
                        </a:lnTo>
                        <a:lnTo>
                          <a:pt x="240" y="1"/>
                        </a:lnTo>
                        <a:lnTo>
                          <a:pt x="244" y="20"/>
                        </a:lnTo>
                        <a:lnTo>
                          <a:pt x="247" y="26"/>
                        </a:lnTo>
                        <a:lnTo>
                          <a:pt x="251" y="32"/>
                        </a:lnTo>
                        <a:lnTo>
                          <a:pt x="249" y="46"/>
                        </a:lnTo>
                        <a:lnTo>
                          <a:pt x="247" y="54"/>
                        </a:lnTo>
                        <a:lnTo>
                          <a:pt x="247" y="61"/>
                        </a:lnTo>
                        <a:lnTo>
                          <a:pt x="247" y="67"/>
                        </a:lnTo>
                        <a:lnTo>
                          <a:pt x="252" y="81"/>
                        </a:lnTo>
                        <a:lnTo>
                          <a:pt x="264" y="95"/>
                        </a:lnTo>
                        <a:lnTo>
                          <a:pt x="265" y="100"/>
                        </a:lnTo>
                        <a:lnTo>
                          <a:pt x="266" y="106"/>
                        </a:lnTo>
                        <a:lnTo>
                          <a:pt x="265" y="109"/>
                        </a:lnTo>
                        <a:lnTo>
                          <a:pt x="263" y="109"/>
                        </a:lnTo>
                        <a:lnTo>
                          <a:pt x="247" y="106"/>
                        </a:lnTo>
                        <a:lnTo>
                          <a:pt x="237" y="105"/>
                        </a:lnTo>
                        <a:lnTo>
                          <a:pt x="227" y="106"/>
                        </a:lnTo>
                        <a:lnTo>
                          <a:pt x="224" y="107"/>
                        </a:lnTo>
                        <a:lnTo>
                          <a:pt x="221" y="109"/>
                        </a:lnTo>
                        <a:lnTo>
                          <a:pt x="218" y="113"/>
                        </a:lnTo>
                        <a:lnTo>
                          <a:pt x="218" y="123"/>
                        </a:lnTo>
                        <a:lnTo>
                          <a:pt x="220" y="131"/>
                        </a:lnTo>
                        <a:lnTo>
                          <a:pt x="227" y="141"/>
                        </a:lnTo>
                        <a:lnTo>
                          <a:pt x="232" y="145"/>
                        </a:lnTo>
                        <a:lnTo>
                          <a:pt x="239" y="147"/>
                        </a:lnTo>
                        <a:lnTo>
                          <a:pt x="247" y="150"/>
                        </a:lnTo>
                        <a:lnTo>
                          <a:pt x="249" y="151"/>
                        </a:lnTo>
                        <a:lnTo>
                          <a:pt x="254" y="157"/>
                        </a:lnTo>
                        <a:lnTo>
                          <a:pt x="262" y="177"/>
                        </a:lnTo>
                        <a:lnTo>
                          <a:pt x="264" y="189"/>
                        </a:lnTo>
                        <a:lnTo>
                          <a:pt x="265" y="202"/>
                        </a:lnTo>
                        <a:lnTo>
                          <a:pt x="266" y="204"/>
                        </a:lnTo>
                        <a:lnTo>
                          <a:pt x="268" y="205"/>
                        </a:lnTo>
                        <a:lnTo>
                          <a:pt x="261" y="224"/>
                        </a:lnTo>
                        <a:lnTo>
                          <a:pt x="254" y="234"/>
                        </a:lnTo>
                        <a:lnTo>
                          <a:pt x="247" y="245"/>
                        </a:lnTo>
                        <a:lnTo>
                          <a:pt x="241" y="255"/>
                        </a:lnTo>
                        <a:lnTo>
                          <a:pt x="234" y="263"/>
                        </a:lnTo>
                        <a:lnTo>
                          <a:pt x="233" y="273"/>
                        </a:lnTo>
                        <a:lnTo>
                          <a:pt x="236" y="283"/>
                        </a:lnTo>
                        <a:lnTo>
                          <a:pt x="236" y="294"/>
                        </a:lnTo>
                        <a:lnTo>
                          <a:pt x="236" y="306"/>
                        </a:lnTo>
                        <a:lnTo>
                          <a:pt x="243" y="317"/>
                        </a:lnTo>
                        <a:lnTo>
                          <a:pt x="249" y="326"/>
                        </a:lnTo>
                        <a:lnTo>
                          <a:pt x="268" y="359"/>
                        </a:lnTo>
                        <a:lnTo>
                          <a:pt x="274" y="369"/>
                        </a:lnTo>
                        <a:lnTo>
                          <a:pt x="292" y="382"/>
                        </a:lnTo>
                        <a:lnTo>
                          <a:pt x="296" y="380"/>
                        </a:lnTo>
                        <a:lnTo>
                          <a:pt x="295" y="390"/>
                        </a:lnTo>
                        <a:lnTo>
                          <a:pt x="296" y="420"/>
                        </a:lnTo>
                        <a:lnTo>
                          <a:pt x="294" y="427"/>
                        </a:lnTo>
                        <a:lnTo>
                          <a:pt x="292" y="429"/>
                        </a:lnTo>
                        <a:lnTo>
                          <a:pt x="274" y="416"/>
                        </a:lnTo>
                        <a:lnTo>
                          <a:pt x="268" y="416"/>
                        </a:lnTo>
                        <a:lnTo>
                          <a:pt x="258" y="413"/>
                        </a:lnTo>
                        <a:lnTo>
                          <a:pt x="247" y="411"/>
                        </a:lnTo>
                        <a:lnTo>
                          <a:pt x="240" y="406"/>
                        </a:lnTo>
                        <a:lnTo>
                          <a:pt x="186" y="406"/>
                        </a:lnTo>
                        <a:lnTo>
                          <a:pt x="180" y="406"/>
                        </a:lnTo>
                        <a:lnTo>
                          <a:pt x="155" y="405"/>
                        </a:lnTo>
                        <a:lnTo>
                          <a:pt x="144" y="403"/>
                        </a:lnTo>
                        <a:lnTo>
                          <a:pt x="130" y="405"/>
                        </a:lnTo>
                        <a:lnTo>
                          <a:pt x="119" y="403"/>
                        </a:lnTo>
                        <a:lnTo>
                          <a:pt x="109" y="406"/>
                        </a:lnTo>
                        <a:lnTo>
                          <a:pt x="82" y="406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69" name="Freeform 67"/>
                  <p:cNvSpPr>
                    <a:spLocks/>
                  </p:cNvSpPr>
                  <p:nvPr/>
                </p:nvSpPr>
                <p:spPr bwMode="auto">
                  <a:xfrm>
                    <a:off x="1626" y="2005"/>
                    <a:ext cx="317" cy="451"/>
                  </a:xfrm>
                  <a:custGeom>
                    <a:avLst/>
                    <a:gdLst>
                      <a:gd name="T0" fmla="*/ 4337 w 296"/>
                      <a:gd name="T1" fmla="*/ 11081 h 429"/>
                      <a:gd name="T2" fmla="*/ 4975 w 296"/>
                      <a:gd name="T3" fmla="*/ 10026 h 429"/>
                      <a:gd name="T4" fmla="*/ 4337 w 296"/>
                      <a:gd name="T5" fmla="*/ 9671 h 429"/>
                      <a:gd name="T6" fmla="*/ 4034 w 296"/>
                      <a:gd name="T7" fmla="*/ 9463 h 429"/>
                      <a:gd name="T8" fmla="*/ 4337 w 296"/>
                      <a:gd name="T9" fmla="*/ 9184 h 429"/>
                      <a:gd name="T10" fmla="*/ 3531 w 296"/>
                      <a:gd name="T11" fmla="*/ 9184 h 429"/>
                      <a:gd name="T12" fmla="*/ 1552 w 296"/>
                      <a:gd name="T13" fmla="*/ 8951 h 429"/>
                      <a:gd name="T14" fmla="*/ 5 w 296"/>
                      <a:gd name="T15" fmla="*/ 8596 h 429"/>
                      <a:gd name="T16" fmla="*/ 0 w 296"/>
                      <a:gd name="T17" fmla="*/ 8420 h 429"/>
                      <a:gd name="T18" fmla="*/ 896 w 296"/>
                      <a:gd name="T19" fmla="*/ 7922 h 429"/>
                      <a:gd name="T20" fmla="*/ 1263 w 296"/>
                      <a:gd name="T21" fmla="*/ 7179 h 429"/>
                      <a:gd name="T22" fmla="*/ 2875 w 296"/>
                      <a:gd name="T23" fmla="*/ 6557 h 429"/>
                      <a:gd name="T24" fmla="*/ 4034 w 296"/>
                      <a:gd name="T25" fmla="*/ 6167 h 429"/>
                      <a:gd name="T26" fmla="*/ 7506 w 296"/>
                      <a:gd name="T27" fmla="*/ 6085 h 429"/>
                      <a:gd name="T28" fmla="*/ 8362 w 296"/>
                      <a:gd name="T29" fmla="*/ 6396 h 429"/>
                      <a:gd name="T30" fmla="*/ 10268 w 296"/>
                      <a:gd name="T31" fmla="*/ 6612 h 429"/>
                      <a:gd name="T32" fmla="*/ 10999 w 296"/>
                      <a:gd name="T33" fmla="*/ 6237 h 429"/>
                      <a:gd name="T34" fmla="*/ 12931 w 296"/>
                      <a:gd name="T35" fmla="*/ 5107 h 429"/>
                      <a:gd name="T36" fmla="*/ 14464 w 296"/>
                      <a:gd name="T37" fmla="*/ 4253 h 429"/>
                      <a:gd name="T38" fmla="*/ 15497 w 296"/>
                      <a:gd name="T39" fmla="*/ 3934 h 429"/>
                      <a:gd name="T40" fmla="*/ 16331 w 296"/>
                      <a:gd name="T41" fmla="*/ 2991 h 429"/>
                      <a:gd name="T42" fmla="*/ 17766 w 296"/>
                      <a:gd name="T43" fmla="*/ 2004 h 429"/>
                      <a:gd name="T44" fmla="*/ 18578 w 296"/>
                      <a:gd name="T45" fmla="*/ 1564 h 429"/>
                      <a:gd name="T46" fmla="*/ 20091 w 296"/>
                      <a:gd name="T47" fmla="*/ 1413 h 429"/>
                      <a:gd name="T48" fmla="*/ 21308 w 296"/>
                      <a:gd name="T49" fmla="*/ 497 h 429"/>
                      <a:gd name="T50" fmla="*/ 20867 w 296"/>
                      <a:gd name="T51" fmla="*/ 368 h 429"/>
                      <a:gd name="T52" fmla="*/ 20381 w 296"/>
                      <a:gd name="T53" fmla="*/ 302 h 429"/>
                      <a:gd name="T54" fmla="*/ 21997 w 296"/>
                      <a:gd name="T55" fmla="*/ 0 h 429"/>
                      <a:gd name="T56" fmla="*/ 22453 w 296"/>
                      <a:gd name="T57" fmla="*/ 497 h 429"/>
                      <a:gd name="T58" fmla="*/ 23031 w 296"/>
                      <a:gd name="T59" fmla="*/ 1222 h 429"/>
                      <a:gd name="T60" fmla="*/ 22820 w 296"/>
                      <a:gd name="T61" fmla="*/ 1817 h 429"/>
                      <a:gd name="T62" fmla="*/ 24439 w 296"/>
                      <a:gd name="T63" fmla="*/ 2711 h 429"/>
                      <a:gd name="T64" fmla="*/ 24259 w 296"/>
                      <a:gd name="T65" fmla="*/ 2991 h 429"/>
                      <a:gd name="T66" fmla="*/ 20892 w 296"/>
                      <a:gd name="T67" fmla="*/ 2862 h 429"/>
                      <a:gd name="T68" fmla="*/ 20091 w 296"/>
                      <a:gd name="T69" fmla="*/ 3063 h 429"/>
                      <a:gd name="T70" fmla="*/ 20892 w 296"/>
                      <a:gd name="T71" fmla="*/ 3839 h 429"/>
                      <a:gd name="T72" fmla="*/ 22820 w 296"/>
                      <a:gd name="T73" fmla="*/ 4061 h 429"/>
                      <a:gd name="T74" fmla="*/ 24068 w 296"/>
                      <a:gd name="T75" fmla="*/ 4805 h 429"/>
                      <a:gd name="T76" fmla="*/ 24639 w 296"/>
                      <a:gd name="T77" fmla="*/ 5506 h 429"/>
                      <a:gd name="T78" fmla="*/ 23376 w 296"/>
                      <a:gd name="T79" fmla="*/ 6362 h 429"/>
                      <a:gd name="T80" fmla="*/ 21589 w 296"/>
                      <a:gd name="T81" fmla="*/ 7072 h 429"/>
                      <a:gd name="T82" fmla="*/ 21822 w 296"/>
                      <a:gd name="T83" fmla="*/ 7934 h 429"/>
                      <a:gd name="T84" fmla="*/ 23031 w 296"/>
                      <a:gd name="T85" fmla="*/ 8852 h 429"/>
                      <a:gd name="T86" fmla="*/ 26814 w 296"/>
                      <a:gd name="T87" fmla="*/ 10400 h 429"/>
                      <a:gd name="T88" fmla="*/ 27340 w 296"/>
                      <a:gd name="T89" fmla="*/ 11410 h 429"/>
                      <a:gd name="T90" fmla="*/ 25229 w 296"/>
                      <a:gd name="T91" fmla="*/ 11259 h 429"/>
                      <a:gd name="T92" fmla="*/ 22820 w 296"/>
                      <a:gd name="T93" fmla="*/ 11093 h 429"/>
                      <a:gd name="T94" fmla="*/ 16596 w 296"/>
                      <a:gd name="T95" fmla="*/ 11029 h 429"/>
                      <a:gd name="T96" fmla="*/ 12011 w 296"/>
                      <a:gd name="T97" fmla="*/ 10994 h 429"/>
                      <a:gd name="T98" fmla="*/ 7506 w 296"/>
                      <a:gd name="T99" fmla="*/ 11029 h 429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296"/>
                      <a:gd name="T151" fmla="*/ 0 h 429"/>
                      <a:gd name="T152" fmla="*/ 296 w 296"/>
                      <a:gd name="T153" fmla="*/ 429 h 429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296" h="429">
                        <a:moveTo>
                          <a:pt x="82" y="406"/>
                        </a:moveTo>
                        <a:lnTo>
                          <a:pt x="52" y="406"/>
                        </a:lnTo>
                        <a:lnTo>
                          <a:pt x="48" y="408"/>
                        </a:lnTo>
                        <a:lnTo>
                          <a:pt x="52" y="385"/>
                        </a:lnTo>
                        <a:lnTo>
                          <a:pt x="55" y="373"/>
                        </a:lnTo>
                        <a:lnTo>
                          <a:pt x="55" y="369"/>
                        </a:lnTo>
                        <a:lnTo>
                          <a:pt x="56" y="367"/>
                        </a:lnTo>
                        <a:lnTo>
                          <a:pt x="53" y="362"/>
                        </a:lnTo>
                        <a:lnTo>
                          <a:pt x="48" y="357"/>
                        </a:lnTo>
                        <a:lnTo>
                          <a:pt x="48" y="354"/>
                        </a:lnTo>
                        <a:lnTo>
                          <a:pt x="44" y="350"/>
                        </a:lnTo>
                        <a:lnTo>
                          <a:pt x="44" y="348"/>
                        </a:lnTo>
                        <a:lnTo>
                          <a:pt x="46" y="347"/>
                        </a:lnTo>
                        <a:lnTo>
                          <a:pt x="48" y="343"/>
                        </a:lnTo>
                        <a:lnTo>
                          <a:pt x="48" y="338"/>
                        </a:lnTo>
                        <a:lnTo>
                          <a:pt x="44" y="336"/>
                        </a:lnTo>
                        <a:lnTo>
                          <a:pt x="41" y="336"/>
                        </a:lnTo>
                        <a:lnTo>
                          <a:pt x="39" y="338"/>
                        </a:lnTo>
                        <a:lnTo>
                          <a:pt x="36" y="340"/>
                        </a:lnTo>
                        <a:lnTo>
                          <a:pt x="22" y="334"/>
                        </a:lnTo>
                        <a:lnTo>
                          <a:pt x="18" y="328"/>
                        </a:lnTo>
                        <a:lnTo>
                          <a:pt x="14" y="317"/>
                        </a:lnTo>
                        <a:lnTo>
                          <a:pt x="8" y="317"/>
                        </a:lnTo>
                        <a:lnTo>
                          <a:pt x="5" y="317"/>
                        </a:lnTo>
                        <a:lnTo>
                          <a:pt x="1" y="316"/>
                        </a:lnTo>
                        <a:lnTo>
                          <a:pt x="1" y="311"/>
                        </a:lnTo>
                        <a:lnTo>
                          <a:pt x="0" y="310"/>
                        </a:lnTo>
                        <a:lnTo>
                          <a:pt x="0" y="304"/>
                        </a:lnTo>
                        <a:lnTo>
                          <a:pt x="5" y="300"/>
                        </a:lnTo>
                        <a:lnTo>
                          <a:pt x="10" y="293"/>
                        </a:lnTo>
                        <a:lnTo>
                          <a:pt x="11" y="287"/>
                        </a:lnTo>
                        <a:lnTo>
                          <a:pt x="13" y="277"/>
                        </a:lnTo>
                        <a:lnTo>
                          <a:pt x="15" y="266"/>
                        </a:lnTo>
                        <a:lnTo>
                          <a:pt x="22" y="255"/>
                        </a:lnTo>
                        <a:lnTo>
                          <a:pt x="27" y="247"/>
                        </a:lnTo>
                        <a:lnTo>
                          <a:pt x="32" y="242"/>
                        </a:lnTo>
                        <a:lnTo>
                          <a:pt x="41" y="239"/>
                        </a:lnTo>
                        <a:lnTo>
                          <a:pt x="43" y="227"/>
                        </a:lnTo>
                        <a:lnTo>
                          <a:pt x="44" y="227"/>
                        </a:lnTo>
                        <a:lnTo>
                          <a:pt x="55" y="227"/>
                        </a:lnTo>
                        <a:lnTo>
                          <a:pt x="70" y="224"/>
                        </a:lnTo>
                        <a:lnTo>
                          <a:pt x="82" y="225"/>
                        </a:lnTo>
                        <a:lnTo>
                          <a:pt x="89" y="232"/>
                        </a:lnTo>
                        <a:lnTo>
                          <a:pt x="91" y="234"/>
                        </a:lnTo>
                        <a:lnTo>
                          <a:pt x="91" y="236"/>
                        </a:lnTo>
                        <a:lnTo>
                          <a:pt x="94" y="237"/>
                        </a:lnTo>
                        <a:lnTo>
                          <a:pt x="101" y="242"/>
                        </a:lnTo>
                        <a:lnTo>
                          <a:pt x="110" y="243"/>
                        </a:lnTo>
                        <a:lnTo>
                          <a:pt x="116" y="240"/>
                        </a:lnTo>
                        <a:lnTo>
                          <a:pt x="118" y="236"/>
                        </a:lnTo>
                        <a:lnTo>
                          <a:pt x="119" y="230"/>
                        </a:lnTo>
                        <a:lnTo>
                          <a:pt x="132" y="208"/>
                        </a:lnTo>
                        <a:lnTo>
                          <a:pt x="139" y="192"/>
                        </a:lnTo>
                        <a:lnTo>
                          <a:pt x="141" y="188"/>
                        </a:lnTo>
                        <a:lnTo>
                          <a:pt x="144" y="177"/>
                        </a:lnTo>
                        <a:lnTo>
                          <a:pt x="148" y="166"/>
                        </a:lnTo>
                        <a:lnTo>
                          <a:pt x="155" y="157"/>
                        </a:lnTo>
                        <a:lnTo>
                          <a:pt x="166" y="153"/>
                        </a:lnTo>
                        <a:lnTo>
                          <a:pt x="168" y="150"/>
                        </a:lnTo>
                        <a:lnTo>
                          <a:pt x="168" y="145"/>
                        </a:lnTo>
                        <a:lnTo>
                          <a:pt x="170" y="136"/>
                        </a:lnTo>
                        <a:lnTo>
                          <a:pt x="176" y="118"/>
                        </a:lnTo>
                        <a:lnTo>
                          <a:pt x="177" y="109"/>
                        </a:lnTo>
                        <a:lnTo>
                          <a:pt x="179" y="102"/>
                        </a:lnTo>
                        <a:lnTo>
                          <a:pt x="186" y="90"/>
                        </a:lnTo>
                        <a:lnTo>
                          <a:pt x="191" y="73"/>
                        </a:lnTo>
                        <a:lnTo>
                          <a:pt x="193" y="68"/>
                        </a:lnTo>
                        <a:lnTo>
                          <a:pt x="196" y="64"/>
                        </a:lnTo>
                        <a:lnTo>
                          <a:pt x="202" y="58"/>
                        </a:lnTo>
                        <a:lnTo>
                          <a:pt x="206" y="56"/>
                        </a:lnTo>
                        <a:lnTo>
                          <a:pt x="217" y="52"/>
                        </a:lnTo>
                        <a:lnTo>
                          <a:pt x="218" y="51"/>
                        </a:lnTo>
                        <a:lnTo>
                          <a:pt x="232" y="41"/>
                        </a:lnTo>
                        <a:lnTo>
                          <a:pt x="231" y="32"/>
                        </a:lnTo>
                        <a:lnTo>
                          <a:pt x="231" y="20"/>
                        </a:lnTo>
                        <a:lnTo>
                          <a:pt x="230" y="16"/>
                        </a:lnTo>
                        <a:lnTo>
                          <a:pt x="228" y="15"/>
                        </a:lnTo>
                        <a:lnTo>
                          <a:pt x="226" y="14"/>
                        </a:lnTo>
                        <a:lnTo>
                          <a:pt x="220" y="11"/>
                        </a:lnTo>
                        <a:lnTo>
                          <a:pt x="218" y="10"/>
                        </a:lnTo>
                        <a:lnTo>
                          <a:pt x="221" y="10"/>
                        </a:lnTo>
                        <a:lnTo>
                          <a:pt x="227" y="0"/>
                        </a:lnTo>
                        <a:lnTo>
                          <a:pt x="233" y="0"/>
                        </a:lnTo>
                        <a:lnTo>
                          <a:pt x="239" y="0"/>
                        </a:lnTo>
                        <a:lnTo>
                          <a:pt x="240" y="0"/>
                        </a:lnTo>
                        <a:lnTo>
                          <a:pt x="240" y="1"/>
                        </a:lnTo>
                        <a:lnTo>
                          <a:pt x="244" y="20"/>
                        </a:lnTo>
                        <a:lnTo>
                          <a:pt x="247" y="26"/>
                        </a:lnTo>
                        <a:lnTo>
                          <a:pt x="251" y="32"/>
                        </a:lnTo>
                        <a:lnTo>
                          <a:pt x="249" y="46"/>
                        </a:lnTo>
                        <a:lnTo>
                          <a:pt x="247" y="54"/>
                        </a:lnTo>
                        <a:lnTo>
                          <a:pt x="247" y="61"/>
                        </a:lnTo>
                        <a:lnTo>
                          <a:pt x="247" y="67"/>
                        </a:lnTo>
                        <a:lnTo>
                          <a:pt x="252" y="81"/>
                        </a:lnTo>
                        <a:lnTo>
                          <a:pt x="264" y="95"/>
                        </a:lnTo>
                        <a:lnTo>
                          <a:pt x="265" y="100"/>
                        </a:lnTo>
                        <a:lnTo>
                          <a:pt x="266" y="106"/>
                        </a:lnTo>
                        <a:lnTo>
                          <a:pt x="265" y="109"/>
                        </a:lnTo>
                        <a:lnTo>
                          <a:pt x="263" y="109"/>
                        </a:lnTo>
                        <a:lnTo>
                          <a:pt x="247" y="106"/>
                        </a:lnTo>
                        <a:lnTo>
                          <a:pt x="237" y="105"/>
                        </a:lnTo>
                        <a:lnTo>
                          <a:pt x="227" y="106"/>
                        </a:lnTo>
                        <a:lnTo>
                          <a:pt x="224" y="107"/>
                        </a:lnTo>
                        <a:lnTo>
                          <a:pt x="221" y="109"/>
                        </a:lnTo>
                        <a:lnTo>
                          <a:pt x="218" y="113"/>
                        </a:lnTo>
                        <a:lnTo>
                          <a:pt x="218" y="123"/>
                        </a:lnTo>
                        <a:lnTo>
                          <a:pt x="220" y="131"/>
                        </a:lnTo>
                        <a:lnTo>
                          <a:pt x="227" y="141"/>
                        </a:lnTo>
                        <a:lnTo>
                          <a:pt x="232" y="145"/>
                        </a:lnTo>
                        <a:lnTo>
                          <a:pt x="239" y="147"/>
                        </a:lnTo>
                        <a:lnTo>
                          <a:pt x="247" y="150"/>
                        </a:lnTo>
                        <a:lnTo>
                          <a:pt x="249" y="151"/>
                        </a:lnTo>
                        <a:lnTo>
                          <a:pt x="254" y="157"/>
                        </a:lnTo>
                        <a:lnTo>
                          <a:pt x="262" y="177"/>
                        </a:lnTo>
                        <a:lnTo>
                          <a:pt x="264" y="189"/>
                        </a:lnTo>
                        <a:lnTo>
                          <a:pt x="265" y="202"/>
                        </a:lnTo>
                        <a:lnTo>
                          <a:pt x="266" y="204"/>
                        </a:lnTo>
                        <a:lnTo>
                          <a:pt x="268" y="205"/>
                        </a:lnTo>
                        <a:lnTo>
                          <a:pt x="261" y="224"/>
                        </a:lnTo>
                        <a:lnTo>
                          <a:pt x="254" y="234"/>
                        </a:lnTo>
                        <a:lnTo>
                          <a:pt x="247" y="245"/>
                        </a:lnTo>
                        <a:lnTo>
                          <a:pt x="241" y="255"/>
                        </a:lnTo>
                        <a:lnTo>
                          <a:pt x="234" y="263"/>
                        </a:lnTo>
                        <a:lnTo>
                          <a:pt x="233" y="273"/>
                        </a:lnTo>
                        <a:lnTo>
                          <a:pt x="236" y="283"/>
                        </a:lnTo>
                        <a:lnTo>
                          <a:pt x="236" y="294"/>
                        </a:lnTo>
                        <a:lnTo>
                          <a:pt x="236" y="306"/>
                        </a:lnTo>
                        <a:lnTo>
                          <a:pt x="243" y="317"/>
                        </a:lnTo>
                        <a:lnTo>
                          <a:pt x="249" y="326"/>
                        </a:lnTo>
                        <a:lnTo>
                          <a:pt x="268" y="359"/>
                        </a:lnTo>
                        <a:lnTo>
                          <a:pt x="274" y="369"/>
                        </a:lnTo>
                        <a:lnTo>
                          <a:pt x="292" y="382"/>
                        </a:lnTo>
                        <a:lnTo>
                          <a:pt x="296" y="380"/>
                        </a:lnTo>
                        <a:lnTo>
                          <a:pt x="295" y="390"/>
                        </a:lnTo>
                        <a:lnTo>
                          <a:pt x="296" y="420"/>
                        </a:lnTo>
                        <a:lnTo>
                          <a:pt x="294" y="427"/>
                        </a:lnTo>
                        <a:lnTo>
                          <a:pt x="292" y="429"/>
                        </a:lnTo>
                        <a:lnTo>
                          <a:pt x="274" y="416"/>
                        </a:lnTo>
                        <a:lnTo>
                          <a:pt x="268" y="416"/>
                        </a:lnTo>
                        <a:lnTo>
                          <a:pt x="258" y="413"/>
                        </a:lnTo>
                        <a:lnTo>
                          <a:pt x="247" y="411"/>
                        </a:lnTo>
                        <a:lnTo>
                          <a:pt x="240" y="406"/>
                        </a:lnTo>
                        <a:lnTo>
                          <a:pt x="186" y="406"/>
                        </a:lnTo>
                        <a:lnTo>
                          <a:pt x="180" y="406"/>
                        </a:lnTo>
                        <a:lnTo>
                          <a:pt x="155" y="405"/>
                        </a:lnTo>
                        <a:lnTo>
                          <a:pt x="144" y="403"/>
                        </a:lnTo>
                        <a:lnTo>
                          <a:pt x="130" y="405"/>
                        </a:lnTo>
                        <a:lnTo>
                          <a:pt x="119" y="403"/>
                        </a:lnTo>
                        <a:lnTo>
                          <a:pt x="109" y="406"/>
                        </a:lnTo>
                        <a:lnTo>
                          <a:pt x="82" y="406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0" name="Freeform 68"/>
                  <p:cNvSpPr>
                    <a:spLocks/>
                  </p:cNvSpPr>
                  <p:nvPr/>
                </p:nvSpPr>
                <p:spPr bwMode="auto">
                  <a:xfrm>
                    <a:off x="1736" y="2373"/>
                    <a:ext cx="314" cy="355"/>
                  </a:xfrm>
                  <a:custGeom>
                    <a:avLst/>
                    <a:gdLst>
                      <a:gd name="T0" fmla="*/ 4166 w 293"/>
                      <a:gd name="T1" fmla="*/ 8425 h 338"/>
                      <a:gd name="T2" fmla="*/ 2566 w 293"/>
                      <a:gd name="T3" fmla="*/ 8224 h 338"/>
                      <a:gd name="T4" fmla="*/ 1199 w 293"/>
                      <a:gd name="T5" fmla="*/ 7821 h 338"/>
                      <a:gd name="T6" fmla="*/ 0 w 293"/>
                      <a:gd name="T7" fmla="*/ 7553 h 338"/>
                      <a:gd name="T8" fmla="*/ 4 w 293"/>
                      <a:gd name="T9" fmla="*/ 7128 h 338"/>
                      <a:gd name="T10" fmla="*/ 1946 w 293"/>
                      <a:gd name="T11" fmla="*/ 7105 h 338"/>
                      <a:gd name="T12" fmla="*/ 1946 w 293"/>
                      <a:gd name="T13" fmla="*/ 6750 h 338"/>
                      <a:gd name="T14" fmla="*/ 1816 w 293"/>
                      <a:gd name="T15" fmla="*/ 6244 h 338"/>
                      <a:gd name="T16" fmla="*/ 2750 w 293"/>
                      <a:gd name="T17" fmla="*/ 5975 h 338"/>
                      <a:gd name="T18" fmla="*/ 5050 w 293"/>
                      <a:gd name="T19" fmla="*/ 5639 h 338"/>
                      <a:gd name="T20" fmla="*/ 6216 w 293"/>
                      <a:gd name="T21" fmla="*/ 5559 h 338"/>
                      <a:gd name="T22" fmla="*/ 8591 w 293"/>
                      <a:gd name="T23" fmla="*/ 5712 h 338"/>
                      <a:gd name="T24" fmla="*/ 10782 w 293"/>
                      <a:gd name="T25" fmla="*/ 5913 h 338"/>
                      <a:gd name="T26" fmla="*/ 11344 w 293"/>
                      <a:gd name="T27" fmla="*/ 4930 h 338"/>
                      <a:gd name="T28" fmla="*/ 11694 w 293"/>
                      <a:gd name="T29" fmla="*/ 4428 h 338"/>
                      <a:gd name="T30" fmla="*/ 10782 w 293"/>
                      <a:gd name="T31" fmla="*/ 3659 h 338"/>
                      <a:gd name="T32" fmla="*/ 11769 w 293"/>
                      <a:gd name="T33" fmla="*/ 2832 h 338"/>
                      <a:gd name="T34" fmla="*/ 11243 w 293"/>
                      <a:gd name="T35" fmla="*/ 2216 h 338"/>
                      <a:gd name="T36" fmla="*/ 8025 w 293"/>
                      <a:gd name="T37" fmla="*/ 2479 h 338"/>
                      <a:gd name="T38" fmla="*/ 7651 w 293"/>
                      <a:gd name="T39" fmla="*/ 2103 h 338"/>
                      <a:gd name="T40" fmla="*/ 7953 w 293"/>
                      <a:gd name="T41" fmla="*/ 1491 h 338"/>
                      <a:gd name="T42" fmla="*/ 13947 w 293"/>
                      <a:gd name="T43" fmla="*/ 1589 h 338"/>
                      <a:gd name="T44" fmla="*/ 16018 w 293"/>
                      <a:gd name="T45" fmla="*/ 1728 h 338"/>
                      <a:gd name="T46" fmla="*/ 18050 w 293"/>
                      <a:gd name="T47" fmla="*/ 2031 h 338"/>
                      <a:gd name="T48" fmla="*/ 18566 w 293"/>
                      <a:gd name="T49" fmla="*/ 1821 h 338"/>
                      <a:gd name="T50" fmla="*/ 18566 w 293"/>
                      <a:gd name="T51" fmla="*/ 831 h 338"/>
                      <a:gd name="T52" fmla="*/ 20288 w 293"/>
                      <a:gd name="T53" fmla="*/ 312 h 338"/>
                      <a:gd name="T54" fmla="*/ 23089 w 293"/>
                      <a:gd name="T55" fmla="*/ 0 h 338"/>
                      <a:gd name="T56" fmla="*/ 25568 w 293"/>
                      <a:gd name="T57" fmla="*/ 297 h 338"/>
                      <a:gd name="T58" fmla="*/ 27867 w 293"/>
                      <a:gd name="T59" fmla="*/ 4 h 338"/>
                      <a:gd name="T60" fmla="*/ 28279 w 293"/>
                      <a:gd name="T61" fmla="*/ 312 h 338"/>
                      <a:gd name="T62" fmla="*/ 26517 w 293"/>
                      <a:gd name="T63" fmla="*/ 1306 h 338"/>
                      <a:gd name="T64" fmla="*/ 25336 w 293"/>
                      <a:gd name="T65" fmla="*/ 2524 h 338"/>
                      <a:gd name="T66" fmla="*/ 24708 w 293"/>
                      <a:gd name="T67" fmla="*/ 4239 h 338"/>
                      <a:gd name="T68" fmla="*/ 23808 w 293"/>
                      <a:gd name="T69" fmla="*/ 4558 h 338"/>
                      <a:gd name="T70" fmla="*/ 21127 w 293"/>
                      <a:gd name="T71" fmla="*/ 5028 h 338"/>
                      <a:gd name="T72" fmla="*/ 18931 w 293"/>
                      <a:gd name="T73" fmla="*/ 6102 h 338"/>
                      <a:gd name="T74" fmla="*/ 18759 w 293"/>
                      <a:gd name="T75" fmla="*/ 6765 h 338"/>
                      <a:gd name="T76" fmla="*/ 17557 w 293"/>
                      <a:gd name="T77" fmla="*/ 7462 h 338"/>
                      <a:gd name="T78" fmla="*/ 15717 w 293"/>
                      <a:gd name="T79" fmla="*/ 7864 h 338"/>
                      <a:gd name="T80" fmla="*/ 12913 w 293"/>
                      <a:gd name="T81" fmla="*/ 8336 h 338"/>
                      <a:gd name="T82" fmla="*/ 11769 w 293"/>
                      <a:gd name="T83" fmla="*/ 7980 h 338"/>
                      <a:gd name="T84" fmla="*/ 10815 w 293"/>
                      <a:gd name="T85" fmla="*/ 7937 h 338"/>
                      <a:gd name="T86" fmla="*/ 9374 w 293"/>
                      <a:gd name="T87" fmla="*/ 8182 h 338"/>
                      <a:gd name="T88" fmla="*/ 8025 w 293"/>
                      <a:gd name="T89" fmla="*/ 8381 h 338"/>
                      <a:gd name="T90" fmla="*/ 6722 w 293"/>
                      <a:gd name="T91" fmla="*/ 8022 h 338"/>
                      <a:gd name="T92" fmla="*/ 5412 w 293"/>
                      <a:gd name="T93" fmla="*/ 8054 h 33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93"/>
                      <a:gd name="T142" fmla="*/ 0 h 338"/>
                      <a:gd name="T143" fmla="*/ 293 w 293"/>
                      <a:gd name="T144" fmla="*/ 338 h 33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93" h="338">
                        <a:moveTo>
                          <a:pt x="52" y="327"/>
                        </a:moveTo>
                        <a:lnTo>
                          <a:pt x="44" y="331"/>
                        </a:lnTo>
                        <a:lnTo>
                          <a:pt x="34" y="338"/>
                        </a:lnTo>
                        <a:lnTo>
                          <a:pt x="27" y="322"/>
                        </a:lnTo>
                        <a:lnTo>
                          <a:pt x="23" y="316"/>
                        </a:lnTo>
                        <a:lnTo>
                          <a:pt x="13" y="306"/>
                        </a:lnTo>
                        <a:lnTo>
                          <a:pt x="8" y="299"/>
                        </a:lnTo>
                        <a:lnTo>
                          <a:pt x="0" y="296"/>
                        </a:lnTo>
                        <a:lnTo>
                          <a:pt x="1" y="285"/>
                        </a:lnTo>
                        <a:lnTo>
                          <a:pt x="4" y="280"/>
                        </a:lnTo>
                        <a:lnTo>
                          <a:pt x="13" y="277"/>
                        </a:lnTo>
                        <a:lnTo>
                          <a:pt x="20" y="279"/>
                        </a:lnTo>
                        <a:lnTo>
                          <a:pt x="23" y="274"/>
                        </a:lnTo>
                        <a:lnTo>
                          <a:pt x="20" y="264"/>
                        </a:lnTo>
                        <a:lnTo>
                          <a:pt x="17" y="256"/>
                        </a:lnTo>
                        <a:lnTo>
                          <a:pt x="19" y="246"/>
                        </a:lnTo>
                        <a:lnTo>
                          <a:pt x="22" y="241"/>
                        </a:lnTo>
                        <a:lnTo>
                          <a:pt x="29" y="235"/>
                        </a:lnTo>
                        <a:lnTo>
                          <a:pt x="46" y="228"/>
                        </a:lnTo>
                        <a:lnTo>
                          <a:pt x="52" y="222"/>
                        </a:lnTo>
                        <a:lnTo>
                          <a:pt x="60" y="215"/>
                        </a:lnTo>
                        <a:lnTo>
                          <a:pt x="64" y="218"/>
                        </a:lnTo>
                        <a:lnTo>
                          <a:pt x="71" y="226"/>
                        </a:lnTo>
                        <a:lnTo>
                          <a:pt x="89" y="225"/>
                        </a:lnTo>
                        <a:lnTo>
                          <a:pt x="102" y="236"/>
                        </a:lnTo>
                        <a:lnTo>
                          <a:pt x="112" y="232"/>
                        </a:lnTo>
                        <a:lnTo>
                          <a:pt x="116" y="220"/>
                        </a:lnTo>
                        <a:lnTo>
                          <a:pt x="118" y="194"/>
                        </a:lnTo>
                        <a:lnTo>
                          <a:pt x="120" y="185"/>
                        </a:lnTo>
                        <a:lnTo>
                          <a:pt x="122" y="174"/>
                        </a:lnTo>
                        <a:lnTo>
                          <a:pt x="113" y="153"/>
                        </a:lnTo>
                        <a:lnTo>
                          <a:pt x="112" y="144"/>
                        </a:lnTo>
                        <a:lnTo>
                          <a:pt x="112" y="133"/>
                        </a:lnTo>
                        <a:lnTo>
                          <a:pt x="123" y="111"/>
                        </a:lnTo>
                        <a:lnTo>
                          <a:pt x="123" y="96"/>
                        </a:lnTo>
                        <a:lnTo>
                          <a:pt x="116" y="87"/>
                        </a:lnTo>
                        <a:lnTo>
                          <a:pt x="96" y="82"/>
                        </a:lnTo>
                        <a:lnTo>
                          <a:pt x="84" y="98"/>
                        </a:lnTo>
                        <a:lnTo>
                          <a:pt x="79" y="95"/>
                        </a:lnTo>
                        <a:lnTo>
                          <a:pt x="79" y="82"/>
                        </a:lnTo>
                        <a:lnTo>
                          <a:pt x="79" y="68"/>
                        </a:lnTo>
                        <a:lnTo>
                          <a:pt x="82" y="58"/>
                        </a:lnTo>
                        <a:lnTo>
                          <a:pt x="137" y="58"/>
                        </a:lnTo>
                        <a:lnTo>
                          <a:pt x="144" y="63"/>
                        </a:lnTo>
                        <a:lnTo>
                          <a:pt x="155" y="64"/>
                        </a:lnTo>
                        <a:lnTo>
                          <a:pt x="165" y="67"/>
                        </a:lnTo>
                        <a:lnTo>
                          <a:pt x="171" y="67"/>
                        </a:lnTo>
                        <a:lnTo>
                          <a:pt x="188" y="80"/>
                        </a:lnTo>
                        <a:lnTo>
                          <a:pt x="191" y="78"/>
                        </a:lnTo>
                        <a:lnTo>
                          <a:pt x="192" y="71"/>
                        </a:lnTo>
                        <a:lnTo>
                          <a:pt x="192" y="40"/>
                        </a:lnTo>
                        <a:lnTo>
                          <a:pt x="192" y="32"/>
                        </a:lnTo>
                        <a:lnTo>
                          <a:pt x="198" y="23"/>
                        </a:lnTo>
                        <a:lnTo>
                          <a:pt x="211" y="11"/>
                        </a:lnTo>
                        <a:lnTo>
                          <a:pt x="229" y="3"/>
                        </a:lnTo>
                        <a:lnTo>
                          <a:pt x="240" y="0"/>
                        </a:lnTo>
                        <a:lnTo>
                          <a:pt x="254" y="7"/>
                        </a:lnTo>
                        <a:lnTo>
                          <a:pt x="265" y="10"/>
                        </a:lnTo>
                        <a:lnTo>
                          <a:pt x="277" y="8"/>
                        </a:lnTo>
                        <a:lnTo>
                          <a:pt x="289" y="4"/>
                        </a:lnTo>
                        <a:lnTo>
                          <a:pt x="292" y="0"/>
                        </a:lnTo>
                        <a:lnTo>
                          <a:pt x="293" y="11"/>
                        </a:lnTo>
                        <a:lnTo>
                          <a:pt x="289" y="25"/>
                        </a:lnTo>
                        <a:lnTo>
                          <a:pt x="275" y="51"/>
                        </a:lnTo>
                        <a:lnTo>
                          <a:pt x="268" y="68"/>
                        </a:lnTo>
                        <a:lnTo>
                          <a:pt x="262" y="99"/>
                        </a:lnTo>
                        <a:lnTo>
                          <a:pt x="262" y="145"/>
                        </a:lnTo>
                        <a:lnTo>
                          <a:pt x="256" y="167"/>
                        </a:lnTo>
                        <a:lnTo>
                          <a:pt x="256" y="171"/>
                        </a:lnTo>
                        <a:lnTo>
                          <a:pt x="246" y="179"/>
                        </a:lnTo>
                        <a:lnTo>
                          <a:pt x="232" y="186"/>
                        </a:lnTo>
                        <a:lnTo>
                          <a:pt x="219" y="197"/>
                        </a:lnTo>
                        <a:lnTo>
                          <a:pt x="203" y="223"/>
                        </a:lnTo>
                        <a:lnTo>
                          <a:pt x="197" y="238"/>
                        </a:lnTo>
                        <a:lnTo>
                          <a:pt x="195" y="253"/>
                        </a:lnTo>
                        <a:lnTo>
                          <a:pt x="195" y="266"/>
                        </a:lnTo>
                        <a:lnTo>
                          <a:pt x="192" y="277"/>
                        </a:lnTo>
                        <a:lnTo>
                          <a:pt x="183" y="293"/>
                        </a:lnTo>
                        <a:lnTo>
                          <a:pt x="173" y="304"/>
                        </a:lnTo>
                        <a:lnTo>
                          <a:pt x="163" y="309"/>
                        </a:lnTo>
                        <a:lnTo>
                          <a:pt x="147" y="323"/>
                        </a:lnTo>
                        <a:lnTo>
                          <a:pt x="133" y="328"/>
                        </a:lnTo>
                        <a:lnTo>
                          <a:pt x="125" y="327"/>
                        </a:lnTo>
                        <a:lnTo>
                          <a:pt x="123" y="314"/>
                        </a:lnTo>
                        <a:lnTo>
                          <a:pt x="123" y="311"/>
                        </a:lnTo>
                        <a:lnTo>
                          <a:pt x="113" y="312"/>
                        </a:lnTo>
                        <a:lnTo>
                          <a:pt x="103" y="315"/>
                        </a:lnTo>
                        <a:lnTo>
                          <a:pt x="97" y="319"/>
                        </a:lnTo>
                        <a:lnTo>
                          <a:pt x="93" y="327"/>
                        </a:lnTo>
                        <a:lnTo>
                          <a:pt x="84" y="330"/>
                        </a:lnTo>
                        <a:lnTo>
                          <a:pt x="74" y="323"/>
                        </a:lnTo>
                        <a:lnTo>
                          <a:pt x="70" y="315"/>
                        </a:lnTo>
                        <a:lnTo>
                          <a:pt x="63" y="312"/>
                        </a:lnTo>
                        <a:lnTo>
                          <a:pt x="56" y="316"/>
                        </a:lnTo>
                        <a:lnTo>
                          <a:pt x="52" y="32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1" name="Freeform 69"/>
                  <p:cNvSpPr>
                    <a:spLocks/>
                  </p:cNvSpPr>
                  <p:nvPr/>
                </p:nvSpPr>
                <p:spPr bwMode="auto">
                  <a:xfrm>
                    <a:off x="1736" y="2373"/>
                    <a:ext cx="314" cy="355"/>
                  </a:xfrm>
                  <a:custGeom>
                    <a:avLst/>
                    <a:gdLst>
                      <a:gd name="T0" fmla="*/ 4166 w 293"/>
                      <a:gd name="T1" fmla="*/ 8425 h 338"/>
                      <a:gd name="T2" fmla="*/ 2566 w 293"/>
                      <a:gd name="T3" fmla="*/ 8224 h 338"/>
                      <a:gd name="T4" fmla="*/ 1199 w 293"/>
                      <a:gd name="T5" fmla="*/ 7821 h 338"/>
                      <a:gd name="T6" fmla="*/ 0 w 293"/>
                      <a:gd name="T7" fmla="*/ 7553 h 338"/>
                      <a:gd name="T8" fmla="*/ 4 w 293"/>
                      <a:gd name="T9" fmla="*/ 7128 h 338"/>
                      <a:gd name="T10" fmla="*/ 1946 w 293"/>
                      <a:gd name="T11" fmla="*/ 7105 h 338"/>
                      <a:gd name="T12" fmla="*/ 1946 w 293"/>
                      <a:gd name="T13" fmla="*/ 6750 h 338"/>
                      <a:gd name="T14" fmla="*/ 1816 w 293"/>
                      <a:gd name="T15" fmla="*/ 6244 h 338"/>
                      <a:gd name="T16" fmla="*/ 2750 w 293"/>
                      <a:gd name="T17" fmla="*/ 5975 h 338"/>
                      <a:gd name="T18" fmla="*/ 5050 w 293"/>
                      <a:gd name="T19" fmla="*/ 5639 h 338"/>
                      <a:gd name="T20" fmla="*/ 6216 w 293"/>
                      <a:gd name="T21" fmla="*/ 5559 h 338"/>
                      <a:gd name="T22" fmla="*/ 8591 w 293"/>
                      <a:gd name="T23" fmla="*/ 5712 h 338"/>
                      <a:gd name="T24" fmla="*/ 10782 w 293"/>
                      <a:gd name="T25" fmla="*/ 5913 h 338"/>
                      <a:gd name="T26" fmla="*/ 11344 w 293"/>
                      <a:gd name="T27" fmla="*/ 4930 h 338"/>
                      <a:gd name="T28" fmla="*/ 11694 w 293"/>
                      <a:gd name="T29" fmla="*/ 4428 h 338"/>
                      <a:gd name="T30" fmla="*/ 10782 w 293"/>
                      <a:gd name="T31" fmla="*/ 3659 h 338"/>
                      <a:gd name="T32" fmla="*/ 11769 w 293"/>
                      <a:gd name="T33" fmla="*/ 2832 h 338"/>
                      <a:gd name="T34" fmla="*/ 11243 w 293"/>
                      <a:gd name="T35" fmla="*/ 2216 h 338"/>
                      <a:gd name="T36" fmla="*/ 8025 w 293"/>
                      <a:gd name="T37" fmla="*/ 2479 h 338"/>
                      <a:gd name="T38" fmla="*/ 7651 w 293"/>
                      <a:gd name="T39" fmla="*/ 2103 h 338"/>
                      <a:gd name="T40" fmla="*/ 7953 w 293"/>
                      <a:gd name="T41" fmla="*/ 1491 h 338"/>
                      <a:gd name="T42" fmla="*/ 13947 w 293"/>
                      <a:gd name="T43" fmla="*/ 1589 h 338"/>
                      <a:gd name="T44" fmla="*/ 16018 w 293"/>
                      <a:gd name="T45" fmla="*/ 1728 h 338"/>
                      <a:gd name="T46" fmla="*/ 18050 w 293"/>
                      <a:gd name="T47" fmla="*/ 2031 h 338"/>
                      <a:gd name="T48" fmla="*/ 18566 w 293"/>
                      <a:gd name="T49" fmla="*/ 1821 h 338"/>
                      <a:gd name="T50" fmla="*/ 18566 w 293"/>
                      <a:gd name="T51" fmla="*/ 831 h 338"/>
                      <a:gd name="T52" fmla="*/ 20288 w 293"/>
                      <a:gd name="T53" fmla="*/ 312 h 338"/>
                      <a:gd name="T54" fmla="*/ 23089 w 293"/>
                      <a:gd name="T55" fmla="*/ 0 h 338"/>
                      <a:gd name="T56" fmla="*/ 25568 w 293"/>
                      <a:gd name="T57" fmla="*/ 297 h 338"/>
                      <a:gd name="T58" fmla="*/ 27867 w 293"/>
                      <a:gd name="T59" fmla="*/ 4 h 338"/>
                      <a:gd name="T60" fmla="*/ 28279 w 293"/>
                      <a:gd name="T61" fmla="*/ 312 h 338"/>
                      <a:gd name="T62" fmla="*/ 26517 w 293"/>
                      <a:gd name="T63" fmla="*/ 1306 h 338"/>
                      <a:gd name="T64" fmla="*/ 25336 w 293"/>
                      <a:gd name="T65" fmla="*/ 2524 h 338"/>
                      <a:gd name="T66" fmla="*/ 24708 w 293"/>
                      <a:gd name="T67" fmla="*/ 4239 h 338"/>
                      <a:gd name="T68" fmla="*/ 23808 w 293"/>
                      <a:gd name="T69" fmla="*/ 4558 h 338"/>
                      <a:gd name="T70" fmla="*/ 21127 w 293"/>
                      <a:gd name="T71" fmla="*/ 5028 h 338"/>
                      <a:gd name="T72" fmla="*/ 18931 w 293"/>
                      <a:gd name="T73" fmla="*/ 6102 h 338"/>
                      <a:gd name="T74" fmla="*/ 18759 w 293"/>
                      <a:gd name="T75" fmla="*/ 6765 h 338"/>
                      <a:gd name="T76" fmla="*/ 17557 w 293"/>
                      <a:gd name="T77" fmla="*/ 7462 h 338"/>
                      <a:gd name="T78" fmla="*/ 15717 w 293"/>
                      <a:gd name="T79" fmla="*/ 7864 h 338"/>
                      <a:gd name="T80" fmla="*/ 12913 w 293"/>
                      <a:gd name="T81" fmla="*/ 8336 h 338"/>
                      <a:gd name="T82" fmla="*/ 11769 w 293"/>
                      <a:gd name="T83" fmla="*/ 7980 h 338"/>
                      <a:gd name="T84" fmla="*/ 10815 w 293"/>
                      <a:gd name="T85" fmla="*/ 7937 h 338"/>
                      <a:gd name="T86" fmla="*/ 9374 w 293"/>
                      <a:gd name="T87" fmla="*/ 8182 h 338"/>
                      <a:gd name="T88" fmla="*/ 8025 w 293"/>
                      <a:gd name="T89" fmla="*/ 8381 h 338"/>
                      <a:gd name="T90" fmla="*/ 6722 w 293"/>
                      <a:gd name="T91" fmla="*/ 8022 h 338"/>
                      <a:gd name="T92" fmla="*/ 5412 w 293"/>
                      <a:gd name="T93" fmla="*/ 8054 h 33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93"/>
                      <a:gd name="T142" fmla="*/ 0 h 338"/>
                      <a:gd name="T143" fmla="*/ 293 w 293"/>
                      <a:gd name="T144" fmla="*/ 338 h 33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93" h="338">
                        <a:moveTo>
                          <a:pt x="52" y="327"/>
                        </a:moveTo>
                        <a:lnTo>
                          <a:pt x="44" y="331"/>
                        </a:lnTo>
                        <a:lnTo>
                          <a:pt x="34" y="338"/>
                        </a:lnTo>
                        <a:lnTo>
                          <a:pt x="27" y="322"/>
                        </a:lnTo>
                        <a:lnTo>
                          <a:pt x="23" y="316"/>
                        </a:lnTo>
                        <a:lnTo>
                          <a:pt x="13" y="306"/>
                        </a:lnTo>
                        <a:lnTo>
                          <a:pt x="8" y="299"/>
                        </a:lnTo>
                        <a:lnTo>
                          <a:pt x="0" y="296"/>
                        </a:lnTo>
                        <a:lnTo>
                          <a:pt x="1" y="285"/>
                        </a:lnTo>
                        <a:lnTo>
                          <a:pt x="4" y="280"/>
                        </a:lnTo>
                        <a:lnTo>
                          <a:pt x="13" y="277"/>
                        </a:lnTo>
                        <a:lnTo>
                          <a:pt x="20" y="279"/>
                        </a:lnTo>
                        <a:lnTo>
                          <a:pt x="23" y="274"/>
                        </a:lnTo>
                        <a:lnTo>
                          <a:pt x="20" y="264"/>
                        </a:lnTo>
                        <a:lnTo>
                          <a:pt x="17" y="256"/>
                        </a:lnTo>
                        <a:lnTo>
                          <a:pt x="19" y="246"/>
                        </a:lnTo>
                        <a:lnTo>
                          <a:pt x="22" y="241"/>
                        </a:lnTo>
                        <a:lnTo>
                          <a:pt x="29" y="235"/>
                        </a:lnTo>
                        <a:lnTo>
                          <a:pt x="46" y="228"/>
                        </a:lnTo>
                        <a:lnTo>
                          <a:pt x="52" y="222"/>
                        </a:lnTo>
                        <a:lnTo>
                          <a:pt x="60" y="215"/>
                        </a:lnTo>
                        <a:lnTo>
                          <a:pt x="64" y="218"/>
                        </a:lnTo>
                        <a:lnTo>
                          <a:pt x="71" y="226"/>
                        </a:lnTo>
                        <a:lnTo>
                          <a:pt x="89" y="225"/>
                        </a:lnTo>
                        <a:lnTo>
                          <a:pt x="102" y="236"/>
                        </a:lnTo>
                        <a:lnTo>
                          <a:pt x="112" y="232"/>
                        </a:lnTo>
                        <a:lnTo>
                          <a:pt x="116" y="220"/>
                        </a:lnTo>
                        <a:lnTo>
                          <a:pt x="118" y="194"/>
                        </a:lnTo>
                        <a:lnTo>
                          <a:pt x="120" y="185"/>
                        </a:lnTo>
                        <a:lnTo>
                          <a:pt x="122" y="174"/>
                        </a:lnTo>
                        <a:lnTo>
                          <a:pt x="113" y="153"/>
                        </a:lnTo>
                        <a:lnTo>
                          <a:pt x="112" y="144"/>
                        </a:lnTo>
                        <a:lnTo>
                          <a:pt x="112" y="133"/>
                        </a:lnTo>
                        <a:lnTo>
                          <a:pt x="123" y="111"/>
                        </a:lnTo>
                        <a:lnTo>
                          <a:pt x="123" y="96"/>
                        </a:lnTo>
                        <a:lnTo>
                          <a:pt x="116" y="87"/>
                        </a:lnTo>
                        <a:lnTo>
                          <a:pt x="96" y="82"/>
                        </a:lnTo>
                        <a:lnTo>
                          <a:pt x="84" y="98"/>
                        </a:lnTo>
                        <a:lnTo>
                          <a:pt x="79" y="95"/>
                        </a:lnTo>
                        <a:lnTo>
                          <a:pt x="79" y="82"/>
                        </a:lnTo>
                        <a:lnTo>
                          <a:pt x="79" y="68"/>
                        </a:lnTo>
                        <a:lnTo>
                          <a:pt x="82" y="58"/>
                        </a:lnTo>
                        <a:lnTo>
                          <a:pt x="137" y="58"/>
                        </a:lnTo>
                        <a:lnTo>
                          <a:pt x="144" y="63"/>
                        </a:lnTo>
                        <a:lnTo>
                          <a:pt x="155" y="64"/>
                        </a:lnTo>
                        <a:lnTo>
                          <a:pt x="165" y="67"/>
                        </a:lnTo>
                        <a:lnTo>
                          <a:pt x="171" y="67"/>
                        </a:lnTo>
                        <a:lnTo>
                          <a:pt x="188" y="80"/>
                        </a:lnTo>
                        <a:lnTo>
                          <a:pt x="191" y="78"/>
                        </a:lnTo>
                        <a:lnTo>
                          <a:pt x="192" y="71"/>
                        </a:lnTo>
                        <a:lnTo>
                          <a:pt x="192" y="40"/>
                        </a:lnTo>
                        <a:lnTo>
                          <a:pt x="192" y="32"/>
                        </a:lnTo>
                        <a:lnTo>
                          <a:pt x="198" y="23"/>
                        </a:lnTo>
                        <a:lnTo>
                          <a:pt x="211" y="11"/>
                        </a:lnTo>
                        <a:lnTo>
                          <a:pt x="229" y="3"/>
                        </a:lnTo>
                        <a:lnTo>
                          <a:pt x="240" y="0"/>
                        </a:lnTo>
                        <a:lnTo>
                          <a:pt x="254" y="7"/>
                        </a:lnTo>
                        <a:lnTo>
                          <a:pt x="265" y="10"/>
                        </a:lnTo>
                        <a:lnTo>
                          <a:pt x="277" y="8"/>
                        </a:lnTo>
                        <a:lnTo>
                          <a:pt x="289" y="4"/>
                        </a:lnTo>
                        <a:lnTo>
                          <a:pt x="292" y="0"/>
                        </a:lnTo>
                        <a:lnTo>
                          <a:pt x="293" y="11"/>
                        </a:lnTo>
                        <a:lnTo>
                          <a:pt x="289" y="25"/>
                        </a:lnTo>
                        <a:lnTo>
                          <a:pt x="275" y="51"/>
                        </a:lnTo>
                        <a:lnTo>
                          <a:pt x="268" y="68"/>
                        </a:lnTo>
                        <a:lnTo>
                          <a:pt x="262" y="99"/>
                        </a:lnTo>
                        <a:lnTo>
                          <a:pt x="262" y="145"/>
                        </a:lnTo>
                        <a:lnTo>
                          <a:pt x="256" y="167"/>
                        </a:lnTo>
                        <a:lnTo>
                          <a:pt x="256" y="171"/>
                        </a:lnTo>
                        <a:lnTo>
                          <a:pt x="246" y="179"/>
                        </a:lnTo>
                        <a:lnTo>
                          <a:pt x="232" y="186"/>
                        </a:lnTo>
                        <a:lnTo>
                          <a:pt x="219" y="197"/>
                        </a:lnTo>
                        <a:lnTo>
                          <a:pt x="203" y="223"/>
                        </a:lnTo>
                        <a:lnTo>
                          <a:pt x="197" y="238"/>
                        </a:lnTo>
                        <a:lnTo>
                          <a:pt x="195" y="253"/>
                        </a:lnTo>
                        <a:lnTo>
                          <a:pt x="195" y="266"/>
                        </a:lnTo>
                        <a:lnTo>
                          <a:pt x="192" y="277"/>
                        </a:lnTo>
                        <a:lnTo>
                          <a:pt x="183" y="293"/>
                        </a:lnTo>
                        <a:lnTo>
                          <a:pt x="173" y="304"/>
                        </a:lnTo>
                        <a:lnTo>
                          <a:pt x="163" y="309"/>
                        </a:lnTo>
                        <a:lnTo>
                          <a:pt x="147" y="323"/>
                        </a:lnTo>
                        <a:lnTo>
                          <a:pt x="133" y="328"/>
                        </a:lnTo>
                        <a:lnTo>
                          <a:pt x="125" y="327"/>
                        </a:lnTo>
                        <a:lnTo>
                          <a:pt x="123" y="314"/>
                        </a:lnTo>
                        <a:lnTo>
                          <a:pt x="123" y="311"/>
                        </a:lnTo>
                        <a:lnTo>
                          <a:pt x="113" y="312"/>
                        </a:lnTo>
                        <a:lnTo>
                          <a:pt x="103" y="315"/>
                        </a:lnTo>
                        <a:lnTo>
                          <a:pt x="97" y="319"/>
                        </a:lnTo>
                        <a:lnTo>
                          <a:pt x="93" y="327"/>
                        </a:lnTo>
                        <a:lnTo>
                          <a:pt x="84" y="330"/>
                        </a:lnTo>
                        <a:lnTo>
                          <a:pt x="74" y="323"/>
                        </a:lnTo>
                        <a:lnTo>
                          <a:pt x="70" y="315"/>
                        </a:lnTo>
                        <a:lnTo>
                          <a:pt x="63" y="312"/>
                        </a:lnTo>
                        <a:lnTo>
                          <a:pt x="56" y="316"/>
                        </a:lnTo>
                        <a:lnTo>
                          <a:pt x="52" y="327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2" name="Freeform 70"/>
                  <p:cNvSpPr>
                    <a:spLocks/>
                  </p:cNvSpPr>
                  <p:nvPr/>
                </p:nvSpPr>
                <p:spPr bwMode="auto">
                  <a:xfrm>
                    <a:off x="1664" y="2434"/>
                    <a:ext cx="78" cy="49"/>
                  </a:xfrm>
                  <a:custGeom>
                    <a:avLst/>
                    <a:gdLst>
                      <a:gd name="T0" fmla="*/ 5750 w 73"/>
                      <a:gd name="T1" fmla="*/ 628 h 47"/>
                      <a:gd name="T2" fmla="*/ 1928 w 73"/>
                      <a:gd name="T3" fmla="*/ 655 h 47"/>
                      <a:gd name="T4" fmla="*/ 761 w 73"/>
                      <a:gd name="T5" fmla="*/ 731 h 47"/>
                      <a:gd name="T6" fmla="*/ 761 w 73"/>
                      <a:gd name="T7" fmla="*/ 683 h 47"/>
                      <a:gd name="T8" fmla="*/ 0 w 73"/>
                      <a:gd name="T9" fmla="*/ 594 h 47"/>
                      <a:gd name="T10" fmla="*/ 712 w 73"/>
                      <a:gd name="T11" fmla="*/ 364 h 47"/>
                      <a:gd name="T12" fmla="*/ 761 w 73"/>
                      <a:gd name="T13" fmla="*/ 260 h 47"/>
                      <a:gd name="T14" fmla="*/ 993 w 73"/>
                      <a:gd name="T15" fmla="*/ 8 h 47"/>
                      <a:gd name="T16" fmla="*/ 993 w 73"/>
                      <a:gd name="T17" fmla="*/ 2 h 47"/>
                      <a:gd name="T18" fmla="*/ 1212 w 73"/>
                      <a:gd name="T19" fmla="*/ 0 h 47"/>
                      <a:gd name="T20" fmla="*/ 3615 w 73"/>
                      <a:gd name="T21" fmla="*/ 0 h 47"/>
                      <a:gd name="T22" fmla="*/ 5750 w 73"/>
                      <a:gd name="T23" fmla="*/ 0 h 47"/>
                      <a:gd name="T24" fmla="*/ 5573 w 73"/>
                      <a:gd name="T25" fmla="*/ 10 h 47"/>
                      <a:gd name="T26" fmla="*/ 5573 w 73"/>
                      <a:gd name="T27" fmla="*/ 395 h 47"/>
                      <a:gd name="T28" fmla="*/ 5648 w 73"/>
                      <a:gd name="T29" fmla="*/ 628 h 47"/>
                      <a:gd name="T30" fmla="*/ 5750 w 73"/>
                      <a:gd name="T31" fmla="*/ 628 h 4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73"/>
                      <a:gd name="T49" fmla="*/ 0 h 47"/>
                      <a:gd name="T50" fmla="*/ 73 w 73"/>
                      <a:gd name="T51" fmla="*/ 47 h 4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73" h="47">
                        <a:moveTo>
                          <a:pt x="73" y="40"/>
                        </a:moveTo>
                        <a:lnTo>
                          <a:pt x="24" y="42"/>
                        </a:lnTo>
                        <a:lnTo>
                          <a:pt x="9" y="47"/>
                        </a:lnTo>
                        <a:lnTo>
                          <a:pt x="9" y="44"/>
                        </a:lnTo>
                        <a:lnTo>
                          <a:pt x="0" y="37"/>
                        </a:lnTo>
                        <a:lnTo>
                          <a:pt x="8" y="25"/>
                        </a:lnTo>
                        <a:lnTo>
                          <a:pt x="9" y="17"/>
                        </a:lnTo>
                        <a:lnTo>
                          <a:pt x="13" y="8"/>
                        </a:lnTo>
                        <a:lnTo>
                          <a:pt x="13" y="2"/>
                        </a:lnTo>
                        <a:lnTo>
                          <a:pt x="16" y="0"/>
                        </a:lnTo>
                        <a:lnTo>
                          <a:pt x="46" y="0"/>
                        </a:lnTo>
                        <a:lnTo>
                          <a:pt x="73" y="0"/>
                        </a:lnTo>
                        <a:lnTo>
                          <a:pt x="70" y="10"/>
                        </a:lnTo>
                        <a:lnTo>
                          <a:pt x="70" y="27"/>
                        </a:lnTo>
                        <a:lnTo>
                          <a:pt x="72" y="40"/>
                        </a:lnTo>
                        <a:lnTo>
                          <a:pt x="73" y="4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3" name="Freeform 71"/>
                  <p:cNvSpPr>
                    <a:spLocks/>
                  </p:cNvSpPr>
                  <p:nvPr/>
                </p:nvSpPr>
                <p:spPr bwMode="auto">
                  <a:xfrm>
                    <a:off x="1664" y="2434"/>
                    <a:ext cx="78" cy="49"/>
                  </a:xfrm>
                  <a:custGeom>
                    <a:avLst/>
                    <a:gdLst>
                      <a:gd name="T0" fmla="*/ 5750 w 73"/>
                      <a:gd name="T1" fmla="*/ 628 h 47"/>
                      <a:gd name="T2" fmla="*/ 1928 w 73"/>
                      <a:gd name="T3" fmla="*/ 655 h 47"/>
                      <a:gd name="T4" fmla="*/ 761 w 73"/>
                      <a:gd name="T5" fmla="*/ 731 h 47"/>
                      <a:gd name="T6" fmla="*/ 761 w 73"/>
                      <a:gd name="T7" fmla="*/ 683 h 47"/>
                      <a:gd name="T8" fmla="*/ 0 w 73"/>
                      <a:gd name="T9" fmla="*/ 594 h 47"/>
                      <a:gd name="T10" fmla="*/ 712 w 73"/>
                      <a:gd name="T11" fmla="*/ 364 h 47"/>
                      <a:gd name="T12" fmla="*/ 761 w 73"/>
                      <a:gd name="T13" fmla="*/ 260 h 47"/>
                      <a:gd name="T14" fmla="*/ 993 w 73"/>
                      <a:gd name="T15" fmla="*/ 8 h 47"/>
                      <a:gd name="T16" fmla="*/ 993 w 73"/>
                      <a:gd name="T17" fmla="*/ 2 h 47"/>
                      <a:gd name="T18" fmla="*/ 1212 w 73"/>
                      <a:gd name="T19" fmla="*/ 0 h 47"/>
                      <a:gd name="T20" fmla="*/ 3615 w 73"/>
                      <a:gd name="T21" fmla="*/ 0 h 47"/>
                      <a:gd name="T22" fmla="*/ 5750 w 73"/>
                      <a:gd name="T23" fmla="*/ 0 h 47"/>
                      <a:gd name="T24" fmla="*/ 5573 w 73"/>
                      <a:gd name="T25" fmla="*/ 10 h 47"/>
                      <a:gd name="T26" fmla="*/ 5573 w 73"/>
                      <a:gd name="T27" fmla="*/ 395 h 47"/>
                      <a:gd name="T28" fmla="*/ 5648 w 73"/>
                      <a:gd name="T29" fmla="*/ 628 h 47"/>
                      <a:gd name="T30" fmla="*/ 5750 w 73"/>
                      <a:gd name="T31" fmla="*/ 628 h 47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w 73"/>
                      <a:gd name="T49" fmla="*/ 0 h 47"/>
                      <a:gd name="T50" fmla="*/ 73 w 73"/>
                      <a:gd name="T51" fmla="*/ 47 h 47"/>
                    </a:gdLst>
                    <a:ahLst/>
                    <a:cxnLst>
                      <a:cxn ang="T32">
                        <a:pos x="T0" y="T1"/>
                      </a:cxn>
                      <a:cxn ang="T33">
                        <a:pos x="T2" y="T3"/>
                      </a:cxn>
                      <a:cxn ang="T34">
                        <a:pos x="T4" y="T5"/>
                      </a:cxn>
                      <a:cxn ang="T35">
                        <a:pos x="T6" y="T7"/>
                      </a:cxn>
                      <a:cxn ang="T36">
                        <a:pos x="T8" y="T9"/>
                      </a:cxn>
                      <a:cxn ang="T37">
                        <a:pos x="T10" y="T11"/>
                      </a:cxn>
                      <a:cxn ang="T38">
                        <a:pos x="T12" y="T13"/>
                      </a:cxn>
                      <a:cxn ang="T39">
                        <a:pos x="T14" y="T15"/>
                      </a:cxn>
                      <a:cxn ang="T40">
                        <a:pos x="T16" y="T17"/>
                      </a:cxn>
                      <a:cxn ang="T41">
                        <a:pos x="T18" y="T19"/>
                      </a:cxn>
                      <a:cxn ang="T42">
                        <a:pos x="T20" y="T21"/>
                      </a:cxn>
                      <a:cxn ang="T43">
                        <a:pos x="T22" y="T23"/>
                      </a:cxn>
                      <a:cxn ang="T44">
                        <a:pos x="T24" y="T25"/>
                      </a:cxn>
                      <a:cxn ang="T45">
                        <a:pos x="T26" y="T27"/>
                      </a:cxn>
                      <a:cxn ang="T46">
                        <a:pos x="T28" y="T29"/>
                      </a:cxn>
                      <a:cxn ang="T47">
                        <a:pos x="T30" y="T31"/>
                      </a:cxn>
                    </a:cxnLst>
                    <a:rect l="T48" t="T49" r="T50" b="T51"/>
                    <a:pathLst>
                      <a:path w="73" h="47">
                        <a:moveTo>
                          <a:pt x="73" y="40"/>
                        </a:moveTo>
                        <a:lnTo>
                          <a:pt x="24" y="42"/>
                        </a:lnTo>
                        <a:lnTo>
                          <a:pt x="9" y="47"/>
                        </a:lnTo>
                        <a:lnTo>
                          <a:pt x="9" y="44"/>
                        </a:lnTo>
                        <a:lnTo>
                          <a:pt x="0" y="37"/>
                        </a:lnTo>
                        <a:lnTo>
                          <a:pt x="8" y="25"/>
                        </a:lnTo>
                        <a:lnTo>
                          <a:pt x="9" y="17"/>
                        </a:lnTo>
                        <a:lnTo>
                          <a:pt x="13" y="8"/>
                        </a:lnTo>
                        <a:lnTo>
                          <a:pt x="13" y="2"/>
                        </a:lnTo>
                        <a:lnTo>
                          <a:pt x="16" y="0"/>
                        </a:lnTo>
                        <a:lnTo>
                          <a:pt x="46" y="0"/>
                        </a:lnTo>
                        <a:lnTo>
                          <a:pt x="73" y="0"/>
                        </a:lnTo>
                        <a:lnTo>
                          <a:pt x="70" y="10"/>
                        </a:lnTo>
                        <a:lnTo>
                          <a:pt x="70" y="27"/>
                        </a:lnTo>
                        <a:lnTo>
                          <a:pt x="72" y="40"/>
                        </a:lnTo>
                        <a:lnTo>
                          <a:pt x="73" y="4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4" name="Freeform 72"/>
                  <p:cNvSpPr>
                    <a:spLocks/>
                  </p:cNvSpPr>
                  <p:nvPr/>
                </p:nvSpPr>
                <p:spPr bwMode="auto">
                  <a:xfrm>
                    <a:off x="1775" y="2704"/>
                    <a:ext cx="41" cy="55"/>
                  </a:xfrm>
                  <a:custGeom>
                    <a:avLst/>
                    <a:gdLst>
                      <a:gd name="T0" fmla="*/ 2564 w 38"/>
                      <a:gd name="T1" fmla="*/ 483 h 53"/>
                      <a:gd name="T2" fmla="*/ 2564 w 38"/>
                      <a:gd name="T3" fmla="*/ 562 h 53"/>
                      <a:gd name="T4" fmla="*/ 1626 w 38"/>
                      <a:gd name="T5" fmla="*/ 603 h 53"/>
                      <a:gd name="T6" fmla="*/ 6 w 38"/>
                      <a:gd name="T7" fmla="*/ 542 h 53"/>
                      <a:gd name="T8" fmla="*/ 4 w 38"/>
                      <a:gd name="T9" fmla="*/ 501 h 53"/>
                      <a:gd name="T10" fmla="*/ 4 w 38"/>
                      <a:gd name="T11" fmla="*/ 418 h 53"/>
                      <a:gd name="T12" fmla="*/ 2 w 38"/>
                      <a:gd name="T13" fmla="*/ 299 h 53"/>
                      <a:gd name="T14" fmla="*/ 0 w 38"/>
                      <a:gd name="T15" fmla="*/ 258 h 53"/>
                      <a:gd name="T16" fmla="*/ 1397 w 38"/>
                      <a:gd name="T17" fmla="*/ 199 h 53"/>
                      <a:gd name="T18" fmla="*/ 2376 w 38"/>
                      <a:gd name="T19" fmla="*/ 12 h 53"/>
                      <a:gd name="T20" fmla="*/ 3220 w 38"/>
                      <a:gd name="T21" fmla="*/ 2 h 53"/>
                      <a:gd name="T22" fmla="*/ 4044 w 38"/>
                      <a:gd name="T23" fmla="*/ 0 h 53"/>
                      <a:gd name="T24" fmla="*/ 5101 w 38"/>
                      <a:gd name="T25" fmla="*/ 1 h 53"/>
                      <a:gd name="T26" fmla="*/ 5654 w 38"/>
                      <a:gd name="T27" fmla="*/ 9 h 53"/>
                      <a:gd name="T28" fmla="*/ 5101 w 38"/>
                      <a:gd name="T29" fmla="*/ 11 h 53"/>
                      <a:gd name="T30" fmla="*/ 4173 w 38"/>
                      <a:gd name="T31" fmla="*/ 185 h 53"/>
                      <a:gd name="T32" fmla="*/ 3323 w 38"/>
                      <a:gd name="T33" fmla="*/ 231 h 53"/>
                      <a:gd name="T34" fmla="*/ 2984 w 38"/>
                      <a:gd name="T35" fmla="*/ 334 h 53"/>
                      <a:gd name="T36" fmla="*/ 2564 w 38"/>
                      <a:gd name="T37" fmla="*/ 483 h 53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38"/>
                      <a:gd name="T58" fmla="*/ 0 h 53"/>
                      <a:gd name="T59" fmla="*/ 38 w 38"/>
                      <a:gd name="T60" fmla="*/ 53 h 53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38" h="53">
                        <a:moveTo>
                          <a:pt x="17" y="41"/>
                        </a:moveTo>
                        <a:lnTo>
                          <a:pt x="17" y="50"/>
                        </a:lnTo>
                        <a:lnTo>
                          <a:pt x="11" y="53"/>
                        </a:lnTo>
                        <a:lnTo>
                          <a:pt x="6" y="48"/>
                        </a:lnTo>
                        <a:lnTo>
                          <a:pt x="4" y="43"/>
                        </a:lnTo>
                        <a:lnTo>
                          <a:pt x="4" y="37"/>
                        </a:lnTo>
                        <a:lnTo>
                          <a:pt x="2" y="28"/>
                        </a:lnTo>
                        <a:lnTo>
                          <a:pt x="0" y="24"/>
                        </a:lnTo>
                        <a:lnTo>
                          <a:pt x="9" y="17"/>
                        </a:lnTo>
                        <a:lnTo>
                          <a:pt x="16" y="12"/>
                        </a:lnTo>
                        <a:lnTo>
                          <a:pt x="21" y="2"/>
                        </a:lnTo>
                        <a:lnTo>
                          <a:pt x="27" y="0"/>
                        </a:lnTo>
                        <a:lnTo>
                          <a:pt x="34" y="1"/>
                        </a:lnTo>
                        <a:lnTo>
                          <a:pt x="38" y="9"/>
                        </a:lnTo>
                        <a:lnTo>
                          <a:pt x="34" y="11"/>
                        </a:lnTo>
                        <a:lnTo>
                          <a:pt x="28" y="15"/>
                        </a:lnTo>
                        <a:lnTo>
                          <a:pt x="22" y="21"/>
                        </a:lnTo>
                        <a:lnTo>
                          <a:pt x="19" y="31"/>
                        </a:lnTo>
                        <a:lnTo>
                          <a:pt x="17" y="4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5" name="Freeform 73"/>
                  <p:cNvSpPr>
                    <a:spLocks/>
                  </p:cNvSpPr>
                  <p:nvPr/>
                </p:nvSpPr>
                <p:spPr bwMode="auto">
                  <a:xfrm>
                    <a:off x="1775" y="2704"/>
                    <a:ext cx="41" cy="55"/>
                  </a:xfrm>
                  <a:custGeom>
                    <a:avLst/>
                    <a:gdLst>
                      <a:gd name="T0" fmla="*/ 2564 w 38"/>
                      <a:gd name="T1" fmla="*/ 483 h 53"/>
                      <a:gd name="T2" fmla="*/ 2564 w 38"/>
                      <a:gd name="T3" fmla="*/ 562 h 53"/>
                      <a:gd name="T4" fmla="*/ 1626 w 38"/>
                      <a:gd name="T5" fmla="*/ 603 h 53"/>
                      <a:gd name="T6" fmla="*/ 6 w 38"/>
                      <a:gd name="T7" fmla="*/ 542 h 53"/>
                      <a:gd name="T8" fmla="*/ 4 w 38"/>
                      <a:gd name="T9" fmla="*/ 501 h 53"/>
                      <a:gd name="T10" fmla="*/ 4 w 38"/>
                      <a:gd name="T11" fmla="*/ 418 h 53"/>
                      <a:gd name="T12" fmla="*/ 2 w 38"/>
                      <a:gd name="T13" fmla="*/ 299 h 53"/>
                      <a:gd name="T14" fmla="*/ 0 w 38"/>
                      <a:gd name="T15" fmla="*/ 258 h 53"/>
                      <a:gd name="T16" fmla="*/ 1397 w 38"/>
                      <a:gd name="T17" fmla="*/ 199 h 53"/>
                      <a:gd name="T18" fmla="*/ 2376 w 38"/>
                      <a:gd name="T19" fmla="*/ 12 h 53"/>
                      <a:gd name="T20" fmla="*/ 3220 w 38"/>
                      <a:gd name="T21" fmla="*/ 2 h 53"/>
                      <a:gd name="T22" fmla="*/ 4044 w 38"/>
                      <a:gd name="T23" fmla="*/ 0 h 53"/>
                      <a:gd name="T24" fmla="*/ 5101 w 38"/>
                      <a:gd name="T25" fmla="*/ 1 h 53"/>
                      <a:gd name="T26" fmla="*/ 5654 w 38"/>
                      <a:gd name="T27" fmla="*/ 9 h 53"/>
                      <a:gd name="T28" fmla="*/ 5101 w 38"/>
                      <a:gd name="T29" fmla="*/ 11 h 53"/>
                      <a:gd name="T30" fmla="*/ 4173 w 38"/>
                      <a:gd name="T31" fmla="*/ 185 h 53"/>
                      <a:gd name="T32" fmla="*/ 3323 w 38"/>
                      <a:gd name="T33" fmla="*/ 231 h 53"/>
                      <a:gd name="T34" fmla="*/ 2984 w 38"/>
                      <a:gd name="T35" fmla="*/ 334 h 53"/>
                      <a:gd name="T36" fmla="*/ 2564 w 38"/>
                      <a:gd name="T37" fmla="*/ 483 h 53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38"/>
                      <a:gd name="T58" fmla="*/ 0 h 53"/>
                      <a:gd name="T59" fmla="*/ 38 w 38"/>
                      <a:gd name="T60" fmla="*/ 53 h 53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38" h="53">
                        <a:moveTo>
                          <a:pt x="17" y="41"/>
                        </a:moveTo>
                        <a:lnTo>
                          <a:pt x="17" y="50"/>
                        </a:lnTo>
                        <a:lnTo>
                          <a:pt x="11" y="53"/>
                        </a:lnTo>
                        <a:lnTo>
                          <a:pt x="6" y="48"/>
                        </a:lnTo>
                        <a:lnTo>
                          <a:pt x="4" y="43"/>
                        </a:lnTo>
                        <a:lnTo>
                          <a:pt x="4" y="37"/>
                        </a:lnTo>
                        <a:lnTo>
                          <a:pt x="2" y="28"/>
                        </a:lnTo>
                        <a:lnTo>
                          <a:pt x="0" y="24"/>
                        </a:lnTo>
                        <a:lnTo>
                          <a:pt x="9" y="17"/>
                        </a:lnTo>
                        <a:lnTo>
                          <a:pt x="16" y="12"/>
                        </a:lnTo>
                        <a:lnTo>
                          <a:pt x="21" y="2"/>
                        </a:lnTo>
                        <a:lnTo>
                          <a:pt x="27" y="0"/>
                        </a:lnTo>
                        <a:lnTo>
                          <a:pt x="34" y="1"/>
                        </a:lnTo>
                        <a:lnTo>
                          <a:pt x="38" y="9"/>
                        </a:lnTo>
                        <a:lnTo>
                          <a:pt x="34" y="11"/>
                        </a:lnTo>
                        <a:lnTo>
                          <a:pt x="28" y="15"/>
                        </a:lnTo>
                        <a:lnTo>
                          <a:pt x="22" y="21"/>
                        </a:lnTo>
                        <a:lnTo>
                          <a:pt x="19" y="31"/>
                        </a:lnTo>
                        <a:lnTo>
                          <a:pt x="17" y="41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6" name="Freeform 74"/>
                  <p:cNvSpPr>
                    <a:spLocks/>
                  </p:cNvSpPr>
                  <p:nvPr/>
                </p:nvSpPr>
                <p:spPr bwMode="auto">
                  <a:xfrm>
                    <a:off x="1640" y="2434"/>
                    <a:ext cx="229" cy="250"/>
                  </a:xfrm>
                  <a:custGeom>
                    <a:avLst/>
                    <a:gdLst>
                      <a:gd name="T0" fmla="*/ 2607 w 214"/>
                      <a:gd name="T1" fmla="*/ 1238 h 238"/>
                      <a:gd name="T2" fmla="*/ 3966 w 214"/>
                      <a:gd name="T3" fmla="*/ 1076 h 238"/>
                      <a:gd name="T4" fmla="*/ 8248 w 214"/>
                      <a:gd name="T5" fmla="*/ 1017 h 238"/>
                      <a:gd name="T6" fmla="*/ 8200 w 214"/>
                      <a:gd name="T7" fmla="*/ 299 h 238"/>
                      <a:gd name="T8" fmla="*/ 15034 w 214"/>
                      <a:gd name="T9" fmla="*/ 0 h 238"/>
                      <a:gd name="T10" fmla="*/ 14944 w 214"/>
                      <a:gd name="T11" fmla="*/ 593 h 238"/>
                      <a:gd name="T12" fmla="*/ 15175 w 214"/>
                      <a:gd name="T13" fmla="*/ 1017 h 238"/>
                      <a:gd name="T14" fmla="*/ 18180 w 214"/>
                      <a:gd name="T15" fmla="*/ 758 h 238"/>
                      <a:gd name="T16" fmla="*/ 18838 w 214"/>
                      <a:gd name="T17" fmla="*/ 1366 h 238"/>
                      <a:gd name="T18" fmla="*/ 17679 w 214"/>
                      <a:gd name="T19" fmla="*/ 2221 h 238"/>
                      <a:gd name="T20" fmla="*/ 18486 w 214"/>
                      <a:gd name="T21" fmla="*/ 2984 h 238"/>
                      <a:gd name="T22" fmla="*/ 18311 w 214"/>
                      <a:gd name="T23" fmla="*/ 3478 h 238"/>
                      <a:gd name="T24" fmla="*/ 17679 w 214"/>
                      <a:gd name="T25" fmla="*/ 4446 h 238"/>
                      <a:gd name="T26" fmla="*/ 15651 w 214"/>
                      <a:gd name="T27" fmla="*/ 4263 h 238"/>
                      <a:gd name="T28" fmla="*/ 13483 w 214"/>
                      <a:gd name="T29" fmla="*/ 4124 h 238"/>
                      <a:gd name="T30" fmla="*/ 12384 w 214"/>
                      <a:gd name="T31" fmla="*/ 4222 h 238"/>
                      <a:gd name="T32" fmla="*/ 10423 w 214"/>
                      <a:gd name="T33" fmla="*/ 4561 h 238"/>
                      <a:gd name="T34" fmla="*/ 9567 w 214"/>
                      <a:gd name="T35" fmla="*/ 4805 h 238"/>
                      <a:gd name="T36" fmla="*/ 9609 w 214"/>
                      <a:gd name="T37" fmla="*/ 5292 h 238"/>
                      <a:gd name="T38" fmla="*/ 9609 w 214"/>
                      <a:gd name="T39" fmla="*/ 5653 h 238"/>
                      <a:gd name="T40" fmla="*/ 8248 w 214"/>
                      <a:gd name="T41" fmla="*/ 5680 h 238"/>
                      <a:gd name="T42" fmla="*/ 7807 w 214"/>
                      <a:gd name="T43" fmla="*/ 6133 h 238"/>
                      <a:gd name="T44" fmla="*/ 6818 w 214"/>
                      <a:gd name="T45" fmla="*/ 5680 h 238"/>
                      <a:gd name="T46" fmla="*/ 3706 w 214"/>
                      <a:gd name="T47" fmla="*/ 4805 h 238"/>
                      <a:gd name="T48" fmla="*/ 2641 w 214"/>
                      <a:gd name="T49" fmla="*/ 4435 h 238"/>
                      <a:gd name="T50" fmla="*/ 1622 w 214"/>
                      <a:gd name="T51" fmla="*/ 4058 h 238"/>
                      <a:gd name="T52" fmla="*/ 823 w 214"/>
                      <a:gd name="T53" fmla="*/ 3405 h 238"/>
                      <a:gd name="T54" fmla="*/ 0 w 214"/>
                      <a:gd name="T55" fmla="*/ 2933 h 238"/>
                      <a:gd name="T56" fmla="*/ 7 w 214"/>
                      <a:gd name="T57" fmla="*/ 2857 h 238"/>
                      <a:gd name="T58" fmla="*/ 1417 w 214"/>
                      <a:gd name="T59" fmla="*/ 2589 h 238"/>
                      <a:gd name="T60" fmla="*/ 1622 w 214"/>
                      <a:gd name="T61" fmla="*/ 1941 h 238"/>
                      <a:gd name="T62" fmla="*/ 2276 w 214"/>
                      <a:gd name="T63" fmla="*/ 2025 h 238"/>
                      <a:gd name="T64" fmla="*/ 3463 w 214"/>
                      <a:gd name="T65" fmla="*/ 2072 h 238"/>
                      <a:gd name="T66" fmla="*/ 3463 w 214"/>
                      <a:gd name="T67" fmla="*/ 2013 h 238"/>
                      <a:gd name="T68" fmla="*/ 2436 w 214"/>
                      <a:gd name="T69" fmla="*/ 1848 h 238"/>
                      <a:gd name="T70" fmla="*/ 1858 w 214"/>
                      <a:gd name="T71" fmla="*/ 1675 h 238"/>
                      <a:gd name="T72" fmla="*/ 2436 w 214"/>
                      <a:gd name="T73" fmla="*/ 1574 h 238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214"/>
                      <a:gd name="T112" fmla="*/ 0 h 238"/>
                      <a:gd name="T113" fmla="*/ 214 w 214"/>
                      <a:gd name="T114" fmla="*/ 238 h 238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214" h="238">
                        <a:moveTo>
                          <a:pt x="30" y="58"/>
                        </a:moveTo>
                        <a:lnTo>
                          <a:pt x="30" y="48"/>
                        </a:lnTo>
                        <a:lnTo>
                          <a:pt x="30" y="47"/>
                        </a:lnTo>
                        <a:lnTo>
                          <a:pt x="46" y="43"/>
                        </a:lnTo>
                        <a:lnTo>
                          <a:pt x="96" y="41"/>
                        </a:lnTo>
                        <a:lnTo>
                          <a:pt x="94" y="40"/>
                        </a:lnTo>
                        <a:lnTo>
                          <a:pt x="94" y="27"/>
                        </a:lnTo>
                        <a:lnTo>
                          <a:pt x="93" y="10"/>
                        </a:lnTo>
                        <a:lnTo>
                          <a:pt x="96" y="0"/>
                        </a:lnTo>
                        <a:lnTo>
                          <a:pt x="172" y="0"/>
                        </a:lnTo>
                        <a:lnTo>
                          <a:pt x="169" y="11"/>
                        </a:lnTo>
                        <a:lnTo>
                          <a:pt x="169" y="24"/>
                        </a:lnTo>
                        <a:lnTo>
                          <a:pt x="169" y="37"/>
                        </a:lnTo>
                        <a:lnTo>
                          <a:pt x="174" y="40"/>
                        </a:lnTo>
                        <a:lnTo>
                          <a:pt x="186" y="24"/>
                        </a:lnTo>
                        <a:lnTo>
                          <a:pt x="207" y="29"/>
                        </a:lnTo>
                        <a:lnTo>
                          <a:pt x="214" y="38"/>
                        </a:lnTo>
                        <a:lnTo>
                          <a:pt x="214" y="53"/>
                        </a:lnTo>
                        <a:lnTo>
                          <a:pt x="202" y="75"/>
                        </a:lnTo>
                        <a:lnTo>
                          <a:pt x="202" y="86"/>
                        </a:lnTo>
                        <a:lnTo>
                          <a:pt x="203" y="95"/>
                        </a:lnTo>
                        <a:lnTo>
                          <a:pt x="212" y="116"/>
                        </a:lnTo>
                        <a:lnTo>
                          <a:pt x="210" y="127"/>
                        </a:lnTo>
                        <a:lnTo>
                          <a:pt x="208" y="136"/>
                        </a:lnTo>
                        <a:lnTo>
                          <a:pt x="207" y="162"/>
                        </a:lnTo>
                        <a:lnTo>
                          <a:pt x="202" y="174"/>
                        </a:lnTo>
                        <a:lnTo>
                          <a:pt x="192" y="178"/>
                        </a:lnTo>
                        <a:lnTo>
                          <a:pt x="179" y="167"/>
                        </a:lnTo>
                        <a:lnTo>
                          <a:pt x="161" y="168"/>
                        </a:lnTo>
                        <a:lnTo>
                          <a:pt x="154" y="160"/>
                        </a:lnTo>
                        <a:lnTo>
                          <a:pt x="150" y="157"/>
                        </a:lnTo>
                        <a:lnTo>
                          <a:pt x="142" y="164"/>
                        </a:lnTo>
                        <a:lnTo>
                          <a:pt x="136" y="170"/>
                        </a:lnTo>
                        <a:lnTo>
                          <a:pt x="119" y="177"/>
                        </a:lnTo>
                        <a:lnTo>
                          <a:pt x="112" y="182"/>
                        </a:lnTo>
                        <a:lnTo>
                          <a:pt x="109" y="188"/>
                        </a:lnTo>
                        <a:lnTo>
                          <a:pt x="107" y="197"/>
                        </a:lnTo>
                        <a:lnTo>
                          <a:pt x="110" y="206"/>
                        </a:lnTo>
                        <a:lnTo>
                          <a:pt x="113" y="215"/>
                        </a:lnTo>
                        <a:lnTo>
                          <a:pt x="110" y="220"/>
                        </a:lnTo>
                        <a:lnTo>
                          <a:pt x="103" y="219"/>
                        </a:lnTo>
                        <a:lnTo>
                          <a:pt x="94" y="222"/>
                        </a:lnTo>
                        <a:lnTo>
                          <a:pt x="91" y="227"/>
                        </a:lnTo>
                        <a:lnTo>
                          <a:pt x="89" y="238"/>
                        </a:lnTo>
                        <a:lnTo>
                          <a:pt x="84" y="228"/>
                        </a:lnTo>
                        <a:lnTo>
                          <a:pt x="78" y="222"/>
                        </a:lnTo>
                        <a:lnTo>
                          <a:pt x="68" y="210"/>
                        </a:lnTo>
                        <a:lnTo>
                          <a:pt x="43" y="188"/>
                        </a:lnTo>
                        <a:lnTo>
                          <a:pt x="37" y="180"/>
                        </a:lnTo>
                        <a:lnTo>
                          <a:pt x="31" y="172"/>
                        </a:lnTo>
                        <a:lnTo>
                          <a:pt x="24" y="164"/>
                        </a:lnTo>
                        <a:lnTo>
                          <a:pt x="19" y="159"/>
                        </a:lnTo>
                        <a:lnTo>
                          <a:pt x="12" y="142"/>
                        </a:lnTo>
                        <a:lnTo>
                          <a:pt x="9" y="133"/>
                        </a:lnTo>
                        <a:lnTo>
                          <a:pt x="3" y="120"/>
                        </a:lnTo>
                        <a:lnTo>
                          <a:pt x="0" y="114"/>
                        </a:lnTo>
                        <a:lnTo>
                          <a:pt x="3" y="113"/>
                        </a:lnTo>
                        <a:lnTo>
                          <a:pt x="7" y="111"/>
                        </a:lnTo>
                        <a:lnTo>
                          <a:pt x="12" y="106"/>
                        </a:lnTo>
                        <a:lnTo>
                          <a:pt x="17" y="101"/>
                        </a:lnTo>
                        <a:lnTo>
                          <a:pt x="18" y="92"/>
                        </a:lnTo>
                        <a:lnTo>
                          <a:pt x="19" y="76"/>
                        </a:lnTo>
                        <a:lnTo>
                          <a:pt x="22" y="76"/>
                        </a:lnTo>
                        <a:lnTo>
                          <a:pt x="26" y="79"/>
                        </a:lnTo>
                        <a:lnTo>
                          <a:pt x="31" y="81"/>
                        </a:lnTo>
                        <a:lnTo>
                          <a:pt x="40" y="81"/>
                        </a:lnTo>
                        <a:lnTo>
                          <a:pt x="41" y="79"/>
                        </a:lnTo>
                        <a:lnTo>
                          <a:pt x="40" y="78"/>
                        </a:lnTo>
                        <a:lnTo>
                          <a:pt x="33" y="76"/>
                        </a:lnTo>
                        <a:lnTo>
                          <a:pt x="28" y="72"/>
                        </a:lnTo>
                        <a:lnTo>
                          <a:pt x="24" y="69"/>
                        </a:lnTo>
                        <a:lnTo>
                          <a:pt x="21" y="66"/>
                        </a:lnTo>
                        <a:lnTo>
                          <a:pt x="22" y="62"/>
                        </a:lnTo>
                        <a:lnTo>
                          <a:pt x="28" y="61"/>
                        </a:lnTo>
                        <a:lnTo>
                          <a:pt x="30" y="58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7" name="Freeform 75"/>
                  <p:cNvSpPr>
                    <a:spLocks/>
                  </p:cNvSpPr>
                  <p:nvPr/>
                </p:nvSpPr>
                <p:spPr bwMode="auto">
                  <a:xfrm>
                    <a:off x="1640" y="2434"/>
                    <a:ext cx="229" cy="250"/>
                  </a:xfrm>
                  <a:custGeom>
                    <a:avLst/>
                    <a:gdLst>
                      <a:gd name="T0" fmla="*/ 2607 w 214"/>
                      <a:gd name="T1" fmla="*/ 1238 h 238"/>
                      <a:gd name="T2" fmla="*/ 3966 w 214"/>
                      <a:gd name="T3" fmla="*/ 1076 h 238"/>
                      <a:gd name="T4" fmla="*/ 8248 w 214"/>
                      <a:gd name="T5" fmla="*/ 1017 h 238"/>
                      <a:gd name="T6" fmla="*/ 8200 w 214"/>
                      <a:gd name="T7" fmla="*/ 299 h 238"/>
                      <a:gd name="T8" fmla="*/ 15034 w 214"/>
                      <a:gd name="T9" fmla="*/ 0 h 238"/>
                      <a:gd name="T10" fmla="*/ 14944 w 214"/>
                      <a:gd name="T11" fmla="*/ 593 h 238"/>
                      <a:gd name="T12" fmla="*/ 15175 w 214"/>
                      <a:gd name="T13" fmla="*/ 1017 h 238"/>
                      <a:gd name="T14" fmla="*/ 18180 w 214"/>
                      <a:gd name="T15" fmla="*/ 758 h 238"/>
                      <a:gd name="T16" fmla="*/ 18838 w 214"/>
                      <a:gd name="T17" fmla="*/ 1366 h 238"/>
                      <a:gd name="T18" fmla="*/ 17679 w 214"/>
                      <a:gd name="T19" fmla="*/ 2221 h 238"/>
                      <a:gd name="T20" fmla="*/ 18486 w 214"/>
                      <a:gd name="T21" fmla="*/ 2984 h 238"/>
                      <a:gd name="T22" fmla="*/ 18311 w 214"/>
                      <a:gd name="T23" fmla="*/ 3478 h 238"/>
                      <a:gd name="T24" fmla="*/ 17679 w 214"/>
                      <a:gd name="T25" fmla="*/ 4446 h 238"/>
                      <a:gd name="T26" fmla="*/ 15651 w 214"/>
                      <a:gd name="T27" fmla="*/ 4263 h 238"/>
                      <a:gd name="T28" fmla="*/ 13483 w 214"/>
                      <a:gd name="T29" fmla="*/ 4124 h 238"/>
                      <a:gd name="T30" fmla="*/ 12384 w 214"/>
                      <a:gd name="T31" fmla="*/ 4222 h 238"/>
                      <a:gd name="T32" fmla="*/ 10423 w 214"/>
                      <a:gd name="T33" fmla="*/ 4561 h 238"/>
                      <a:gd name="T34" fmla="*/ 9567 w 214"/>
                      <a:gd name="T35" fmla="*/ 4805 h 238"/>
                      <a:gd name="T36" fmla="*/ 9609 w 214"/>
                      <a:gd name="T37" fmla="*/ 5292 h 238"/>
                      <a:gd name="T38" fmla="*/ 9609 w 214"/>
                      <a:gd name="T39" fmla="*/ 5653 h 238"/>
                      <a:gd name="T40" fmla="*/ 8248 w 214"/>
                      <a:gd name="T41" fmla="*/ 5680 h 238"/>
                      <a:gd name="T42" fmla="*/ 7807 w 214"/>
                      <a:gd name="T43" fmla="*/ 6133 h 238"/>
                      <a:gd name="T44" fmla="*/ 6818 w 214"/>
                      <a:gd name="T45" fmla="*/ 5680 h 238"/>
                      <a:gd name="T46" fmla="*/ 3706 w 214"/>
                      <a:gd name="T47" fmla="*/ 4805 h 238"/>
                      <a:gd name="T48" fmla="*/ 2641 w 214"/>
                      <a:gd name="T49" fmla="*/ 4435 h 238"/>
                      <a:gd name="T50" fmla="*/ 1622 w 214"/>
                      <a:gd name="T51" fmla="*/ 4058 h 238"/>
                      <a:gd name="T52" fmla="*/ 823 w 214"/>
                      <a:gd name="T53" fmla="*/ 3405 h 238"/>
                      <a:gd name="T54" fmla="*/ 0 w 214"/>
                      <a:gd name="T55" fmla="*/ 2933 h 238"/>
                      <a:gd name="T56" fmla="*/ 7 w 214"/>
                      <a:gd name="T57" fmla="*/ 2857 h 238"/>
                      <a:gd name="T58" fmla="*/ 1417 w 214"/>
                      <a:gd name="T59" fmla="*/ 2589 h 238"/>
                      <a:gd name="T60" fmla="*/ 1622 w 214"/>
                      <a:gd name="T61" fmla="*/ 1941 h 238"/>
                      <a:gd name="T62" fmla="*/ 2276 w 214"/>
                      <a:gd name="T63" fmla="*/ 2025 h 238"/>
                      <a:gd name="T64" fmla="*/ 3463 w 214"/>
                      <a:gd name="T65" fmla="*/ 2072 h 238"/>
                      <a:gd name="T66" fmla="*/ 3463 w 214"/>
                      <a:gd name="T67" fmla="*/ 2013 h 238"/>
                      <a:gd name="T68" fmla="*/ 2436 w 214"/>
                      <a:gd name="T69" fmla="*/ 1848 h 238"/>
                      <a:gd name="T70" fmla="*/ 1858 w 214"/>
                      <a:gd name="T71" fmla="*/ 1675 h 238"/>
                      <a:gd name="T72" fmla="*/ 2436 w 214"/>
                      <a:gd name="T73" fmla="*/ 1574 h 238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214"/>
                      <a:gd name="T112" fmla="*/ 0 h 238"/>
                      <a:gd name="T113" fmla="*/ 214 w 214"/>
                      <a:gd name="T114" fmla="*/ 238 h 238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214" h="238">
                        <a:moveTo>
                          <a:pt x="30" y="58"/>
                        </a:moveTo>
                        <a:lnTo>
                          <a:pt x="30" y="48"/>
                        </a:lnTo>
                        <a:lnTo>
                          <a:pt x="30" y="47"/>
                        </a:lnTo>
                        <a:lnTo>
                          <a:pt x="46" y="43"/>
                        </a:lnTo>
                        <a:lnTo>
                          <a:pt x="96" y="41"/>
                        </a:lnTo>
                        <a:lnTo>
                          <a:pt x="94" y="40"/>
                        </a:lnTo>
                        <a:lnTo>
                          <a:pt x="94" y="27"/>
                        </a:lnTo>
                        <a:lnTo>
                          <a:pt x="93" y="10"/>
                        </a:lnTo>
                        <a:lnTo>
                          <a:pt x="96" y="0"/>
                        </a:lnTo>
                        <a:lnTo>
                          <a:pt x="172" y="0"/>
                        </a:lnTo>
                        <a:lnTo>
                          <a:pt x="169" y="11"/>
                        </a:lnTo>
                        <a:lnTo>
                          <a:pt x="169" y="24"/>
                        </a:lnTo>
                        <a:lnTo>
                          <a:pt x="169" y="37"/>
                        </a:lnTo>
                        <a:lnTo>
                          <a:pt x="174" y="40"/>
                        </a:lnTo>
                        <a:lnTo>
                          <a:pt x="186" y="24"/>
                        </a:lnTo>
                        <a:lnTo>
                          <a:pt x="207" y="29"/>
                        </a:lnTo>
                        <a:lnTo>
                          <a:pt x="214" y="38"/>
                        </a:lnTo>
                        <a:lnTo>
                          <a:pt x="214" y="53"/>
                        </a:lnTo>
                        <a:lnTo>
                          <a:pt x="202" y="75"/>
                        </a:lnTo>
                        <a:lnTo>
                          <a:pt x="202" y="86"/>
                        </a:lnTo>
                        <a:lnTo>
                          <a:pt x="203" y="95"/>
                        </a:lnTo>
                        <a:lnTo>
                          <a:pt x="212" y="116"/>
                        </a:lnTo>
                        <a:lnTo>
                          <a:pt x="210" y="127"/>
                        </a:lnTo>
                        <a:lnTo>
                          <a:pt x="208" y="136"/>
                        </a:lnTo>
                        <a:lnTo>
                          <a:pt x="207" y="162"/>
                        </a:lnTo>
                        <a:lnTo>
                          <a:pt x="202" y="174"/>
                        </a:lnTo>
                        <a:lnTo>
                          <a:pt x="192" y="178"/>
                        </a:lnTo>
                        <a:lnTo>
                          <a:pt x="179" y="167"/>
                        </a:lnTo>
                        <a:lnTo>
                          <a:pt x="161" y="168"/>
                        </a:lnTo>
                        <a:lnTo>
                          <a:pt x="154" y="160"/>
                        </a:lnTo>
                        <a:lnTo>
                          <a:pt x="150" y="157"/>
                        </a:lnTo>
                        <a:lnTo>
                          <a:pt x="142" y="164"/>
                        </a:lnTo>
                        <a:lnTo>
                          <a:pt x="136" y="170"/>
                        </a:lnTo>
                        <a:lnTo>
                          <a:pt x="119" y="177"/>
                        </a:lnTo>
                        <a:lnTo>
                          <a:pt x="112" y="182"/>
                        </a:lnTo>
                        <a:lnTo>
                          <a:pt x="109" y="188"/>
                        </a:lnTo>
                        <a:lnTo>
                          <a:pt x="107" y="197"/>
                        </a:lnTo>
                        <a:lnTo>
                          <a:pt x="110" y="206"/>
                        </a:lnTo>
                        <a:lnTo>
                          <a:pt x="113" y="215"/>
                        </a:lnTo>
                        <a:lnTo>
                          <a:pt x="110" y="220"/>
                        </a:lnTo>
                        <a:lnTo>
                          <a:pt x="103" y="219"/>
                        </a:lnTo>
                        <a:lnTo>
                          <a:pt x="94" y="222"/>
                        </a:lnTo>
                        <a:lnTo>
                          <a:pt x="91" y="227"/>
                        </a:lnTo>
                        <a:lnTo>
                          <a:pt x="89" y="238"/>
                        </a:lnTo>
                        <a:lnTo>
                          <a:pt x="84" y="228"/>
                        </a:lnTo>
                        <a:lnTo>
                          <a:pt x="78" y="222"/>
                        </a:lnTo>
                        <a:lnTo>
                          <a:pt x="68" y="210"/>
                        </a:lnTo>
                        <a:lnTo>
                          <a:pt x="43" y="188"/>
                        </a:lnTo>
                        <a:lnTo>
                          <a:pt x="37" y="180"/>
                        </a:lnTo>
                        <a:lnTo>
                          <a:pt x="31" y="172"/>
                        </a:lnTo>
                        <a:lnTo>
                          <a:pt x="24" y="164"/>
                        </a:lnTo>
                        <a:lnTo>
                          <a:pt x="19" y="159"/>
                        </a:lnTo>
                        <a:lnTo>
                          <a:pt x="12" y="142"/>
                        </a:lnTo>
                        <a:lnTo>
                          <a:pt x="9" y="133"/>
                        </a:lnTo>
                        <a:lnTo>
                          <a:pt x="3" y="120"/>
                        </a:lnTo>
                        <a:lnTo>
                          <a:pt x="0" y="114"/>
                        </a:lnTo>
                        <a:lnTo>
                          <a:pt x="3" y="113"/>
                        </a:lnTo>
                        <a:lnTo>
                          <a:pt x="7" y="111"/>
                        </a:lnTo>
                        <a:lnTo>
                          <a:pt x="12" y="106"/>
                        </a:lnTo>
                        <a:lnTo>
                          <a:pt x="17" y="101"/>
                        </a:lnTo>
                        <a:lnTo>
                          <a:pt x="18" y="92"/>
                        </a:lnTo>
                        <a:lnTo>
                          <a:pt x="19" y="76"/>
                        </a:lnTo>
                        <a:lnTo>
                          <a:pt x="22" y="76"/>
                        </a:lnTo>
                        <a:lnTo>
                          <a:pt x="26" y="79"/>
                        </a:lnTo>
                        <a:lnTo>
                          <a:pt x="31" y="81"/>
                        </a:lnTo>
                        <a:lnTo>
                          <a:pt x="40" y="81"/>
                        </a:lnTo>
                        <a:lnTo>
                          <a:pt x="41" y="79"/>
                        </a:lnTo>
                        <a:lnTo>
                          <a:pt x="40" y="78"/>
                        </a:lnTo>
                        <a:lnTo>
                          <a:pt x="33" y="76"/>
                        </a:lnTo>
                        <a:lnTo>
                          <a:pt x="28" y="72"/>
                        </a:lnTo>
                        <a:lnTo>
                          <a:pt x="24" y="69"/>
                        </a:lnTo>
                        <a:lnTo>
                          <a:pt x="21" y="66"/>
                        </a:lnTo>
                        <a:lnTo>
                          <a:pt x="22" y="62"/>
                        </a:lnTo>
                        <a:lnTo>
                          <a:pt x="28" y="61"/>
                        </a:lnTo>
                        <a:lnTo>
                          <a:pt x="30" y="58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78" name="Freeform 76"/>
                  <p:cNvSpPr>
                    <a:spLocks/>
                  </p:cNvSpPr>
                  <p:nvPr/>
                </p:nvSpPr>
                <p:spPr bwMode="auto">
                  <a:xfrm>
                    <a:off x="1787" y="2310"/>
                    <a:ext cx="786" cy="750"/>
                  </a:xfrm>
                  <a:custGeom>
                    <a:avLst/>
                    <a:gdLst>
                      <a:gd name="T0" fmla="*/ 0 w 735"/>
                      <a:gd name="T1" fmla="*/ 585 h 715"/>
                      <a:gd name="T2" fmla="*/ 14 w 735"/>
                      <a:gd name="T3" fmla="*/ 545 h 715"/>
                      <a:gd name="T4" fmla="*/ 56 w 735"/>
                      <a:gd name="T5" fmla="*/ 525 h 715"/>
                      <a:gd name="T6" fmla="*/ 113 w 735"/>
                      <a:gd name="T7" fmla="*/ 500 h 715"/>
                      <a:gd name="T8" fmla="*/ 174 w 735"/>
                      <a:gd name="T9" fmla="*/ 499 h 715"/>
                      <a:gd name="T10" fmla="*/ 224 w 735"/>
                      <a:gd name="T11" fmla="*/ 420 h 715"/>
                      <a:gd name="T12" fmla="*/ 298 w 735"/>
                      <a:gd name="T13" fmla="*/ 321 h 715"/>
                      <a:gd name="T14" fmla="*/ 332 w 735"/>
                      <a:gd name="T15" fmla="*/ 171 h 715"/>
                      <a:gd name="T16" fmla="*/ 381 w 735"/>
                      <a:gd name="T17" fmla="*/ 78 h 715"/>
                      <a:gd name="T18" fmla="*/ 395 w 735"/>
                      <a:gd name="T19" fmla="*/ 20 h 715"/>
                      <a:gd name="T20" fmla="*/ 457 w 735"/>
                      <a:gd name="T21" fmla="*/ 16 h 715"/>
                      <a:gd name="T22" fmla="*/ 511 w 735"/>
                      <a:gd name="T23" fmla="*/ 44 h 715"/>
                      <a:gd name="T24" fmla="*/ 612 w 735"/>
                      <a:gd name="T25" fmla="*/ 21 h 715"/>
                      <a:gd name="T26" fmla="*/ 698 w 735"/>
                      <a:gd name="T27" fmla="*/ 16 h 715"/>
                      <a:gd name="T28" fmla="*/ 727 w 735"/>
                      <a:gd name="T29" fmla="*/ 18 h 715"/>
                      <a:gd name="T30" fmla="*/ 793 w 735"/>
                      <a:gd name="T31" fmla="*/ 3 h 715"/>
                      <a:gd name="T32" fmla="*/ 853 w 735"/>
                      <a:gd name="T33" fmla="*/ 3 h 715"/>
                      <a:gd name="T34" fmla="*/ 915 w 735"/>
                      <a:gd name="T35" fmla="*/ 40 h 715"/>
                      <a:gd name="T36" fmla="*/ 992 w 735"/>
                      <a:gd name="T37" fmla="*/ 44 h 715"/>
                      <a:gd name="T38" fmla="*/ 1069 w 735"/>
                      <a:gd name="T39" fmla="*/ 79 h 715"/>
                      <a:gd name="T40" fmla="*/ 1074 w 735"/>
                      <a:gd name="T41" fmla="*/ 112 h 715"/>
                      <a:gd name="T42" fmla="*/ 1095 w 735"/>
                      <a:gd name="T43" fmla="*/ 153 h 715"/>
                      <a:gd name="T44" fmla="*/ 1057 w 735"/>
                      <a:gd name="T45" fmla="*/ 192 h 715"/>
                      <a:gd name="T46" fmla="*/ 1043 w 735"/>
                      <a:gd name="T47" fmla="*/ 221 h 715"/>
                      <a:gd name="T48" fmla="*/ 1015 w 735"/>
                      <a:gd name="T49" fmla="*/ 290 h 715"/>
                      <a:gd name="T50" fmla="*/ 992 w 735"/>
                      <a:gd name="T51" fmla="*/ 355 h 715"/>
                      <a:gd name="T52" fmla="*/ 970 w 735"/>
                      <a:gd name="T53" fmla="*/ 404 h 715"/>
                      <a:gd name="T54" fmla="*/ 986 w 735"/>
                      <a:gd name="T55" fmla="*/ 453 h 715"/>
                      <a:gd name="T56" fmla="*/ 980 w 735"/>
                      <a:gd name="T57" fmla="*/ 488 h 715"/>
                      <a:gd name="T58" fmla="*/ 990 w 735"/>
                      <a:gd name="T59" fmla="*/ 565 h 715"/>
                      <a:gd name="T60" fmla="*/ 1004 w 735"/>
                      <a:gd name="T61" fmla="*/ 628 h 715"/>
                      <a:gd name="T62" fmla="*/ 1057 w 735"/>
                      <a:gd name="T63" fmla="*/ 695 h 715"/>
                      <a:gd name="T64" fmla="*/ 964 w 735"/>
                      <a:gd name="T65" fmla="*/ 729 h 715"/>
                      <a:gd name="T66" fmla="*/ 961 w 735"/>
                      <a:gd name="T67" fmla="*/ 773 h 715"/>
                      <a:gd name="T68" fmla="*/ 941 w 735"/>
                      <a:gd name="T69" fmla="*/ 863 h 715"/>
                      <a:gd name="T70" fmla="*/ 961 w 735"/>
                      <a:gd name="T71" fmla="*/ 900 h 715"/>
                      <a:gd name="T72" fmla="*/ 1006 w 735"/>
                      <a:gd name="T73" fmla="*/ 903 h 715"/>
                      <a:gd name="T74" fmla="*/ 1011 w 735"/>
                      <a:gd name="T75" fmla="*/ 961 h 715"/>
                      <a:gd name="T76" fmla="*/ 991 w 735"/>
                      <a:gd name="T77" fmla="*/ 948 h 715"/>
                      <a:gd name="T78" fmla="*/ 946 w 735"/>
                      <a:gd name="T79" fmla="*/ 940 h 715"/>
                      <a:gd name="T80" fmla="*/ 904 w 735"/>
                      <a:gd name="T81" fmla="*/ 904 h 715"/>
                      <a:gd name="T82" fmla="*/ 843 w 735"/>
                      <a:gd name="T83" fmla="*/ 879 h 715"/>
                      <a:gd name="T84" fmla="*/ 774 w 735"/>
                      <a:gd name="T85" fmla="*/ 872 h 715"/>
                      <a:gd name="T86" fmla="*/ 733 w 735"/>
                      <a:gd name="T87" fmla="*/ 850 h 715"/>
                      <a:gd name="T88" fmla="*/ 703 w 735"/>
                      <a:gd name="T89" fmla="*/ 853 h 715"/>
                      <a:gd name="T90" fmla="*/ 680 w 735"/>
                      <a:gd name="T91" fmla="*/ 833 h 715"/>
                      <a:gd name="T92" fmla="*/ 645 w 735"/>
                      <a:gd name="T93" fmla="*/ 842 h 715"/>
                      <a:gd name="T94" fmla="*/ 579 w 735"/>
                      <a:gd name="T95" fmla="*/ 856 h 715"/>
                      <a:gd name="T96" fmla="*/ 559 w 735"/>
                      <a:gd name="T97" fmla="*/ 844 h 715"/>
                      <a:gd name="T98" fmla="*/ 568 w 735"/>
                      <a:gd name="T99" fmla="*/ 804 h 715"/>
                      <a:gd name="T100" fmla="*/ 553 w 735"/>
                      <a:gd name="T101" fmla="*/ 738 h 715"/>
                      <a:gd name="T102" fmla="*/ 545 w 735"/>
                      <a:gd name="T103" fmla="*/ 660 h 715"/>
                      <a:gd name="T104" fmla="*/ 465 w 735"/>
                      <a:gd name="T105" fmla="*/ 628 h 715"/>
                      <a:gd name="T106" fmla="*/ 415 w 735"/>
                      <a:gd name="T107" fmla="*/ 659 h 715"/>
                      <a:gd name="T108" fmla="*/ 385 w 735"/>
                      <a:gd name="T109" fmla="*/ 685 h 715"/>
                      <a:gd name="T110" fmla="*/ 303 w 735"/>
                      <a:gd name="T111" fmla="*/ 687 h 715"/>
                      <a:gd name="T112" fmla="*/ 257 w 735"/>
                      <a:gd name="T113" fmla="*/ 618 h 715"/>
                      <a:gd name="T114" fmla="*/ 236 w 735"/>
                      <a:gd name="T115" fmla="*/ 582 h 715"/>
                      <a:gd name="T116" fmla="*/ 161 w 735"/>
                      <a:gd name="T117" fmla="*/ 572 h 715"/>
                      <a:gd name="T118" fmla="*/ 73 w 735"/>
                      <a:gd name="T119" fmla="*/ 572 h 715"/>
                      <a:gd name="T120" fmla="*/ 5 w 735"/>
                      <a:gd name="T121" fmla="*/ 589 h 715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735"/>
                      <a:gd name="T184" fmla="*/ 0 h 715"/>
                      <a:gd name="T185" fmla="*/ 735 w 735"/>
                      <a:gd name="T186" fmla="*/ 715 h 715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735" h="715">
                        <a:moveTo>
                          <a:pt x="5" y="439"/>
                        </a:moveTo>
                        <a:lnTo>
                          <a:pt x="0" y="441"/>
                        </a:lnTo>
                        <a:lnTo>
                          <a:pt x="0" y="444"/>
                        </a:lnTo>
                        <a:lnTo>
                          <a:pt x="0" y="440"/>
                        </a:lnTo>
                        <a:lnTo>
                          <a:pt x="0" y="436"/>
                        </a:lnTo>
                        <a:lnTo>
                          <a:pt x="0" y="431"/>
                        </a:lnTo>
                        <a:lnTo>
                          <a:pt x="0" y="428"/>
                        </a:lnTo>
                        <a:lnTo>
                          <a:pt x="6" y="426"/>
                        </a:lnTo>
                        <a:lnTo>
                          <a:pt x="6" y="416"/>
                        </a:lnTo>
                        <a:lnTo>
                          <a:pt x="8" y="406"/>
                        </a:lnTo>
                        <a:lnTo>
                          <a:pt x="11" y="395"/>
                        </a:lnTo>
                        <a:lnTo>
                          <a:pt x="18" y="388"/>
                        </a:lnTo>
                        <a:lnTo>
                          <a:pt x="23" y="385"/>
                        </a:lnTo>
                        <a:lnTo>
                          <a:pt x="27" y="383"/>
                        </a:lnTo>
                        <a:lnTo>
                          <a:pt x="37" y="390"/>
                        </a:lnTo>
                        <a:lnTo>
                          <a:pt x="46" y="388"/>
                        </a:lnTo>
                        <a:lnTo>
                          <a:pt x="51" y="380"/>
                        </a:lnTo>
                        <a:lnTo>
                          <a:pt x="56" y="375"/>
                        </a:lnTo>
                        <a:lnTo>
                          <a:pt x="67" y="373"/>
                        </a:lnTo>
                        <a:lnTo>
                          <a:pt x="76" y="371"/>
                        </a:lnTo>
                        <a:lnTo>
                          <a:pt x="77" y="374"/>
                        </a:lnTo>
                        <a:lnTo>
                          <a:pt x="79" y="387"/>
                        </a:lnTo>
                        <a:lnTo>
                          <a:pt x="86" y="388"/>
                        </a:lnTo>
                        <a:lnTo>
                          <a:pt x="101" y="383"/>
                        </a:lnTo>
                        <a:lnTo>
                          <a:pt x="116" y="370"/>
                        </a:lnTo>
                        <a:lnTo>
                          <a:pt x="127" y="364"/>
                        </a:lnTo>
                        <a:lnTo>
                          <a:pt x="137" y="354"/>
                        </a:lnTo>
                        <a:lnTo>
                          <a:pt x="146" y="337"/>
                        </a:lnTo>
                        <a:lnTo>
                          <a:pt x="149" y="326"/>
                        </a:lnTo>
                        <a:lnTo>
                          <a:pt x="149" y="313"/>
                        </a:lnTo>
                        <a:lnTo>
                          <a:pt x="150" y="298"/>
                        </a:lnTo>
                        <a:lnTo>
                          <a:pt x="156" y="283"/>
                        </a:lnTo>
                        <a:lnTo>
                          <a:pt x="172" y="257"/>
                        </a:lnTo>
                        <a:lnTo>
                          <a:pt x="185" y="246"/>
                        </a:lnTo>
                        <a:lnTo>
                          <a:pt x="199" y="239"/>
                        </a:lnTo>
                        <a:lnTo>
                          <a:pt x="209" y="231"/>
                        </a:lnTo>
                        <a:lnTo>
                          <a:pt x="209" y="227"/>
                        </a:lnTo>
                        <a:lnTo>
                          <a:pt x="215" y="205"/>
                        </a:lnTo>
                        <a:lnTo>
                          <a:pt x="216" y="159"/>
                        </a:lnTo>
                        <a:lnTo>
                          <a:pt x="222" y="128"/>
                        </a:lnTo>
                        <a:lnTo>
                          <a:pt x="229" y="111"/>
                        </a:lnTo>
                        <a:lnTo>
                          <a:pt x="242" y="85"/>
                        </a:lnTo>
                        <a:lnTo>
                          <a:pt x="246" y="71"/>
                        </a:lnTo>
                        <a:lnTo>
                          <a:pt x="245" y="59"/>
                        </a:lnTo>
                        <a:lnTo>
                          <a:pt x="254" y="58"/>
                        </a:lnTo>
                        <a:lnTo>
                          <a:pt x="252" y="52"/>
                        </a:lnTo>
                        <a:lnTo>
                          <a:pt x="252" y="38"/>
                        </a:lnTo>
                        <a:lnTo>
                          <a:pt x="256" y="28"/>
                        </a:lnTo>
                        <a:lnTo>
                          <a:pt x="261" y="26"/>
                        </a:lnTo>
                        <a:lnTo>
                          <a:pt x="264" y="14"/>
                        </a:lnTo>
                        <a:lnTo>
                          <a:pt x="269" y="10"/>
                        </a:lnTo>
                        <a:lnTo>
                          <a:pt x="279" y="3"/>
                        </a:lnTo>
                        <a:lnTo>
                          <a:pt x="289" y="3"/>
                        </a:lnTo>
                        <a:lnTo>
                          <a:pt x="301" y="4"/>
                        </a:lnTo>
                        <a:lnTo>
                          <a:pt x="305" y="10"/>
                        </a:lnTo>
                        <a:lnTo>
                          <a:pt x="307" y="17"/>
                        </a:lnTo>
                        <a:lnTo>
                          <a:pt x="321" y="29"/>
                        </a:lnTo>
                        <a:lnTo>
                          <a:pt x="327" y="30"/>
                        </a:lnTo>
                        <a:lnTo>
                          <a:pt x="332" y="26"/>
                        </a:lnTo>
                        <a:lnTo>
                          <a:pt x="342" y="32"/>
                        </a:lnTo>
                        <a:lnTo>
                          <a:pt x="358" y="36"/>
                        </a:lnTo>
                        <a:lnTo>
                          <a:pt x="393" y="36"/>
                        </a:lnTo>
                        <a:lnTo>
                          <a:pt x="399" y="33"/>
                        </a:lnTo>
                        <a:lnTo>
                          <a:pt x="400" y="22"/>
                        </a:lnTo>
                        <a:lnTo>
                          <a:pt x="410" y="15"/>
                        </a:lnTo>
                        <a:lnTo>
                          <a:pt x="423" y="18"/>
                        </a:lnTo>
                        <a:lnTo>
                          <a:pt x="429" y="22"/>
                        </a:lnTo>
                        <a:lnTo>
                          <a:pt x="442" y="18"/>
                        </a:lnTo>
                        <a:lnTo>
                          <a:pt x="449" y="13"/>
                        </a:lnTo>
                        <a:lnTo>
                          <a:pt x="467" y="10"/>
                        </a:lnTo>
                        <a:lnTo>
                          <a:pt x="476" y="7"/>
                        </a:lnTo>
                        <a:lnTo>
                          <a:pt x="480" y="7"/>
                        </a:lnTo>
                        <a:lnTo>
                          <a:pt x="482" y="10"/>
                        </a:lnTo>
                        <a:lnTo>
                          <a:pt x="480" y="10"/>
                        </a:lnTo>
                        <a:lnTo>
                          <a:pt x="486" y="12"/>
                        </a:lnTo>
                        <a:lnTo>
                          <a:pt x="490" y="10"/>
                        </a:lnTo>
                        <a:lnTo>
                          <a:pt x="500" y="10"/>
                        </a:lnTo>
                        <a:lnTo>
                          <a:pt x="502" y="1"/>
                        </a:lnTo>
                        <a:lnTo>
                          <a:pt x="516" y="5"/>
                        </a:lnTo>
                        <a:lnTo>
                          <a:pt x="531" y="3"/>
                        </a:lnTo>
                        <a:lnTo>
                          <a:pt x="543" y="0"/>
                        </a:lnTo>
                        <a:lnTo>
                          <a:pt x="553" y="10"/>
                        </a:lnTo>
                        <a:lnTo>
                          <a:pt x="558" y="5"/>
                        </a:lnTo>
                        <a:lnTo>
                          <a:pt x="565" y="10"/>
                        </a:lnTo>
                        <a:lnTo>
                          <a:pt x="571" y="3"/>
                        </a:lnTo>
                        <a:lnTo>
                          <a:pt x="590" y="3"/>
                        </a:lnTo>
                        <a:lnTo>
                          <a:pt x="596" y="10"/>
                        </a:lnTo>
                        <a:lnTo>
                          <a:pt x="604" y="17"/>
                        </a:lnTo>
                        <a:lnTo>
                          <a:pt x="609" y="22"/>
                        </a:lnTo>
                        <a:lnTo>
                          <a:pt x="612" y="29"/>
                        </a:lnTo>
                        <a:lnTo>
                          <a:pt x="628" y="36"/>
                        </a:lnTo>
                        <a:lnTo>
                          <a:pt x="633" y="33"/>
                        </a:lnTo>
                        <a:lnTo>
                          <a:pt x="638" y="28"/>
                        </a:lnTo>
                        <a:lnTo>
                          <a:pt x="655" y="33"/>
                        </a:lnTo>
                        <a:lnTo>
                          <a:pt x="664" y="32"/>
                        </a:lnTo>
                        <a:lnTo>
                          <a:pt x="673" y="23"/>
                        </a:lnTo>
                        <a:lnTo>
                          <a:pt x="680" y="29"/>
                        </a:lnTo>
                        <a:lnTo>
                          <a:pt x="698" y="48"/>
                        </a:lnTo>
                        <a:lnTo>
                          <a:pt x="708" y="52"/>
                        </a:lnTo>
                        <a:lnTo>
                          <a:pt x="714" y="59"/>
                        </a:lnTo>
                        <a:lnTo>
                          <a:pt x="718" y="63"/>
                        </a:lnTo>
                        <a:lnTo>
                          <a:pt x="723" y="63"/>
                        </a:lnTo>
                        <a:lnTo>
                          <a:pt x="723" y="64"/>
                        </a:lnTo>
                        <a:lnTo>
                          <a:pt x="720" y="71"/>
                        </a:lnTo>
                        <a:lnTo>
                          <a:pt x="718" y="84"/>
                        </a:lnTo>
                        <a:lnTo>
                          <a:pt x="718" y="99"/>
                        </a:lnTo>
                        <a:lnTo>
                          <a:pt x="721" y="106"/>
                        </a:lnTo>
                        <a:lnTo>
                          <a:pt x="724" y="109"/>
                        </a:lnTo>
                        <a:lnTo>
                          <a:pt x="728" y="111"/>
                        </a:lnTo>
                        <a:lnTo>
                          <a:pt x="733" y="114"/>
                        </a:lnTo>
                        <a:lnTo>
                          <a:pt x="735" y="117"/>
                        </a:lnTo>
                        <a:lnTo>
                          <a:pt x="733" y="119"/>
                        </a:lnTo>
                        <a:lnTo>
                          <a:pt x="728" y="125"/>
                        </a:lnTo>
                        <a:lnTo>
                          <a:pt x="716" y="134"/>
                        </a:lnTo>
                        <a:lnTo>
                          <a:pt x="707" y="143"/>
                        </a:lnTo>
                        <a:lnTo>
                          <a:pt x="704" y="148"/>
                        </a:lnTo>
                        <a:lnTo>
                          <a:pt x="704" y="155"/>
                        </a:lnTo>
                        <a:lnTo>
                          <a:pt x="705" y="155"/>
                        </a:lnTo>
                        <a:lnTo>
                          <a:pt x="707" y="155"/>
                        </a:lnTo>
                        <a:lnTo>
                          <a:pt x="698" y="164"/>
                        </a:lnTo>
                        <a:lnTo>
                          <a:pt x="690" y="174"/>
                        </a:lnTo>
                        <a:lnTo>
                          <a:pt x="687" y="178"/>
                        </a:lnTo>
                        <a:lnTo>
                          <a:pt x="683" y="186"/>
                        </a:lnTo>
                        <a:lnTo>
                          <a:pt x="678" y="207"/>
                        </a:lnTo>
                        <a:lnTo>
                          <a:pt x="678" y="216"/>
                        </a:lnTo>
                        <a:lnTo>
                          <a:pt x="676" y="237"/>
                        </a:lnTo>
                        <a:lnTo>
                          <a:pt x="676" y="251"/>
                        </a:lnTo>
                        <a:lnTo>
                          <a:pt x="673" y="253"/>
                        </a:lnTo>
                        <a:lnTo>
                          <a:pt x="669" y="257"/>
                        </a:lnTo>
                        <a:lnTo>
                          <a:pt x="664" y="265"/>
                        </a:lnTo>
                        <a:lnTo>
                          <a:pt x="659" y="276"/>
                        </a:lnTo>
                        <a:lnTo>
                          <a:pt x="655" y="283"/>
                        </a:lnTo>
                        <a:lnTo>
                          <a:pt x="649" y="294"/>
                        </a:lnTo>
                        <a:lnTo>
                          <a:pt x="649" y="298"/>
                        </a:lnTo>
                        <a:lnTo>
                          <a:pt x="649" y="301"/>
                        </a:lnTo>
                        <a:lnTo>
                          <a:pt x="654" y="306"/>
                        </a:lnTo>
                        <a:lnTo>
                          <a:pt x="657" y="310"/>
                        </a:lnTo>
                        <a:lnTo>
                          <a:pt x="660" y="314"/>
                        </a:lnTo>
                        <a:lnTo>
                          <a:pt x="660" y="330"/>
                        </a:lnTo>
                        <a:lnTo>
                          <a:pt x="659" y="336"/>
                        </a:lnTo>
                        <a:lnTo>
                          <a:pt x="657" y="344"/>
                        </a:lnTo>
                        <a:lnTo>
                          <a:pt x="654" y="355"/>
                        </a:lnTo>
                        <a:lnTo>
                          <a:pt x="652" y="362"/>
                        </a:lnTo>
                        <a:lnTo>
                          <a:pt x="654" y="366"/>
                        </a:lnTo>
                        <a:lnTo>
                          <a:pt x="655" y="365"/>
                        </a:lnTo>
                        <a:lnTo>
                          <a:pt x="657" y="371"/>
                        </a:lnTo>
                        <a:lnTo>
                          <a:pt x="654" y="388"/>
                        </a:lnTo>
                        <a:lnTo>
                          <a:pt x="652" y="399"/>
                        </a:lnTo>
                        <a:lnTo>
                          <a:pt x="657" y="412"/>
                        </a:lnTo>
                        <a:lnTo>
                          <a:pt x="662" y="421"/>
                        </a:lnTo>
                        <a:lnTo>
                          <a:pt x="662" y="429"/>
                        </a:lnTo>
                        <a:lnTo>
                          <a:pt x="660" y="438"/>
                        </a:lnTo>
                        <a:lnTo>
                          <a:pt x="663" y="449"/>
                        </a:lnTo>
                        <a:lnTo>
                          <a:pt x="666" y="455"/>
                        </a:lnTo>
                        <a:lnTo>
                          <a:pt x="671" y="467"/>
                        </a:lnTo>
                        <a:lnTo>
                          <a:pt x="676" y="472"/>
                        </a:lnTo>
                        <a:lnTo>
                          <a:pt x="685" y="481"/>
                        </a:lnTo>
                        <a:lnTo>
                          <a:pt x="695" y="485"/>
                        </a:lnTo>
                        <a:lnTo>
                          <a:pt x="702" y="493"/>
                        </a:lnTo>
                        <a:lnTo>
                          <a:pt x="707" y="518"/>
                        </a:lnTo>
                        <a:lnTo>
                          <a:pt x="664" y="527"/>
                        </a:lnTo>
                        <a:lnTo>
                          <a:pt x="655" y="529"/>
                        </a:lnTo>
                        <a:lnTo>
                          <a:pt x="652" y="532"/>
                        </a:lnTo>
                        <a:lnTo>
                          <a:pt x="649" y="534"/>
                        </a:lnTo>
                        <a:lnTo>
                          <a:pt x="644" y="543"/>
                        </a:lnTo>
                        <a:lnTo>
                          <a:pt x="641" y="548"/>
                        </a:lnTo>
                        <a:lnTo>
                          <a:pt x="638" y="554"/>
                        </a:lnTo>
                        <a:lnTo>
                          <a:pt x="638" y="557"/>
                        </a:lnTo>
                        <a:lnTo>
                          <a:pt x="638" y="564"/>
                        </a:lnTo>
                        <a:lnTo>
                          <a:pt x="642" y="576"/>
                        </a:lnTo>
                        <a:lnTo>
                          <a:pt x="644" y="587"/>
                        </a:lnTo>
                        <a:lnTo>
                          <a:pt x="644" y="604"/>
                        </a:lnTo>
                        <a:lnTo>
                          <a:pt x="642" y="610"/>
                        </a:lnTo>
                        <a:lnTo>
                          <a:pt x="632" y="636"/>
                        </a:lnTo>
                        <a:lnTo>
                          <a:pt x="629" y="643"/>
                        </a:lnTo>
                        <a:lnTo>
                          <a:pt x="628" y="649"/>
                        </a:lnTo>
                        <a:lnTo>
                          <a:pt x="629" y="655"/>
                        </a:lnTo>
                        <a:lnTo>
                          <a:pt x="629" y="658"/>
                        </a:lnTo>
                        <a:lnTo>
                          <a:pt x="634" y="662"/>
                        </a:lnTo>
                        <a:lnTo>
                          <a:pt x="642" y="671"/>
                        </a:lnTo>
                        <a:lnTo>
                          <a:pt x="647" y="673"/>
                        </a:lnTo>
                        <a:lnTo>
                          <a:pt x="655" y="674"/>
                        </a:lnTo>
                        <a:lnTo>
                          <a:pt x="663" y="676"/>
                        </a:lnTo>
                        <a:lnTo>
                          <a:pt x="670" y="673"/>
                        </a:lnTo>
                        <a:lnTo>
                          <a:pt x="673" y="673"/>
                        </a:lnTo>
                        <a:lnTo>
                          <a:pt x="676" y="678"/>
                        </a:lnTo>
                        <a:lnTo>
                          <a:pt x="676" y="703"/>
                        </a:lnTo>
                        <a:lnTo>
                          <a:pt x="676" y="707"/>
                        </a:lnTo>
                        <a:lnTo>
                          <a:pt x="676" y="712"/>
                        </a:lnTo>
                        <a:lnTo>
                          <a:pt x="676" y="715"/>
                        </a:lnTo>
                        <a:lnTo>
                          <a:pt x="673" y="715"/>
                        </a:lnTo>
                        <a:lnTo>
                          <a:pt x="670" y="714"/>
                        </a:lnTo>
                        <a:lnTo>
                          <a:pt x="666" y="707"/>
                        </a:lnTo>
                        <a:lnTo>
                          <a:pt x="665" y="707"/>
                        </a:lnTo>
                        <a:lnTo>
                          <a:pt x="663" y="707"/>
                        </a:lnTo>
                        <a:lnTo>
                          <a:pt x="660" y="710"/>
                        </a:lnTo>
                        <a:lnTo>
                          <a:pt x="655" y="710"/>
                        </a:lnTo>
                        <a:lnTo>
                          <a:pt x="649" y="709"/>
                        </a:lnTo>
                        <a:lnTo>
                          <a:pt x="642" y="707"/>
                        </a:lnTo>
                        <a:lnTo>
                          <a:pt x="633" y="700"/>
                        </a:lnTo>
                        <a:lnTo>
                          <a:pt x="622" y="693"/>
                        </a:lnTo>
                        <a:lnTo>
                          <a:pt x="621" y="688"/>
                        </a:lnTo>
                        <a:lnTo>
                          <a:pt x="617" y="680"/>
                        </a:lnTo>
                        <a:lnTo>
                          <a:pt x="612" y="674"/>
                        </a:lnTo>
                        <a:lnTo>
                          <a:pt x="604" y="674"/>
                        </a:lnTo>
                        <a:lnTo>
                          <a:pt x="596" y="673"/>
                        </a:lnTo>
                        <a:lnTo>
                          <a:pt x="587" y="668"/>
                        </a:lnTo>
                        <a:lnTo>
                          <a:pt x="573" y="655"/>
                        </a:lnTo>
                        <a:lnTo>
                          <a:pt x="569" y="654"/>
                        </a:lnTo>
                        <a:lnTo>
                          <a:pt x="563" y="655"/>
                        </a:lnTo>
                        <a:lnTo>
                          <a:pt x="554" y="659"/>
                        </a:lnTo>
                        <a:lnTo>
                          <a:pt x="548" y="661"/>
                        </a:lnTo>
                        <a:lnTo>
                          <a:pt x="540" y="659"/>
                        </a:lnTo>
                        <a:lnTo>
                          <a:pt x="527" y="655"/>
                        </a:lnTo>
                        <a:lnTo>
                          <a:pt x="518" y="649"/>
                        </a:lnTo>
                        <a:lnTo>
                          <a:pt x="509" y="646"/>
                        </a:lnTo>
                        <a:lnTo>
                          <a:pt x="505" y="642"/>
                        </a:lnTo>
                        <a:lnTo>
                          <a:pt x="504" y="636"/>
                        </a:lnTo>
                        <a:lnTo>
                          <a:pt x="499" y="630"/>
                        </a:lnTo>
                        <a:lnTo>
                          <a:pt x="490" y="633"/>
                        </a:lnTo>
                        <a:lnTo>
                          <a:pt x="486" y="633"/>
                        </a:lnTo>
                        <a:lnTo>
                          <a:pt x="483" y="635"/>
                        </a:lnTo>
                        <a:lnTo>
                          <a:pt x="473" y="638"/>
                        </a:lnTo>
                        <a:lnTo>
                          <a:pt x="471" y="638"/>
                        </a:lnTo>
                        <a:lnTo>
                          <a:pt x="469" y="635"/>
                        </a:lnTo>
                        <a:lnTo>
                          <a:pt x="470" y="625"/>
                        </a:lnTo>
                        <a:lnTo>
                          <a:pt x="466" y="618"/>
                        </a:lnTo>
                        <a:lnTo>
                          <a:pt x="464" y="617"/>
                        </a:lnTo>
                        <a:lnTo>
                          <a:pt x="461" y="618"/>
                        </a:lnTo>
                        <a:lnTo>
                          <a:pt x="454" y="621"/>
                        </a:lnTo>
                        <a:lnTo>
                          <a:pt x="452" y="621"/>
                        </a:lnTo>
                        <a:lnTo>
                          <a:pt x="447" y="624"/>
                        </a:lnTo>
                        <a:lnTo>
                          <a:pt x="445" y="624"/>
                        </a:lnTo>
                        <a:lnTo>
                          <a:pt x="439" y="623"/>
                        </a:lnTo>
                        <a:lnTo>
                          <a:pt x="431" y="627"/>
                        </a:lnTo>
                        <a:lnTo>
                          <a:pt x="396" y="627"/>
                        </a:lnTo>
                        <a:lnTo>
                          <a:pt x="392" y="628"/>
                        </a:lnTo>
                        <a:lnTo>
                          <a:pt x="391" y="633"/>
                        </a:lnTo>
                        <a:lnTo>
                          <a:pt x="388" y="637"/>
                        </a:lnTo>
                        <a:lnTo>
                          <a:pt x="386" y="638"/>
                        </a:lnTo>
                        <a:lnTo>
                          <a:pt x="381" y="637"/>
                        </a:lnTo>
                        <a:lnTo>
                          <a:pt x="378" y="632"/>
                        </a:lnTo>
                        <a:lnTo>
                          <a:pt x="375" y="632"/>
                        </a:lnTo>
                        <a:lnTo>
                          <a:pt x="375" y="630"/>
                        </a:lnTo>
                        <a:lnTo>
                          <a:pt x="373" y="628"/>
                        </a:lnTo>
                        <a:lnTo>
                          <a:pt x="373" y="627"/>
                        </a:lnTo>
                        <a:lnTo>
                          <a:pt x="381" y="618"/>
                        </a:lnTo>
                        <a:lnTo>
                          <a:pt x="384" y="614"/>
                        </a:lnTo>
                        <a:lnTo>
                          <a:pt x="385" y="610"/>
                        </a:lnTo>
                        <a:lnTo>
                          <a:pt x="381" y="598"/>
                        </a:lnTo>
                        <a:lnTo>
                          <a:pt x="376" y="583"/>
                        </a:lnTo>
                        <a:lnTo>
                          <a:pt x="370" y="573"/>
                        </a:lnTo>
                        <a:lnTo>
                          <a:pt x="368" y="567"/>
                        </a:lnTo>
                        <a:lnTo>
                          <a:pt x="369" y="558"/>
                        </a:lnTo>
                        <a:lnTo>
                          <a:pt x="370" y="549"/>
                        </a:lnTo>
                        <a:lnTo>
                          <a:pt x="370" y="546"/>
                        </a:lnTo>
                        <a:lnTo>
                          <a:pt x="369" y="534"/>
                        </a:lnTo>
                        <a:lnTo>
                          <a:pt x="369" y="523"/>
                        </a:lnTo>
                        <a:lnTo>
                          <a:pt x="368" y="515"/>
                        </a:lnTo>
                        <a:lnTo>
                          <a:pt x="365" y="491"/>
                        </a:lnTo>
                        <a:lnTo>
                          <a:pt x="363" y="486"/>
                        </a:lnTo>
                        <a:lnTo>
                          <a:pt x="362" y="484"/>
                        </a:lnTo>
                        <a:lnTo>
                          <a:pt x="327" y="482"/>
                        </a:lnTo>
                        <a:lnTo>
                          <a:pt x="328" y="467"/>
                        </a:lnTo>
                        <a:lnTo>
                          <a:pt x="311" y="467"/>
                        </a:lnTo>
                        <a:lnTo>
                          <a:pt x="311" y="471"/>
                        </a:lnTo>
                        <a:lnTo>
                          <a:pt x="280" y="471"/>
                        </a:lnTo>
                        <a:lnTo>
                          <a:pt x="279" y="477"/>
                        </a:lnTo>
                        <a:lnTo>
                          <a:pt x="279" y="485"/>
                        </a:lnTo>
                        <a:lnTo>
                          <a:pt x="277" y="490"/>
                        </a:lnTo>
                        <a:lnTo>
                          <a:pt x="276" y="491"/>
                        </a:lnTo>
                        <a:lnTo>
                          <a:pt x="274" y="494"/>
                        </a:lnTo>
                        <a:lnTo>
                          <a:pt x="274" y="500"/>
                        </a:lnTo>
                        <a:lnTo>
                          <a:pt x="271" y="510"/>
                        </a:lnTo>
                        <a:lnTo>
                          <a:pt x="258" y="510"/>
                        </a:lnTo>
                        <a:lnTo>
                          <a:pt x="245" y="508"/>
                        </a:lnTo>
                        <a:lnTo>
                          <a:pt x="236" y="512"/>
                        </a:lnTo>
                        <a:lnTo>
                          <a:pt x="221" y="516"/>
                        </a:lnTo>
                        <a:lnTo>
                          <a:pt x="211" y="516"/>
                        </a:lnTo>
                        <a:lnTo>
                          <a:pt x="203" y="512"/>
                        </a:lnTo>
                        <a:lnTo>
                          <a:pt x="188" y="493"/>
                        </a:lnTo>
                        <a:lnTo>
                          <a:pt x="180" y="484"/>
                        </a:lnTo>
                        <a:lnTo>
                          <a:pt x="177" y="472"/>
                        </a:lnTo>
                        <a:lnTo>
                          <a:pt x="172" y="464"/>
                        </a:lnTo>
                        <a:lnTo>
                          <a:pt x="170" y="460"/>
                        </a:lnTo>
                        <a:lnTo>
                          <a:pt x="170" y="452"/>
                        </a:lnTo>
                        <a:lnTo>
                          <a:pt x="167" y="438"/>
                        </a:lnTo>
                        <a:lnTo>
                          <a:pt x="163" y="431"/>
                        </a:lnTo>
                        <a:lnTo>
                          <a:pt x="160" y="433"/>
                        </a:lnTo>
                        <a:lnTo>
                          <a:pt x="158" y="433"/>
                        </a:lnTo>
                        <a:lnTo>
                          <a:pt x="154" y="426"/>
                        </a:lnTo>
                        <a:lnTo>
                          <a:pt x="152" y="426"/>
                        </a:lnTo>
                        <a:lnTo>
                          <a:pt x="140" y="426"/>
                        </a:lnTo>
                        <a:lnTo>
                          <a:pt x="118" y="426"/>
                        </a:lnTo>
                        <a:lnTo>
                          <a:pt x="108" y="426"/>
                        </a:lnTo>
                        <a:lnTo>
                          <a:pt x="99" y="428"/>
                        </a:lnTo>
                        <a:lnTo>
                          <a:pt x="86" y="428"/>
                        </a:lnTo>
                        <a:lnTo>
                          <a:pt x="81" y="426"/>
                        </a:lnTo>
                        <a:lnTo>
                          <a:pt x="65" y="428"/>
                        </a:lnTo>
                        <a:lnTo>
                          <a:pt x="49" y="426"/>
                        </a:lnTo>
                        <a:lnTo>
                          <a:pt x="43" y="428"/>
                        </a:lnTo>
                        <a:lnTo>
                          <a:pt x="37" y="428"/>
                        </a:lnTo>
                        <a:lnTo>
                          <a:pt x="27" y="431"/>
                        </a:lnTo>
                        <a:lnTo>
                          <a:pt x="18" y="436"/>
                        </a:lnTo>
                        <a:lnTo>
                          <a:pt x="5" y="439"/>
                        </a:lnTo>
                        <a:close/>
                      </a:path>
                    </a:pathLst>
                  </a:custGeom>
                  <a:solidFill>
                    <a:srgbClr val="9CBC5A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79" name="Freeform 77"/>
                  <p:cNvSpPr>
                    <a:spLocks/>
                  </p:cNvSpPr>
                  <p:nvPr/>
                </p:nvSpPr>
                <p:spPr bwMode="auto">
                  <a:xfrm>
                    <a:off x="1787" y="2310"/>
                    <a:ext cx="786" cy="751"/>
                  </a:xfrm>
                  <a:custGeom>
                    <a:avLst/>
                    <a:gdLst>
                      <a:gd name="T0" fmla="*/ 0 w 735"/>
                      <a:gd name="T1" fmla="*/ 11170 h 715"/>
                      <a:gd name="T2" fmla="*/ 733 w 735"/>
                      <a:gd name="T3" fmla="*/ 10385 h 715"/>
                      <a:gd name="T4" fmla="*/ 3128 w 735"/>
                      <a:gd name="T5" fmla="*/ 10000 h 715"/>
                      <a:gd name="T6" fmla="*/ 6294 w 735"/>
                      <a:gd name="T7" fmla="*/ 9521 h 715"/>
                      <a:gd name="T8" fmla="*/ 9729 w 735"/>
                      <a:gd name="T9" fmla="*/ 9505 h 715"/>
                      <a:gd name="T10" fmla="*/ 12612 w 735"/>
                      <a:gd name="T11" fmla="*/ 7980 h 715"/>
                      <a:gd name="T12" fmla="*/ 16641 w 735"/>
                      <a:gd name="T13" fmla="*/ 6129 h 715"/>
                      <a:gd name="T14" fmla="*/ 18564 w 735"/>
                      <a:gd name="T15" fmla="*/ 3278 h 715"/>
                      <a:gd name="T16" fmla="*/ 21243 w 735"/>
                      <a:gd name="T17" fmla="*/ 1494 h 715"/>
                      <a:gd name="T18" fmla="*/ 22044 w 735"/>
                      <a:gd name="T19" fmla="*/ 363 h 715"/>
                      <a:gd name="T20" fmla="*/ 25583 w 735"/>
                      <a:gd name="T21" fmla="*/ 298 h 715"/>
                      <a:gd name="T22" fmla="*/ 28626 w 735"/>
                      <a:gd name="T23" fmla="*/ 833 h 715"/>
                      <a:gd name="T24" fmla="*/ 34297 w 735"/>
                      <a:gd name="T25" fmla="*/ 381 h 715"/>
                      <a:gd name="T26" fmla="*/ 39028 w 735"/>
                      <a:gd name="T27" fmla="*/ 298 h 715"/>
                      <a:gd name="T28" fmla="*/ 40736 w 735"/>
                      <a:gd name="T29" fmla="*/ 329 h 715"/>
                      <a:gd name="T30" fmla="*/ 44435 w 735"/>
                      <a:gd name="T31" fmla="*/ 3 h 715"/>
                      <a:gd name="T32" fmla="*/ 47729 w 735"/>
                      <a:gd name="T33" fmla="*/ 3 h 715"/>
                      <a:gd name="T34" fmla="*/ 51294 w 735"/>
                      <a:gd name="T35" fmla="*/ 755 h 715"/>
                      <a:gd name="T36" fmla="*/ 55538 w 735"/>
                      <a:gd name="T37" fmla="*/ 833 h 715"/>
                      <a:gd name="T38" fmla="*/ 59875 w 735"/>
                      <a:gd name="T39" fmla="*/ 1502 h 715"/>
                      <a:gd name="T40" fmla="*/ 60130 w 735"/>
                      <a:gd name="T41" fmla="*/ 2139 h 715"/>
                      <a:gd name="T42" fmla="*/ 61301 w 735"/>
                      <a:gd name="T43" fmla="*/ 2929 h 715"/>
                      <a:gd name="T44" fmla="*/ 59119 w 735"/>
                      <a:gd name="T45" fmla="*/ 3646 h 715"/>
                      <a:gd name="T46" fmla="*/ 58370 w 735"/>
                      <a:gd name="T47" fmla="*/ 4211 h 715"/>
                      <a:gd name="T48" fmla="*/ 56745 w 735"/>
                      <a:gd name="T49" fmla="*/ 5546 h 715"/>
                      <a:gd name="T50" fmla="*/ 55538 w 735"/>
                      <a:gd name="T51" fmla="*/ 6771 h 715"/>
                      <a:gd name="T52" fmla="*/ 54341 w 735"/>
                      <a:gd name="T53" fmla="*/ 7690 h 715"/>
                      <a:gd name="T54" fmla="*/ 55181 w 735"/>
                      <a:gd name="T55" fmla="*/ 8630 h 715"/>
                      <a:gd name="T56" fmla="*/ 54877 w 735"/>
                      <a:gd name="T57" fmla="*/ 9284 h 715"/>
                      <a:gd name="T58" fmla="*/ 55471 w 735"/>
                      <a:gd name="T59" fmla="*/ 10749 h 715"/>
                      <a:gd name="T60" fmla="*/ 56228 w 735"/>
                      <a:gd name="T61" fmla="*/ 11966 h 715"/>
                      <a:gd name="T62" fmla="*/ 59119 w 735"/>
                      <a:gd name="T63" fmla="*/ 13271 h 715"/>
                      <a:gd name="T64" fmla="*/ 54049 w 735"/>
                      <a:gd name="T65" fmla="*/ 13898 h 715"/>
                      <a:gd name="T66" fmla="*/ 53756 w 735"/>
                      <a:gd name="T67" fmla="*/ 14743 h 715"/>
                      <a:gd name="T68" fmla="*/ 52709 w 735"/>
                      <a:gd name="T69" fmla="*/ 16435 h 715"/>
                      <a:gd name="T70" fmla="*/ 53756 w 735"/>
                      <a:gd name="T71" fmla="*/ 17165 h 715"/>
                      <a:gd name="T72" fmla="*/ 56366 w 735"/>
                      <a:gd name="T73" fmla="*/ 17203 h 715"/>
                      <a:gd name="T74" fmla="*/ 56593 w 735"/>
                      <a:gd name="T75" fmla="*/ 18300 h 715"/>
                      <a:gd name="T76" fmla="*/ 55529 w 735"/>
                      <a:gd name="T77" fmla="*/ 18069 h 715"/>
                      <a:gd name="T78" fmla="*/ 52970 w 735"/>
                      <a:gd name="T79" fmla="*/ 17928 h 715"/>
                      <a:gd name="T80" fmla="*/ 50632 w 735"/>
                      <a:gd name="T81" fmla="*/ 17218 h 715"/>
                      <a:gd name="T82" fmla="*/ 47263 w 735"/>
                      <a:gd name="T83" fmla="*/ 16740 h 715"/>
                      <a:gd name="T84" fmla="*/ 43314 w 735"/>
                      <a:gd name="T85" fmla="*/ 16601 h 715"/>
                      <a:gd name="T86" fmla="*/ 40989 w 735"/>
                      <a:gd name="T87" fmla="*/ 16190 h 715"/>
                      <a:gd name="T88" fmla="*/ 39380 w 735"/>
                      <a:gd name="T89" fmla="*/ 16265 h 715"/>
                      <a:gd name="T90" fmla="*/ 38093 w 735"/>
                      <a:gd name="T91" fmla="*/ 15876 h 715"/>
                      <a:gd name="T92" fmla="*/ 36183 w 735"/>
                      <a:gd name="T93" fmla="*/ 16048 h 715"/>
                      <a:gd name="T94" fmla="*/ 32433 w 735"/>
                      <a:gd name="T95" fmla="*/ 16319 h 715"/>
                      <a:gd name="T96" fmla="*/ 31286 w 735"/>
                      <a:gd name="T97" fmla="*/ 16067 h 715"/>
                      <a:gd name="T98" fmla="*/ 31772 w 735"/>
                      <a:gd name="T99" fmla="*/ 15297 h 715"/>
                      <a:gd name="T100" fmla="*/ 30941 w 735"/>
                      <a:gd name="T101" fmla="*/ 14061 h 715"/>
                      <a:gd name="T102" fmla="*/ 30438 w 735"/>
                      <a:gd name="T103" fmla="*/ 12568 h 715"/>
                      <a:gd name="T104" fmla="*/ 25979 w 735"/>
                      <a:gd name="T105" fmla="*/ 11966 h 715"/>
                      <a:gd name="T106" fmla="*/ 23219 w 735"/>
                      <a:gd name="T107" fmla="*/ 12554 h 715"/>
                      <a:gd name="T108" fmla="*/ 21589 w 735"/>
                      <a:gd name="T109" fmla="*/ 13043 h 715"/>
                      <a:gd name="T110" fmla="*/ 16917 w 735"/>
                      <a:gd name="T111" fmla="*/ 13082 h 715"/>
                      <a:gd name="T112" fmla="*/ 14423 w 735"/>
                      <a:gd name="T113" fmla="*/ 11770 h 715"/>
                      <a:gd name="T114" fmla="*/ 13164 w 735"/>
                      <a:gd name="T115" fmla="*/ 11066 h 715"/>
                      <a:gd name="T116" fmla="*/ 9077 w 735"/>
                      <a:gd name="T117" fmla="*/ 10908 h 715"/>
                      <a:gd name="T118" fmla="*/ 4090 w 735"/>
                      <a:gd name="T119" fmla="*/ 10908 h 715"/>
                      <a:gd name="T120" fmla="*/ 5 w 735"/>
                      <a:gd name="T121" fmla="*/ 11209 h 715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w 735"/>
                      <a:gd name="T184" fmla="*/ 0 h 715"/>
                      <a:gd name="T185" fmla="*/ 735 w 735"/>
                      <a:gd name="T186" fmla="*/ 715 h 715"/>
                    </a:gdLst>
                    <a:ahLst/>
                    <a:cxnLst>
                      <a:cxn ang="T122">
                        <a:pos x="T0" y="T1"/>
                      </a:cxn>
                      <a:cxn ang="T123">
                        <a:pos x="T2" y="T3"/>
                      </a:cxn>
                      <a:cxn ang="T124">
                        <a:pos x="T4" y="T5"/>
                      </a:cxn>
                      <a:cxn ang="T125">
                        <a:pos x="T6" y="T7"/>
                      </a:cxn>
                      <a:cxn ang="T126">
                        <a:pos x="T8" y="T9"/>
                      </a:cxn>
                      <a:cxn ang="T127">
                        <a:pos x="T10" y="T11"/>
                      </a:cxn>
                      <a:cxn ang="T128">
                        <a:pos x="T12" y="T13"/>
                      </a:cxn>
                      <a:cxn ang="T129">
                        <a:pos x="T14" y="T15"/>
                      </a:cxn>
                      <a:cxn ang="T130">
                        <a:pos x="T16" y="T17"/>
                      </a:cxn>
                      <a:cxn ang="T131">
                        <a:pos x="T18" y="T19"/>
                      </a:cxn>
                      <a:cxn ang="T132">
                        <a:pos x="T20" y="T21"/>
                      </a:cxn>
                      <a:cxn ang="T133">
                        <a:pos x="T22" y="T23"/>
                      </a:cxn>
                      <a:cxn ang="T134">
                        <a:pos x="T24" y="T25"/>
                      </a:cxn>
                      <a:cxn ang="T135">
                        <a:pos x="T26" y="T27"/>
                      </a:cxn>
                      <a:cxn ang="T136">
                        <a:pos x="T28" y="T29"/>
                      </a:cxn>
                      <a:cxn ang="T137">
                        <a:pos x="T30" y="T31"/>
                      </a:cxn>
                      <a:cxn ang="T138">
                        <a:pos x="T32" y="T33"/>
                      </a:cxn>
                      <a:cxn ang="T139">
                        <a:pos x="T34" y="T35"/>
                      </a:cxn>
                      <a:cxn ang="T140">
                        <a:pos x="T36" y="T37"/>
                      </a:cxn>
                      <a:cxn ang="T141">
                        <a:pos x="T38" y="T39"/>
                      </a:cxn>
                      <a:cxn ang="T142">
                        <a:pos x="T40" y="T41"/>
                      </a:cxn>
                      <a:cxn ang="T143">
                        <a:pos x="T42" y="T43"/>
                      </a:cxn>
                      <a:cxn ang="T144">
                        <a:pos x="T44" y="T45"/>
                      </a:cxn>
                      <a:cxn ang="T145">
                        <a:pos x="T46" y="T47"/>
                      </a:cxn>
                      <a:cxn ang="T146">
                        <a:pos x="T48" y="T49"/>
                      </a:cxn>
                      <a:cxn ang="T147">
                        <a:pos x="T50" y="T51"/>
                      </a:cxn>
                      <a:cxn ang="T148">
                        <a:pos x="T52" y="T53"/>
                      </a:cxn>
                      <a:cxn ang="T149">
                        <a:pos x="T54" y="T55"/>
                      </a:cxn>
                      <a:cxn ang="T150">
                        <a:pos x="T56" y="T57"/>
                      </a:cxn>
                      <a:cxn ang="T151">
                        <a:pos x="T58" y="T59"/>
                      </a:cxn>
                      <a:cxn ang="T152">
                        <a:pos x="T60" y="T61"/>
                      </a:cxn>
                      <a:cxn ang="T153">
                        <a:pos x="T62" y="T63"/>
                      </a:cxn>
                      <a:cxn ang="T154">
                        <a:pos x="T64" y="T65"/>
                      </a:cxn>
                      <a:cxn ang="T155">
                        <a:pos x="T66" y="T67"/>
                      </a:cxn>
                      <a:cxn ang="T156">
                        <a:pos x="T68" y="T69"/>
                      </a:cxn>
                      <a:cxn ang="T157">
                        <a:pos x="T70" y="T71"/>
                      </a:cxn>
                      <a:cxn ang="T158">
                        <a:pos x="T72" y="T73"/>
                      </a:cxn>
                      <a:cxn ang="T159">
                        <a:pos x="T74" y="T75"/>
                      </a:cxn>
                      <a:cxn ang="T160">
                        <a:pos x="T76" y="T77"/>
                      </a:cxn>
                      <a:cxn ang="T161">
                        <a:pos x="T78" y="T79"/>
                      </a:cxn>
                      <a:cxn ang="T162">
                        <a:pos x="T80" y="T81"/>
                      </a:cxn>
                      <a:cxn ang="T163">
                        <a:pos x="T82" y="T83"/>
                      </a:cxn>
                      <a:cxn ang="T164">
                        <a:pos x="T84" y="T85"/>
                      </a:cxn>
                      <a:cxn ang="T165">
                        <a:pos x="T86" y="T87"/>
                      </a:cxn>
                      <a:cxn ang="T166">
                        <a:pos x="T88" y="T89"/>
                      </a:cxn>
                      <a:cxn ang="T167">
                        <a:pos x="T90" y="T91"/>
                      </a:cxn>
                      <a:cxn ang="T168">
                        <a:pos x="T92" y="T93"/>
                      </a:cxn>
                      <a:cxn ang="T169">
                        <a:pos x="T94" y="T95"/>
                      </a:cxn>
                      <a:cxn ang="T170">
                        <a:pos x="T96" y="T97"/>
                      </a:cxn>
                      <a:cxn ang="T171">
                        <a:pos x="T98" y="T99"/>
                      </a:cxn>
                      <a:cxn ang="T172">
                        <a:pos x="T100" y="T101"/>
                      </a:cxn>
                      <a:cxn ang="T173">
                        <a:pos x="T102" y="T103"/>
                      </a:cxn>
                      <a:cxn ang="T174">
                        <a:pos x="T104" y="T105"/>
                      </a:cxn>
                      <a:cxn ang="T175">
                        <a:pos x="T106" y="T107"/>
                      </a:cxn>
                      <a:cxn ang="T176">
                        <a:pos x="T108" y="T109"/>
                      </a:cxn>
                      <a:cxn ang="T177">
                        <a:pos x="T110" y="T111"/>
                      </a:cxn>
                      <a:cxn ang="T178">
                        <a:pos x="T112" y="T113"/>
                      </a:cxn>
                      <a:cxn ang="T179">
                        <a:pos x="T114" y="T115"/>
                      </a:cxn>
                      <a:cxn ang="T180">
                        <a:pos x="T116" y="T117"/>
                      </a:cxn>
                      <a:cxn ang="T181">
                        <a:pos x="T118" y="T119"/>
                      </a:cxn>
                      <a:cxn ang="T182">
                        <a:pos x="T120" y="T121"/>
                      </a:cxn>
                    </a:cxnLst>
                    <a:rect l="T183" t="T184" r="T185" b="T186"/>
                    <a:pathLst>
                      <a:path w="735" h="715">
                        <a:moveTo>
                          <a:pt x="5" y="439"/>
                        </a:moveTo>
                        <a:lnTo>
                          <a:pt x="0" y="441"/>
                        </a:lnTo>
                        <a:lnTo>
                          <a:pt x="0" y="444"/>
                        </a:lnTo>
                        <a:lnTo>
                          <a:pt x="0" y="440"/>
                        </a:lnTo>
                        <a:lnTo>
                          <a:pt x="0" y="436"/>
                        </a:lnTo>
                        <a:lnTo>
                          <a:pt x="0" y="431"/>
                        </a:lnTo>
                        <a:lnTo>
                          <a:pt x="0" y="428"/>
                        </a:lnTo>
                        <a:lnTo>
                          <a:pt x="6" y="426"/>
                        </a:lnTo>
                        <a:lnTo>
                          <a:pt x="6" y="416"/>
                        </a:lnTo>
                        <a:lnTo>
                          <a:pt x="8" y="406"/>
                        </a:lnTo>
                        <a:lnTo>
                          <a:pt x="11" y="395"/>
                        </a:lnTo>
                        <a:lnTo>
                          <a:pt x="18" y="388"/>
                        </a:lnTo>
                        <a:lnTo>
                          <a:pt x="23" y="385"/>
                        </a:lnTo>
                        <a:lnTo>
                          <a:pt x="27" y="383"/>
                        </a:lnTo>
                        <a:lnTo>
                          <a:pt x="37" y="390"/>
                        </a:lnTo>
                        <a:lnTo>
                          <a:pt x="46" y="388"/>
                        </a:lnTo>
                        <a:lnTo>
                          <a:pt x="51" y="380"/>
                        </a:lnTo>
                        <a:lnTo>
                          <a:pt x="56" y="375"/>
                        </a:lnTo>
                        <a:lnTo>
                          <a:pt x="67" y="373"/>
                        </a:lnTo>
                        <a:lnTo>
                          <a:pt x="76" y="371"/>
                        </a:lnTo>
                        <a:lnTo>
                          <a:pt x="77" y="374"/>
                        </a:lnTo>
                        <a:lnTo>
                          <a:pt x="79" y="387"/>
                        </a:lnTo>
                        <a:lnTo>
                          <a:pt x="86" y="388"/>
                        </a:lnTo>
                        <a:lnTo>
                          <a:pt x="101" y="383"/>
                        </a:lnTo>
                        <a:lnTo>
                          <a:pt x="116" y="370"/>
                        </a:lnTo>
                        <a:lnTo>
                          <a:pt x="127" y="364"/>
                        </a:lnTo>
                        <a:lnTo>
                          <a:pt x="137" y="354"/>
                        </a:lnTo>
                        <a:lnTo>
                          <a:pt x="146" y="337"/>
                        </a:lnTo>
                        <a:lnTo>
                          <a:pt x="149" y="326"/>
                        </a:lnTo>
                        <a:lnTo>
                          <a:pt x="149" y="313"/>
                        </a:lnTo>
                        <a:lnTo>
                          <a:pt x="150" y="298"/>
                        </a:lnTo>
                        <a:lnTo>
                          <a:pt x="156" y="283"/>
                        </a:lnTo>
                        <a:lnTo>
                          <a:pt x="172" y="257"/>
                        </a:lnTo>
                        <a:lnTo>
                          <a:pt x="185" y="246"/>
                        </a:lnTo>
                        <a:lnTo>
                          <a:pt x="199" y="239"/>
                        </a:lnTo>
                        <a:lnTo>
                          <a:pt x="209" y="231"/>
                        </a:lnTo>
                        <a:lnTo>
                          <a:pt x="209" y="227"/>
                        </a:lnTo>
                        <a:lnTo>
                          <a:pt x="215" y="205"/>
                        </a:lnTo>
                        <a:lnTo>
                          <a:pt x="216" y="159"/>
                        </a:lnTo>
                        <a:lnTo>
                          <a:pt x="222" y="128"/>
                        </a:lnTo>
                        <a:lnTo>
                          <a:pt x="229" y="111"/>
                        </a:lnTo>
                        <a:lnTo>
                          <a:pt x="242" y="85"/>
                        </a:lnTo>
                        <a:lnTo>
                          <a:pt x="246" y="71"/>
                        </a:lnTo>
                        <a:lnTo>
                          <a:pt x="245" y="59"/>
                        </a:lnTo>
                        <a:lnTo>
                          <a:pt x="254" y="58"/>
                        </a:lnTo>
                        <a:lnTo>
                          <a:pt x="252" y="52"/>
                        </a:lnTo>
                        <a:lnTo>
                          <a:pt x="252" y="38"/>
                        </a:lnTo>
                        <a:lnTo>
                          <a:pt x="256" y="28"/>
                        </a:lnTo>
                        <a:lnTo>
                          <a:pt x="261" y="26"/>
                        </a:lnTo>
                        <a:lnTo>
                          <a:pt x="264" y="14"/>
                        </a:lnTo>
                        <a:lnTo>
                          <a:pt x="269" y="10"/>
                        </a:lnTo>
                        <a:lnTo>
                          <a:pt x="279" y="3"/>
                        </a:lnTo>
                        <a:lnTo>
                          <a:pt x="289" y="3"/>
                        </a:lnTo>
                        <a:lnTo>
                          <a:pt x="301" y="4"/>
                        </a:lnTo>
                        <a:lnTo>
                          <a:pt x="305" y="10"/>
                        </a:lnTo>
                        <a:lnTo>
                          <a:pt x="307" y="17"/>
                        </a:lnTo>
                        <a:lnTo>
                          <a:pt x="321" y="29"/>
                        </a:lnTo>
                        <a:lnTo>
                          <a:pt x="327" y="30"/>
                        </a:lnTo>
                        <a:lnTo>
                          <a:pt x="332" y="26"/>
                        </a:lnTo>
                        <a:lnTo>
                          <a:pt x="342" y="32"/>
                        </a:lnTo>
                        <a:lnTo>
                          <a:pt x="358" y="36"/>
                        </a:lnTo>
                        <a:lnTo>
                          <a:pt x="393" y="36"/>
                        </a:lnTo>
                        <a:lnTo>
                          <a:pt x="399" y="33"/>
                        </a:lnTo>
                        <a:lnTo>
                          <a:pt x="400" y="22"/>
                        </a:lnTo>
                        <a:lnTo>
                          <a:pt x="410" y="15"/>
                        </a:lnTo>
                        <a:lnTo>
                          <a:pt x="423" y="18"/>
                        </a:lnTo>
                        <a:lnTo>
                          <a:pt x="429" y="22"/>
                        </a:lnTo>
                        <a:lnTo>
                          <a:pt x="442" y="18"/>
                        </a:lnTo>
                        <a:lnTo>
                          <a:pt x="449" y="13"/>
                        </a:lnTo>
                        <a:lnTo>
                          <a:pt x="467" y="10"/>
                        </a:lnTo>
                        <a:lnTo>
                          <a:pt x="476" y="7"/>
                        </a:lnTo>
                        <a:lnTo>
                          <a:pt x="480" y="7"/>
                        </a:lnTo>
                        <a:lnTo>
                          <a:pt x="482" y="10"/>
                        </a:lnTo>
                        <a:lnTo>
                          <a:pt x="480" y="10"/>
                        </a:lnTo>
                        <a:lnTo>
                          <a:pt x="486" y="12"/>
                        </a:lnTo>
                        <a:lnTo>
                          <a:pt x="490" y="10"/>
                        </a:lnTo>
                        <a:lnTo>
                          <a:pt x="500" y="10"/>
                        </a:lnTo>
                        <a:lnTo>
                          <a:pt x="502" y="1"/>
                        </a:lnTo>
                        <a:lnTo>
                          <a:pt x="516" y="5"/>
                        </a:lnTo>
                        <a:lnTo>
                          <a:pt x="531" y="3"/>
                        </a:lnTo>
                        <a:lnTo>
                          <a:pt x="543" y="0"/>
                        </a:lnTo>
                        <a:lnTo>
                          <a:pt x="553" y="10"/>
                        </a:lnTo>
                        <a:lnTo>
                          <a:pt x="558" y="5"/>
                        </a:lnTo>
                        <a:lnTo>
                          <a:pt x="565" y="10"/>
                        </a:lnTo>
                        <a:lnTo>
                          <a:pt x="571" y="3"/>
                        </a:lnTo>
                        <a:lnTo>
                          <a:pt x="590" y="3"/>
                        </a:lnTo>
                        <a:lnTo>
                          <a:pt x="596" y="10"/>
                        </a:lnTo>
                        <a:lnTo>
                          <a:pt x="604" y="17"/>
                        </a:lnTo>
                        <a:lnTo>
                          <a:pt x="609" y="22"/>
                        </a:lnTo>
                        <a:lnTo>
                          <a:pt x="612" y="29"/>
                        </a:lnTo>
                        <a:lnTo>
                          <a:pt x="628" y="36"/>
                        </a:lnTo>
                        <a:lnTo>
                          <a:pt x="633" y="33"/>
                        </a:lnTo>
                        <a:lnTo>
                          <a:pt x="638" y="28"/>
                        </a:lnTo>
                        <a:lnTo>
                          <a:pt x="655" y="33"/>
                        </a:lnTo>
                        <a:lnTo>
                          <a:pt x="664" y="32"/>
                        </a:lnTo>
                        <a:lnTo>
                          <a:pt x="673" y="23"/>
                        </a:lnTo>
                        <a:lnTo>
                          <a:pt x="680" y="29"/>
                        </a:lnTo>
                        <a:lnTo>
                          <a:pt x="698" y="48"/>
                        </a:lnTo>
                        <a:lnTo>
                          <a:pt x="708" y="52"/>
                        </a:lnTo>
                        <a:lnTo>
                          <a:pt x="714" y="59"/>
                        </a:lnTo>
                        <a:lnTo>
                          <a:pt x="718" y="63"/>
                        </a:lnTo>
                        <a:lnTo>
                          <a:pt x="723" y="63"/>
                        </a:lnTo>
                        <a:lnTo>
                          <a:pt x="723" y="64"/>
                        </a:lnTo>
                        <a:lnTo>
                          <a:pt x="720" y="71"/>
                        </a:lnTo>
                        <a:lnTo>
                          <a:pt x="718" y="84"/>
                        </a:lnTo>
                        <a:lnTo>
                          <a:pt x="718" y="99"/>
                        </a:lnTo>
                        <a:lnTo>
                          <a:pt x="721" y="106"/>
                        </a:lnTo>
                        <a:lnTo>
                          <a:pt x="724" y="109"/>
                        </a:lnTo>
                        <a:lnTo>
                          <a:pt x="728" y="111"/>
                        </a:lnTo>
                        <a:lnTo>
                          <a:pt x="733" y="114"/>
                        </a:lnTo>
                        <a:lnTo>
                          <a:pt x="735" y="117"/>
                        </a:lnTo>
                        <a:lnTo>
                          <a:pt x="733" y="119"/>
                        </a:lnTo>
                        <a:lnTo>
                          <a:pt x="728" y="125"/>
                        </a:lnTo>
                        <a:lnTo>
                          <a:pt x="716" y="134"/>
                        </a:lnTo>
                        <a:lnTo>
                          <a:pt x="707" y="143"/>
                        </a:lnTo>
                        <a:lnTo>
                          <a:pt x="704" y="148"/>
                        </a:lnTo>
                        <a:lnTo>
                          <a:pt x="704" y="155"/>
                        </a:lnTo>
                        <a:lnTo>
                          <a:pt x="705" y="155"/>
                        </a:lnTo>
                        <a:lnTo>
                          <a:pt x="707" y="155"/>
                        </a:lnTo>
                        <a:lnTo>
                          <a:pt x="698" y="164"/>
                        </a:lnTo>
                        <a:lnTo>
                          <a:pt x="690" y="174"/>
                        </a:lnTo>
                        <a:lnTo>
                          <a:pt x="687" y="178"/>
                        </a:lnTo>
                        <a:lnTo>
                          <a:pt x="683" y="186"/>
                        </a:lnTo>
                        <a:lnTo>
                          <a:pt x="678" y="207"/>
                        </a:lnTo>
                        <a:lnTo>
                          <a:pt x="678" y="216"/>
                        </a:lnTo>
                        <a:lnTo>
                          <a:pt x="676" y="237"/>
                        </a:lnTo>
                        <a:lnTo>
                          <a:pt x="676" y="251"/>
                        </a:lnTo>
                        <a:lnTo>
                          <a:pt x="673" y="253"/>
                        </a:lnTo>
                        <a:lnTo>
                          <a:pt x="669" y="257"/>
                        </a:lnTo>
                        <a:lnTo>
                          <a:pt x="664" y="265"/>
                        </a:lnTo>
                        <a:lnTo>
                          <a:pt x="659" y="276"/>
                        </a:lnTo>
                        <a:lnTo>
                          <a:pt x="655" y="283"/>
                        </a:lnTo>
                        <a:lnTo>
                          <a:pt x="649" y="294"/>
                        </a:lnTo>
                        <a:lnTo>
                          <a:pt x="649" y="298"/>
                        </a:lnTo>
                        <a:lnTo>
                          <a:pt x="649" y="301"/>
                        </a:lnTo>
                        <a:lnTo>
                          <a:pt x="654" y="306"/>
                        </a:lnTo>
                        <a:lnTo>
                          <a:pt x="657" y="310"/>
                        </a:lnTo>
                        <a:lnTo>
                          <a:pt x="660" y="314"/>
                        </a:lnTo>
                        <a:lnTo>
                          <a:pt x="660" y="330"/>
                        </a:lnTo>
                        <a:lnTo>
                          <a:pt x="659" y="336"/>
                        </a:lnTo>
                        <a:lnTo>
                          <a:pt x="657" y="344"/>
                        </a:lnTo>
                        <a:lnTo>
                          <a:pt x="654" y="355"/>
                        </a:lnTo>
                        <a:lnTo>
                          <a:pt x="652" y="362"/>
                        </a:lnTo>
                        <a:lnTo>
                          <a:pt x="654" y="366"/>
                        </a:lnTo>
                        <a:lnTo>
                          <a:pt x="655" y="365"/>
                        </a:lnTo>
                        <a:lnTo>
                          <a:pt x="657" y="371"/>
                        </a:lnTo>
                        <a:lnTo>
                          <a:pt x="654" y="388"/>
                        </a:lnTo>
                        <a:lnTo>
                          <a:pt x="652" y="399"/>
                        </a:lnTo>
                        <a:lnTo>
                          <a:pt x="657" y="412"/>
                        </a:lnTo>
                        <a:lnTo>
                          <a:pt x="662" y="421"/>
                        </a:lnTo>
                        <a:lnTo>
                          <a:pt x="662" y="429"/>
                        </a:lnTo>
                        <a:lnTo>
                          <a:pt x="660" y="438"/>
                        </a:lnTo>
                        <a:lnTo>
                          <a:pt x="663" y="449"/>
                        </a:lnTo>
                        <a:lnTo>
                          <a:pt x="666" y="455"/>
                        </a:lnTo>
                        <a:lnTo>
                          <a:pt x="671" y="467"/>
                        </a:lnTo>
                        <a:lnTo>
                          <a:pt x="676" y="472"/>
                        </a:lnTo>
                        <a:lnTo>
                          <a:pt x="685" y="481"/>
                        </a:lnTo>
                        <a:lnTo>
                          <a:pt x="695" y="485"/>
                        </a:lnTo>
                        <a:lnTo>
                          <a:pt x="702" y="493"/>
                        </a:lnTo>
                        <a:lnTo>
                          <a:pt x="707" y="518"/>
                        </a:lnTo>
                        <a:lnTo>
                          <a:pt x="664" y="527"/>
                        </a:lnTo>
                        <a:lnTo>
                          <a:pt x="655" y="529"/>
                        </a:lnTo>
                        <a:lnTo>
                          <a:pt x="652" y="532"/>
                        </a:lnTo>
                        <a:lnTo>
                          <a:pt x="649" y="534"/>
                        </a:lnTo>
                        <a:lnTo>
                          <a:pt x="644" y="543"/>
                        </a:lnTo>
                        <a:lnTo>
                          <a:pt x="641" y="548"/>
                        </a:lnTo>
                        <a:lnTo>
                          <a:pt x="638" y="554"/>
                        </a:lnTo>
                        <a:lnTo>
                          <a:pt x="638" y="557"/>
                        </a:lnTo>
                        <a:lnTo>
                          <a:pt x="638" y="564"/>
                        </a:lnTo>
                        <a:lnTo>
                          <a:pt x="642" y="576"/>
                        </a:lnTo>
                        <a:lnTo>
                          <a:pt x="644" y="587"/>
                        </a:lnTo>
                        <a:lnTo>
                          <a:pt x="644" y="604"/>
                        </a:lnTo>
                        <a:lnTo>
                          <a:pt x="642" y="610"/>
                        </a:lnTo>
                        <a:lnTo>
                          <a:pt x="632" y="636"/>
                        </a:lnTo>
                        <a:lnTo>
                          <a:pt x="629" y="643"/>
                        </a:lnTo>
                        <a:lnTo>
                          <a:pt x="628" y="649"/>
                        </a:lnTo>
                        <a:lnTo>
                          <a:pt x="629" y="655"/>
                        </a:lnTo>
                        <a:lnTo>
                          <a:pt x="629" y="658"/>
                        </a:lnTo>
                        <a:lnTo>
                          <a:pt x="634" y="662"/>
                        </a:lnTo>
                        <a:lnTo>
                          <a:pt x="642" y="671"/>
                        </a:lnTo>
                        <a:lnTo>
                          <a:pt x="647" y="673"/>
                        </a:lnTo>
                        <a:lnTo>
                          <a:pt x="655" y="674"/>
                        </a:lnTo>
                        <a:lnTo>
                          <a:pt x="663" y="676"/>
                        </a:lnTo>
                        <a:lnTo>
                          <a:pt x="670" y="673"/>
                        </a:lnTo>
                        <a:lnTo>
                          <a:pt x="673" y="673"/>
                        </a:lnTo>
                        <a:lnTo>
                          <a:pt x="676" y="678"/>
                        </a:lnTo>
                        <a:lnTo>
                          <a:pt x="676" y="703"/>
                        </a:lnTo>
                        <a:lnTo>
                          <a:pt x="676" y="707"/>
                        </a:lnTo>
                        <a:lnTo>
                          <a:pt x="676" y="712"/>
                        </a:lnTo>
                        <a:lnTo>
                          <a:pt x="676" y="715"/>
                        </a:lnTo>
                        <a:lnTo>
                          <a:pt x="673" y="715"/>
                        </a:lnTo>
                        <a:lnTo>
                          <a:pt x="670" y="714"/>
                        </a:lnTo>
                        <a:lnTo>
                          <a:pt x="666" y="707"/>
                        </a:lnTo>
                        <a:lnTo>
                          <a:pt x="665" y="707"/>
                        </a:lnTo>
                        <a:lnTo>
                          <a:pt x="663" y="707"/>
                        </a:lnTo>
                        <a:lnTo>
                          <a:pt x="660" y="710"/>
                        </a:lnTo>
                        <a:lnTo>
                          <a:pt x="655" y="710"/>
                        </a:lnTo>
                        <a:lnTo>
                          <a:pt x="649" y="709"/>
                        </a:lnTo>
                        <a:lnTo>
                          <a:pt x="642" y="707"/>
                        </a:lnTo>
                        <a:lnTo>
                          <a:pt x="633" y="700"/>
                        </a:lnTo>
                        <a:lnTo>
                          <a:pt x="622" y="693"/>
                        </a:lnTo>
                        <a:lnTo>
                          <a:pt x="621" y="688"/>
                        </a:lnTo>
                        <a:lnTo>
                          <a:pt x="617" y="680"/>
                        </a:lnTo>
                        <a:lnTo>
                          <a:pt x="612" y="674"/>
                        </a:lnTo>
                        <a:lnTo>
                          <a:pt x="604" y="674"/>
                        </a:lnTo>
                        <a:lnTo>
                          <a:pt x="596" y="673"/>
                        </a:lnTo>
                        <a:lnTo>
                          <a:pt x="587" y="668"/>
                        </a:lnTo>
                        <a:lnTo>
                          <a:pt x="573" y="655"/>
                        </a:lnTo>
                        <a:lnTo>
                          <a:pt x="569" y="654"/>
                        </a:lnTo>
                        <a:lnTo>
                          <a:pt x="563" y="655"/>
                        </a:lnTo>
                        <a:lnTo>
                          <a:pt x="554" y="659"/>
                        </a:lnTo>
                        <a:lnTo>
                          <a:pt x="548" y="661"/>
                        </a:lnTo>
                        <a:lnTo>
                          <a:pt x="540" y="659"/>
                        </a:lnTo>
                        <a:lnTo>
                          <a:pt x="527" y="655"/>
                        </a:lnTo>
                        <a:lnTo>
                          <a:pt x="518" y="649"/>
                        </a:lnTo>
                        <a:lnTo>
                          <a:pt x="509" y="646"/>
                        </a:lnTo>
                        <a:lnTo>
                          <a:pt x="505" y="642"/>
                        </a:lnTo>
                        <a:lnTo>
                          <a:pt x="504" y="636"/>
                        </a:lnTo>
                        <a:lnTo>
                          <a:pt x="499" y="630"/>
                        </a:lnTo>
                        <a:lnTo>
                          <a:pt x="490" y="633"/>
                        </a:lnTo>
                        <a:lnTo>
                          <a:pt x="486" y="633"/>
                        </a:lnTo>
                        <a:lnTo>
                          <a:pt x="483" y="635"/>
                        </a:lnTo>
                        <a:lnTo>
                          <a:pt x="473" y="638"/>
                        </a:lnTo>
                        <a:lnTo>
                          <a:pt x="471" y="638"/>
                        </a:lnTo>
                        <a:lnTo>
                          <a:pt x="469" y="635"/>
                        </a:lnTo>
                        <a:lnTo>
                          <a:pt x="470" y="625"/>
                        </a:lnTo>
                        <a:lnTo>
                          <a:pt x="466" y="618"/>
                        </a:lnTo>
                        <a:lnTo>
                          <a:pt x="464" y="617"/>
                        </a:lnTo>
                        <a:lnTo>
                          <a:pt x="461" y="618"/>
                        </a:lnTo>
                        <a:lnTo>
                          <a:pt x="454" y="621"/>
                        </a:lnTo>
                        <a:lnTo>
                          <a:pt x="452" y="621"/>
                        </a:lnTo>
                        <a:lnTo>
                          <a:pt x="447" y="624"/>
                        </a:lnTo>
                        <a:lnTo>
                          <a:pt x="445" y="624"/>
                        </a:lnTo>
                        <a:lnTo>
                          <a:pt x="439" y="623"/>
                        </a:lnTo>
                        <a:lnTo>
                          <a:pt x="431" y="627"/>
                        </a:lnTo>
                        <a:lnTo>
                          <a:pt x="396" y="627"/>
                        </a:lnTo>
                        <a:lnTo>
                          <a:pt x="392" y="628"/>
                        </a:lnTo>
                        <a:lnTo>
                          <a:pt x="391" y="633"/>
                        </a:lnTo>
                        <a:lnTo>
                          <a:pt x="388" y="637"/>
                        </a:lnTo>
                        <a:lnTo>
                          <a:pt x="386" y="638"/>
                        </a:lnTo>
                        <a:lnTo>
                          <a:pt x="381" y="637"/>
                        </a:lnTo>
                        <a:lnTo>
                          <a:pt x="378" y="632"/>
                        </a:lnTo>
                        <a:lnTo>
                          <a:pt x="375" y="632"/>
                        </a:lnTo>
                        <a:lnTo>
                          <a:pt x="375" y="630"/>
                        </a:lnTo>
                        <a:lnTo>
                          <a:pt x="373" y="628"/>
                        </a:lnTo>
                        <a:lnTo>
                          <a:pt x="373" y="627"/>
                        </a:lnTo>
                        <a:lnTo>
                          <a:pt x="381" y="618"/>
                        </a:lnTo>
                        <a:lnTo>
                          <a:pt x="384" y="614"/>
                        </a:lnTo>
                        <a:lnTo>
                          <a:pt x="385" y="610"/>
                        </a:lnTo>
                        <a:lnTo>
                          <a:pt x="381" y="598"/>
                        </a:lnTo>
                        <a:lnTo>
                          <a:pt x="376" y="583"/>
                        </a:lnTo>
                        <a:lnTo>
                          <a:pt x="370" y="573"/>
                        </a:lnTo>
                        <a:lnTo>
                          <a:pt x="368" y="567"/>
                        </a:lnTo>
                        <a:lnTo>
                          <a:pt x="369" y="558"/>
                        </a:lnTo>
                        <a:lnTo>
                          <a:pt x="370" y="549"/>
                        </a:lnTo>
                        <a:lnTo>
                          <a:pt x="370" y="546"/>
                        </a:lnTo>
                        <a:lnTo>
                          <a:pt x="369" y="534"/>
                        </a:lnTo>
                        <a:lnTo>
                          <a:pt x="369" y="523"/>
                        </a:lnTo>
                        <a:lnTo>
                          <a:pt x="368" y="515"/>
                        </a:lnTo>
                        <a:lnTo>
                          <a:pt x="365" y="491"/>
                        </a:lnTo>
                        <a:lnTo>
                          <a:pt x="363" y="486"/>
                        </a:lnTo>
                        <a:lnTo>
                          <a:pt x="362" y="484"/>
                        </a:lnTo>
                        <a:lnTo>
                          <a:pt x="327" y="482"/>
                        </a:lnTo>
                        <a:lnTo>
                          <a:pt x="328" y="467"/>
                        </a:lnTo>
                        <a:lnTo>
                          <a:pt x="311" y="467"/>
                        </a:lnTo>
                        <a:lnTo>
                          <a:pt x="311" y="471"/>
                        </a:lnTo>
                        <a:lnTo>
                          <a:pt x="280" y="471"/>
                        </a:lnTo>
                        <a:lnTo>
                          <a:pt x="279" y="477"/>
                        </a:lnTo>
                        <a:lnTo>
                          <a:pt x="279" y="485"/>
                        </a:lnTo>
                        <a:lnTo>
                          <a:pt x="277" y="490"/>
                        </a:lnTo>
                        <a:lnTo>
                          <a:pt x="276" y="491"/>
                        </a:lnTo>
                        <a:lnTo>
                          <a:pt x="274" y="494"/>
                        </a:lnTo>
                        <a:lnTo>
                          <a:pt x="274" y="500"/>
                        </a:lnTo>
                        <a:lnTo>
                          <a:pt x="271" y="510"/>
                        </a:lnTo>
                        <a:lnTo>
                          <a:pt x="258" y="510"/>
                        </a:lnTo>
                        <a:lnTo>
                          <a:pt x="245" y="508"/>
                        </a:lnTo>
                        <a:lnTo>
                          <a:pt x="236" y="512"/>
                        </a:lnTo>
                        <a:lnTo>
                          <a:pt x="221" y="516"/>
                        </a:lnTo>
                        <a:lnTo>
                          <a:pt x="211" y="516"/>
                        </a:lnTo>
                        <a:lnTo>
                          <a:pt x="203" y="512"/>
                        </a:lnTo>
                        <a:lnTo>
                          <a:pt x="188" y="493"/>
                        </a:lnTo>
                        <a:lnTo>
                          <a:pt x="180" y="484"/>
                        </a:lnTo>
                        <a:lnTo>
                          <a:pt x="177" y="472"/>
                        </a:lnTo>
                        <a:lnTo>
                          <a:pt x="172" y="464"/>
                        </a:lnTo>
                        <a:lnTo>
                          <a:pt x="170" y="460"/>
                        </a:lnTo>
                        <a:lnTo>
                          <a:pt x="170" y="452"/>
                        </a:lnTo>
                        <a:lnTo>
                          <a:pt x="167" y="438"/>
                        </a:lnTo>
                        <a:lnTo>
                          <a:pt x="163" y="431"/>
                        </a:lnTo>
                        <a:lnTo>
                          <a:pt x="160" y="433"/>
                        </a:lnTo>
                        <a:lnTo>
                          <a:pt x="158" y="433"/>
                        </a:lnTo>
                        <a:lnTo>
                          <a:pt x="154" y="426"/>
                        </a:lnTo>
                        <a:lnTo>
                          <a:pt x="152" y="426"/>
                        </a:lnTo>
                        <a:lnTo>
                          <a:pt x="140" y="426"/>
                        </a:lnTo>
                        <a:lnTo>
                          <a:pt x="118" y="426"/>
                        </a:lnTo>
                        <a:lnTo>
                          <a:pt x="108" y="426"/>
                        </a:lnTo>
                        <a:lnTo>
                          <a:pt x="99" y="428"/>
                        </a:lnTo>
                        <a:lnTo>
                          <a:pt x="86" y="428"/>
                        </a:lnTo>
                        <a:lnTo>
                          <a:pt x="81" y="426"/>
                        </a:lnTo>
                        <a:lnTo>
                          <a:pt x="65" y="428"/>
                        </a:lnTo>
                        <a:lnTo>
                          <a:pt x="49" y="426"/>
                        </a:lnTo>
                        <a:lnTo>
                          <a:pt x="43" y="428"/>
                        </a:lnTo>
                        <a:lnTo>
                          <a:pt x="37" y="428"/>
                        </a:lnTo>
                        <a:lnTo>
                          <a:pt x="27" y="431"/>
                        </a:lnTo>
                        <a:lnTo>
                          <a:pt x="18" y="436"/>
                        </a:lnTo>
                        <a:lnTo>
                          <a:pt x="5" y="439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0" name="Freeform 78"/>
                  <p:cNvSpPr>
                    <a:spLocks/>
                  </p:cNvSpPr>
                  <p:nvPr/>
                </p:nvSpPr>
                <p:spPr bwMode="auto">
                  <a:xfrm>
                    <a:off x="1878" y="2075"/>
                    <a:ext cx="540" cy="332"/>
                  </a:xfrm>
                  <a:custGeom>
                    <a:avLst/>
                    <a:gdLst>
                      <a:gd name="T0" fmla="*/ 26508 w 505"/>
                      <a:gd name="T1" fmla="*/ 0 h 316"/>
                      <a:gd name="T2" fmla="*/ 29190 w 505"/>
                      <a:gd name="T3" fmla="*/ 943 h 316"/>
                      <a:gd name="T4" fmla="*/ 28883 w 505"/>
                      <a:gd name="T5" fmla="*/ 1859 h 316"/>
                      <a:gd name="T6" fmla="*/ 30308 w 505"/>
                      <a:gd name="T7" fmla="*/ 2342 h 316"/>
                      <a:gd name="T8" fmla="*/ 32181 w 505"/>
                      <a:gd name="T9" fmla="*/ 2727 h 316"/>
                      <a:gd name="T10" fmla="*/ 34594 w 505"/>
                      <a:gd name="T11" fmla="*/ 3000 h 316"/>
                      <a:gd name="T12" fmla="*/ 34657 w 505"/>
                      <a:gd name="T13" fmla="*/ 3480 h 316"/>
                      <a:gd name="T14" fmla="*/ 37471 w 505"/>
                      <a:gd name="T15" fmla="*/ 4085 h 316"/>
                      <a:gd name="T16" fmla="*/ 38592 w 505"/>
                      <a:gd name="T17" fmla="*/ 4576 h 316"/>
                      <a:gd name="T18" fmla="*/ 39619 w 505"/>
                      <a:gd name="T19" fmla="*/ 5051 h 316"/>
                      <a:gd name="T20" fmla="*/ 41799 w 505"/>
                      <a:gd name="T21" fmla="*/ 5703 h 316"/>
                      <a:gd name="T22" fmla="*/ 40068 w 505"/>
                      <a:gd name="T23" fmla="*/ 6026 h 316"/>
                      <a:gd name="T24" fmla="*/ 38162 w 505"/>
                      <a:gd name="T25" fmla="*/ 5772 h 316"/>
                      <a:gd name="T26" fmla="*/ 34657 w 505"/>
                      <a:gd name="T27" fmla="*/ 5858 h 316"/>
                      <a:gd name="T28" fmla="*/ 33416 w 505"/>
                      <a:gd name="T29" fmla="*/ 6086 h 316"/>
                      <a:gd name="T30" fmla="*/ 32845 w 505"/>
                      <a:gd name="T31" fmla="*/ 5965 h 316"/>
                      <a:gd name="T32" fmla="*/ 30308 w 505"/>
                      <a:gd name="T33" fmla="*/ 6155 h 316"/>
                      <a:gd name="T34" fmla="*/ 28160 w 505"/>
                      <a:gd name="T35" fmla="*/ 6244 h 316"/>
                      <a:gd name="T36" fmla="*/ 26222 w 505"/>
                      <a:gd name="T37" fmla="*/ 6652 h 316"/>
                      <a:gd name="T38" fmla="*/ 21447 w 505"/>
                      <a:gd name="T39" fmla="*/ 6614 h 316"/>
                      <a:gd name="T40" fmla="*/ 19746 w 505"/>
                      <a:gd name="T41" fmla="*/ 6538 h 316"/>
                      <a:gd name="T42" fmla="*/ 17970 w 505"/>
                      <a:gd name="T43" fmla="*/ 5894 h 316"/>
                      <a:gd name="T44" fmla="*/ 15507 w 505"/>
                      <a:gd name="T45" fmla="*/ 6026 h 316"/>
                      <a:gd name="T46" fmla="*/ 14401 w 505"/>
                      <a:gd name="T47" fmla="*/ 6525 h 316"/>
                      <a:gd name="T48" fmla="*/ 14146 w 505"/>
                      <a:gd name="T49" fmla="*/ 7276 h 316"/>
                      <a:gd name="T50" fmla="*/ 12179 w 505"/>
                      <a:gd name="T51" fmla="*/ 7567 h 316"/>
                      <a:gd name="T52" fmla="*/ 9143 w 505"/>
                      <a:gd name="T53" fmla="*/ 7323 h 316"/>
                      <a:gd name="T54" fmla="*/ 5679 w 505"/>
                      <a:gd name="T55" fmla="*/ 7950 h 316"/>
                      <a:gd name="T56" fmla="*/ 3323 w 505"/>
                      <a:gd name="T57" fmla="*/ 7879 h 316"/>
                      <a:gd name="T58" fmla="*/ 834 w 505"/>
                      <a:gd name="T59" fmla="*/ 6538 h 316"/>
                      <a:gd name="T60" fmla="*/ 3 w 505"/>
                      <a:gd name="T61" fmla="*/ 5627 h 316"/>
                      <a:gd name="T62" fmla="*/ 6 w 505"/>
                      <a:gd name="T63" fmla="*/ 4932 h 316"/>
                      <a:gd name="T64" fmla="*/ 2224 w 505"/>
                      <a:gd name="T65" fmla="*/ 4085 h 316"/>
                      <a:gd name="T66" fmla="*/ 3553 w 505"/>
                      <a:gd name="T67" fmla="*/ 3534 h 316"/>
                      <a:gd name="T68" fmla="*/ 4634 w 505"/>
                      <a:gd name="T69" fmla="*/ 3534 h 316"/>
                      <a:gd name="T70" fmla="*/ 6231 w 505"/>
                      <a:gd name="T71" fmla="*/ 3402 h 316"/>
                      <a:gd name="T72" fmla="*/ 6540 w 505"/>
                      <a:gd name="T73" fmla="*/ 3162 h 316"/>
                      <a:gd name="T74" fmla="*/ 7125 w 505"/>
                      <a:gd name="T75" fmla="*/ 3312 h 316"/>
                      <a:gd name="T76" fmla="*/ 7996 w 505"/>
                      <a:gd name="T77" fmla="*/ 3480 h 316"/>
                      <a:gd name="T78" fmla="*/ 9056 w 505"/>
                      <a:gd name="T79" fmla="*/ 3312 h 316"/>
                      <a:gd name="T80" fmla="*/ 10734 w 505"/>
                      <a:gd name="T81" fmla="*/ 3048 h 316"/>
                      <a:gd name="T82" fmla="*/ 12054 w 505"/>
                      <a:gd name="T83" fmla="*/ 3000 h 316"/>
                      <a:gd name="T84" fmla="*/ 13571 w 505"/>
                      <a:gd name="T85" fmla="*/ 2855 h 316"/>
                      <a:gd name="T86" fmla="*/ 14476 w 505"/>
                      <a:gd name="T87" fmla="*/ 2717 h 316"/>
                      <a:gd name="T88" fmla="*/ 14737 w 505"/>
                      <a:gd name="T89" fmla="*/ 2461 h 316"/>
                      <a:gd name="T90" fmla="*/ 14502 w 505"/>
                      <a:gd name="T91" fmla="*/ 2181 h 316"/>
                      <a:gd name="T92" fmla="*/ 15126 w 505"/>
                      <a:gd name="T93" fmla="*/ 2020 h 316"/>
                      <a:gd name="T94" fmla="*/ 17098 w 505"/>
                      <a:gd name="T95" fmla="*/ 1930 h 316"/>
                      <a:gd name="T96" fmla="*/ 18466 w 505"/>
                      <a:gd name="T97" fmla="*/ 1923 h 316"/>
                      <a:gd name="T98" fmla="*/ 19469 w 505"/>
                      <a:gd name="T99" fmla="*/ 1837 h 316"/>
                      <a:gd name="T100" fmla="*/ 20880 w 505"/>
                      <a:gd name="T101" fmla="*/ 1526 h 316"/>
                      <a:gd name="T102" fmla="*/ 22327 w 505"/>
                      <a:gd name="T103" fmla="*/ 991 h 316"/>
                      <a:gd name="T104" fmla="*/ 23182 w 505"/>
                      <a:gd name="T105" fmla="*/ 802 h 316"/>
                      <a:gd name="T106" fmla="*/ 23819 w 505"/>
                      <a:gd name="T107" fmla="*/ 299 h 316"/>
                      <a:gd name="T108" fmla="*/ 25470 w 505"/>
                      <a:gd name="T109" fmla="*/ 3 h 31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505"/>
                      <a:gd name="T166" fmla="*/ 0 h 316"/>
                      <a:gd name="T167" fmla="*/ 505 w 505"/>
                      <a:gd name="T168" fmla="*/ 316 h 316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505" h="316">
                        <a:moveTo>
                          <a:pt x="305" y="3"/>
                        </a:moveTo>
                        <a:lnTo>
                          <a:pt x="311" y="0"/>
                        </a:lnTo>
                        <a:lnTo>
                          <a:pt x="319" y="0"/>
                        </a:lnTo>
                        <a:lnTo>
                          <a:pt x="327" y="10"/>
                        </a:lnTo>
                        <a:lnTo>
                          <a:pt x="338" y="21"/>
                        </a:lnTo>
                        <a:lnTo>
                          <a:pt x="350" y="37"/>
                        </a:lnTo>
                        <a:lnTo>
                          <a:pt x="353" y="48"/>
                        </a:lnTo>
                        <a:lnTo>
                          <a:pt x="350" y="59"/>
                        </a:lnTo>
                        <a:lnTo>
                          <a:pt x="347" y="71"/>
                        </a:lnTo>
                        <a:lnTo>
                          <a:pt x="350" y="81"/>
                        </a:lnTo>
                        <a:lnTo>
                          <a:pt x="356" y="89"/>
                        </a:lnTo>
                        <a:lnTo>
                          <a:pt x="364" y="89"/>
                        </a:lnTo>
                        <a:lnTo>
                          <a:pt x="374" y="92"/>
                        </a:lnTo>
                        <a:lnTo>
                          <a:pt x="377" y="100"/>
                        </a:lnTo>
                        <a:lnTo>
                          <a:pt x="385" y="105"/>
                        </a:lnTo>
                        <a:lnTo>
                          <a:pt x="401" y="105"/>
                        </a:lnTo>
                        <a:lnTo>
                          <a:pt x="407" y="109"/>
                        </a:lnTo>
                        <a:lnTo>
                          <a:pt x="414" y="115"/>
                        </a:lnTo>
                        <a:lnTo>
                          <a:pt x="415" y="118"/>
                        </a:lnTo>
                        <a:lnTo>
                          <a:pt x="414" y="125"/>
                        </a:lnTo>
                        <a:lnTo>
                          <a:pt x="417" y="133"/>
                        </a:lnTo>
                        <a:lnTo>
                          <a:pt x="430" y="141"/>
                        </a:lnTo>
                        <a:lnTo>
                          <a:pt x="443" y="150"/>
                        </a:lnTo>
                        <a:lnTo>
                          <a:pt x="449" y="157"/>
                        </a:lnTo>
                        <a:lnTo>
                          <a:pt x="457" y="162"/>
                        </a:lnTo>
                        <a:lnTo>
                          <a:pt x="461" y="168"/>
                        </a:lnTo>
                        <a:lnTo>
                          <a:pt x="463" y="175"/>
                        </a:lnTo>
                        <a:lnTo>
                          <a:pt x="468" y="182"/>
                        </a:lnTo>
                        <a:lnTo>
                          <a:pt x="468" y="189"/>
                        </a:lnTo>
                        <a:lnTo>
                          <a:pt x="475" y="193"/>
                        </a:lnTo>
                        <a:lnTo>
                          <a:pt x="496" y="206"/>
                        </a:lnTo>
                        <a:lnTo>
                          <a:pt x="501" y="213"/>
                        </a:lnTo>
                        <a:lnTo>
                          <a:pt x="501" y="219"/>
                        </a:lnTo>
                        <a:lnTo>
                          <a:pt x="505" y="225"/>
                        </a:lnTo>
                        <a:lnTo>
                          <a:pt x="486" y="225"/>
                        </a:lnTo>
                        <a:lnTo>
                          <a:pt x="480" y="232"/>
                        </a:lnTo>
                        <a:lnTo>
                          <a:pt x="472" y="227"/>
                        </a:lnTo>
                        <a:lnTo>
                          <a:pt x="468" y="232"/>
                        </a:lnTo>
                        <a:lnTo>
                          <a:pt x="458" y="222"/>
                        </a:lnTo>
                        <a:lnTo>
                          <a:pt x="446" y="225"/>
                        </a:lnTo>
                        <a:lnTo>
                          <a:pt x="430" y="227"/>
                        </a:lnTo>
                        <a:lnTo>
                          <a:pt x="417" y="224"/>
                        </a:lnTo>
                        <a:lnTo>
                          <a:pt x="415" y="232"/>
                        </a:lnTo>
                        <a:lnTo>
                          <a:pt x="405" y="232"/>
                        </a:lnTo>
                        <a:lnTo>
                          <a:pt x="401" y="234"/>
                        </a:lnTo>
                        <a:lnTo>
                          <a:pt x="395" y="232"/>
                        </a:lnTo>
                        <a:lnTo>
                          <a:pt x="397" y="232"/>
                        </a:lnTo>
                        <a:lnTo>
                          <a:pt x="395" y="229"/>
                        </a:lnTo>
                        <a:lnTo>
                          <a:pt x="391" y="229"/>
                        </a:lnTo>
                        <a:lnTo>
                          <a:pt x="382" y="232"/>
                        </a:lnTo>
                        <a:lnTo>
                          <a:pt x="364" y="235"/>
                        </a:lnTo>
                        <a:lnTo>
                          <a:pt x="357" y="240"/>
                        </a:lnTo>
                        <a:lnTo>
                          <a:pt x="345" y="245"/>
                        </a:lnTo>
                        <a:lnTo>
                          <a:pt x="338" y="240"/>
                        </a:lnTo>
                        <a:lnTo>
                          <a:pt x="326" y="237"/>
                        </a:lnTo>
                        <a:lnTo>
                          <a:pt x="316" y="245"/>
                        </a:lnTo>
                        <a:lnTo>
                          <a:pt x="314" y="256"/>
                        </a:lnTo>
                        <a:lnTo>
                          <a:pt x="308" y="258"/>
                        </a:lnTo>
                        <a:lnTo>
                          <a:pt x="273" y="258"/>
                        </a:lnTo>
                        <a:lnTo>
                          <a:pt x="257" y="254"/>
                        </a:lnTo>
                        <a:lnTo>
                          <a:pt x="248" y="248"/>
                        </a:lnTo>
                        <a:lnTo>
                          <a:pt x="242" y="252"/>
                        </a:lnTo>
                        <a:lnTo>
                          <a:pt x="237" y="251"/>
                        </a:lnTo>
                        <a:lnTo>
                          <a:pt x="222" y="239"/>
                        </a:lnTo>
                        <a:lnTo>
                          <a:pt x="220" y="232"/>
                        </a:lnTo>
                        <a:lnTo>
                          <a:pt x="216" y="226"/>
                        </a:lnTo>
                        <a:lnTo>
                          <a:pt x="204" y="225"/>
                        </a:lnTo>
                        <a:lnTo>
                          <a:pt x="195" y="225"/>
                        </a:lnTo>
                        <a:lnTo>
                          <a:pt x="185" y="232"/>
                        </a:lnTo>
                        <a:lnTo>
                          <a:pt x="180" y="237"/>
                        </a:lnTo>
                        <a:lnTo>
                          <a:pt x="177" y="248"/>
                        </a:lnTo>
                        <a:lnTo>
                          <a:pt x="171" y="250"/>
                        </a:lnTo>
                        <a:lnTo>
                          <a:pt x="168" y="261"/>
                        </a:lnTo>
                        <a:lnTo>
                          <a:pt x="167" y="275"/>
                        </a:lnTo>
                        <a:lnTo>
                          <a:pt x="170" y="280"/>
                        </a:lnTo>
                        <a:lnTo>
                          <a:pt x="161" y="282"/>
                        </a:lnTo>
                        <a:lnTo>
                          <a:pt x="157" y="286"/>
                        </a:lnTo>
                        <a:lnTo>
                          <a:pt x="146" y="290"/>
                        </a:lnTo>
                        <a:lnTo>
                          <a:pt x="134" y="292"/>
                        </a:lnTo>
                        <a:lnTo>
                          <a:pt x="123" y="289"/>
                        </a:lnTo>
                        <a:lnTo>
                          <a:pt x="110" y="282"/>
                        </a:lnTo>
                        <a:lnTo>
                          <a:pt x="98" y="285"/>
                        </a:lnTo>
                        <a:lnTo>
                          <a:pt x="81" y="293"/>
                        </a:lnTo>
                        <a:lnTo>
                          <a:pt x="68" y="305"/>
                        </a:lnTo>
                        <a:lnTo>
                          <a:pt x="62" y="314"/>
                        </a:lnTo>
                        <a:lnTo>
                          <a:pt x="58" y="316"/>
                        </a:lnTo>
                        <a:lnTo>
                          <a:pt x="40" y="302"/>
                        </a:lnTo>
                        <a:lnTo>
                          <a:pt x="33" y="292"/>
                        </a:lnTo>
                        <a:lnTo>
                          <a:pt x="15" y="260"/>
                        </a:lnTo>
                        <a:lnTo>
                          <a:pt x="10" y="251"/>
                        </a:lnTo>
                        <a:lnTo>
                          <a:pt x="3" y="239"/>
                        </a:lnTo>
                        <a:lnTo>
                          <a:pt x="1" y="227"/>
                        </a:lnTo>
                        <a:lnTo>
                          <a:pt x="3" y="216"/>
                        </a:lnTo>
                        <a:lnTo>
                          <a:pt x="0" y="206"/>
                        </a:lnTo>
                        <a:lnTo>
                          <a:pt x="0" y="197"/>
                        </a:lnTo>
                        <a:lnTo>
                          <a:pt x="6" y="189"/>
                        </a:lnTo>
                        <a:lnTo>
                          <a:pt x="14" y="178"/>
                        </a:lnTo>
                        <a:lnTo>
                          <a:pt x="20" y="167"/>
                        </a:lnTo>
                        <a:lnTo>
                          <a:pt x="27" y="157"/>
                        </a:lnTo>
                        <a:lnTo>
                          <a:pt x="33" y="138"/>
                        </a:lnTo>
                        <a:lnTo>
                          <a:pt x="37" y="136"/>
                        </a:lnTo>
                        <a:lnTo>
                          <a:pt x="43" y="136"/>
                        </a:lnTo>
                        <a:lnTo>
                          <a:pt x="48" y="135"/>
                        </a:lnTo>
                        <a:lnTo>
                          <a:pt x="51" y="135"/>
                        </a:lnTo>
                        <a:lnTo>
                          <a:pt x="55" y="136"/>
                        </a:lnTo>
                        <a:lnTo>
                          <a:pt x="59" y="136"/>
                        </a:lnTo>
                        <a:lnTo>
                          <a:pt x="65" y="131"/>
                        </a:lnTo>
                        <a:lnTo>
                          <a:pt x="75" y="130"/>
                        </a:lnTo>
                        <a:lnTo>
                          <a:pt x="76" y="124"/>
                        </a:lnTo>
                        <a:lnTo>
                          <a:pt x="78" y="124"/>
                        </a:lnTo>
                        <a:lnTo>
                          <a:pt x="79" y="122"/>
                        </a:lnTo>
                        <a:lnTo>
                          <a:pt x="82" y="122"/>
                        </a:lnTo>
                        <a:lnTo>
                          <a:pt x="84" y="122"/>
                        </a:lnTo>
                        <a:lnTo>
                          <a:pt x="86" y="127"/>
                        </a:lnTo>
                        <a:lnTo>
                          <a:pt x="88" y="128"/>
                        </a:lnTo>
                        <a:lnTo>
                          <a:pt x="94" y="134"/>
                        </a:lnTo>
                        <a:lnTo>
                          <a:pt x="96" y="133"/>
                        </a:lnTo>
                        <a:lnTo>
                          <a:pt x="98" y="130"/>
                        </a:lnTo>
                        <a:lnTo>
                          <a:pt x="103" y="128"/>
                        </a:lnTo>
                        <a:lnTo>
                          <a:pt x="108" y="127"/>
                        </a:lnTo>
                        <a:lnTo>
                          <a:pt x="110" y="125"/>
                        </a:lnTo>
                        <a:lnTo>
                          <a:pt x="114" y="122"/>
                        </a:lnTo>
                        <a:lnTo>
                          <a:pt x="129" y="117"/>
                        </a:lnTo>
                        <a:lnTo>
                          <a:pt x="133" y="117"/>
                        </a:lnTo>
                        <a:lnTo>
                          <a:pt x="139" y="117"/>
                        </a:lnTo>
                        <a:lnTo>
                          <a:pt x="145" y="115"/>
                        </a:lnTo>
                        <a:lnTo>
                          <a:pt x="162" y="115"/>
                        </a:lnTo>
                        <a:lnTo>
                          <a:pt x="163" y="114"/>
                        </a:lnTo>
                        <a:lnTo>
                          <a:pt x="164" y="109"/>
                        </a:lnTo>
                        <a:lnTo>
                          <a:pt x="165" y="107"/>
                        </a:lnTo>
                        <a:lnTo>
                          <a:pt x="168" y="107"/>
                        </a:lnTo>
                        <a:lnTo>
                          <a:pt x="172" y="104"/>
                        </a:lnTo>
                        <a:lnTo>
                          <a:pt x="174" y="99"/>
                        </a:lnTo>
                        <a:lnTo>
                          <a:pt x="178" y="96"/>
                        </a:lnTo>
                        <a:lnTo>
                          <a:pt x="178" y="94"/>
                        </a:lnTo>
                        <a:lnTo>
                          <a:pt x="177" y="89"/>
                        </a:lnTo>
                        <a:lnTo>
                          <a:pt x="173" y="86"/>
                        </a:lnTo>
                        <a:lnTo>
                          <a:pt x="173" y="84"/>
                        </a:lnTo>
                        <a:lnTo>
                          <a:pt x="174" y="80"/>
                        </a:lnTo>
                        <a:lnTo>
                          <a:pt x="175" y="80"/>
                        </a:lnTo>
                        <a:lnTo>
                          <a:pt x="182" y="77"/>
                        </a:lnTo>
                        <a:lnTo>
                          <a:pt x="190" y="76"/>
                        </a:lnTo>
                        <a:lnTo>
                          <a:pt x="204" y="76"/>
                        </a:lnTo>
                        <a:lnTo>
                          <a:pt x="206" y="74"/>
                        </a:lnTo>
                        <a:lnTo>
                          <a:pt x="213" y="74"/>
                        </a:lnTo>
                        <a:lnTo>
                          <a:pt x="218" y="73"/>
                        </a:lnTo>
                        <a:lnTo>
                          <a:pt x="222" y="73"/>
                        </a:lnTo>
                        <a:lnTo>
                          <a:pt x="226" y="73"/>
                        </a:lnTo>
                        <a:lnTo>
                          <a:pt x="232" y="71"/>
                        </a:lnTo>
                        <a:lnTo>
                          <a:pt x="233" y="70"/>
                        </a:lnTo>
                        <a:lnTo>
                          <a:pt x="237" y="64"/>
                        </a:lnTo>
                        <a:lnTo>
                          <a:pt x="242" y="63"/>
                        </a:lnTo>
                        <a:lnTo>
                          <a:pt x="250" y="59"/>
                        </a:lnTo>
                        <a:lnTo>
                          <a:pt x="253" y="58"/>
                        </a:lnTo>
                        <a:lnTo>
                          <a:pt x="256" y="49"/>
                        </a:lnTo>
                        <a:lnTo>
                          <a:pt x="267" y="39"/>
                        </a:lnTo>
                        <a:lnTo>
                          <a:pt x="269" y="38"/>
                        </a:lnTo>
                        <a:lnTo>
                          <a:pt x="273" y="36"/>
                        </a:lnTo>
                        <a:lnTo>
                          <a:pt x="278" y="30"/>
                        </a:lnTo>
                        <a:lnTo>
                          <a:pt x="282" y="28"/>
                        </a:lnTo>
                        <a:lnTo>
                          <a:pt x="282" y="18"/>
                        </a:lnTo>
                        <a:lnTo>
                          <a:pt x="285" y="10"/>
                        </a:lnTo>
                        <a:lnTo>
                          <a:pt x="290" y="5"/>
                        </a:lnTo>
                        <a:lnTo>
                          <a:pt x="295" y="4"/>
                        </a:lnTo>
                        <a:lnTo>
                          <a:pt x="305" y="3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1" name="Freeform 79"/>
                  <p:cNvSpPr>
                    <a:spLocks/>
                  </p:cNvSpPr>
                  <p:nvPr/>
                </p:nvSpPr>
                <p:spPr bwMode="auto">
                  <a:xfrm>
                    <a:off x="1878" y="2075"/>
                    <a:ext cx="540" cy="332"/>
                  </a:xfrm>
                  <a:custGeom>
                    <a:avLst/>
                    <a:gdLst>
                      <a:gd name="T0" fmla="*/ 26508 w 505"/>
                      <a:gd name="T1" fmla="*/ 0 h 316"/>
                      <a:gd name="T2" fmla="*/ 29190 w 505"/>
                      <a:gd name="T3" fmla="*/ 943 h 316"/>
                      <a:gd name="T4" fmla="*/ 28883 w 505"/>
                      <a:gd name="T5" fmla="*/ 1859 h 316"/>
                      <a:gd name="T6" fmla="*/ 30308 w 505"/>
                      <a:gd name="T7" fmla="*/ 2342 h 316"/>
                      <a:gd name="T8" fmla="*/ 32181 w 505"/>
                      <a:gd name="T9" fmla="*/ 2727 h 316"/>
                      <a:gd name="T10" fmla="*/ 34594 w 505"/>
                      <a:gd name="T11" fmla="*/ 3000 h 316"/>
                      <a:gd name="T12" fmla="*/ 34657 w 505"/>
                      <a:gd name="T13" fmla="*/ 3480 h 316"/>
                      <a:gd name="T14" fmla="*/ 37471 w 505"/>
                      <a:gd name="T15" fmla="*/ 4085 h 316"/>
                      <a:gd name="T16" fmla="*/ 38592 w 505"/>
                      <a:gd name="T17" fmla="*/ 4576 h 316"/>
                      <a:gd name="T18" fmla="*/ 39619 w 505"/>
                      <a:gd name="T19" fmla="*/ 5051 h 316"/>
                      <a:gd name="T20" fmla="*/ 41799 w 505"/>
                      <a:gd name="T21" fmla="*/ 5703 h 316"/>
                      <a:gd name="T22" fmla="*/ 40068 w 505"/>
                      <a:gd name="T23" fmla="*/ 6026 h 316"/>
                      <a:gd name="T24" fmla="*/ 38162 w 505"/>
                      <a:gd name="T25" fmla="*/ 5772 h 316"/>
                      <a:gd name="T26" fmla="*/ 34657 w 505"/>
                      <a:gd name="T27" fmla="*/ 5858 h 316"/>
                      <a:gd name="T28" fmla="*/ 33416 w 505"/>
                      <a:gd name="T29" fmla="*/ 6086 h 316"/>
                      <a:gd name="T30" fmla="*/ 32845 w 505"/>
                      <a:gd name="T31" fmla="*/ 5965 h 316"/>
                      <a:gd name="T32" fmla="*/ 30308 w 505"/>
                      <a:gd name="T33" fmla="*/ 6155 h 316"/>
                      <a:gd name="T34" fmla="*/ 28160 w 505"/>
                      <a:gd name="T35" fmla="*/ 6244 h 316"/>
                      <a:gd name="T36" fmla="*/ 26222 w 505"/>
                      <a:gd name="T37" fmla="*/ 6652 h 316"/>
                      <a:gd name="T38" fmla="*/ 21447 w 505"/>
                      <a:gd name="T39" fmla="*/ 6614 h 316"/>
                      <a:gd name="T40" fmla="*/ 19746 w 505"/>
                      <a:gd name="T41" fmla="*/ 6538 h 316"/>
                      <a:gd name="T42" fmla="*/ 17970 w 505"/>
                      <a:gd name="T43" fmla="*/ 5894 h 316"/>
                      <a:gd name="T44" fmla="*/ 15507 w 505"/>
                      <a:gd name="T45" fmla="*/ 6026 h 316"/>
                      <a:gd name="T46" fmla="*/ 14401 w 505"/>
                      <a:gd name="T47" fmla="*/ 6525 h 316"/>
                      <a:gd name="T48" fmla="*/ 14146 w 505"/>
                      <a:gd name="T49" fmla="*/ 7276 h 316"/>
                      <a:gd name="T50" fmla="*/ 12179 w 505"/>
                      <a:gd name="T51" fmla="*/ 7567 h 316"/>
                      <a:gd name="T52" fmla="*/ 9143 w 505"/>
                      <a:gd name="T53" fmla="*/ 7323 h 316"/>
                      <a:gd name="T54" fmla="*/ 5679 w 505"/>
                      <a:gd name="T55" fmla="*/ 7950 h 316"/>
                      <a:gd name="T56" fmla="*/ 3323 w 505"/>
                      <a:gd name="T57" fmla="*/ 7879 h 316"/>
                      <a:gd name="T58" fmla="*/ 834 w 505"/>
                      <a:gd name="T59" fmla="*/ 6538 h 316"/>
                      <a:gd name="T60" fmla="*/ 3 w 505"/>
                      <a:gd name="T61" fmla="*/ 5627 h 316"/>
                      <a:gd name="T62" fmla="*/ 6 w 505"/>
                      <a:gd name="T63" fmla="*/ 4932 h 316"/>
                      <a:gd name="T64" fmla="*/ 2224 w 505"/>
                      <a:gd name="T65" fmla="*/ 4085 h 316"/>
                      <a:gd name="T66" fmla="*/ 3553 w 505"/>
                      <a:gd name="T67" fmla="*/ 3534 h 316"/>
                      <a:gd name="T68" fmla="*/ 4634 w 505"/>
                      <a:gd name="T69" fmla="*/ 3534 h 316"/>
                      <a:gd name="T70" fmla="*/ 6231 w 505"/>
                      <a:gd name="T71" fmla="*/ 3402 h 316"/>
                      <a:gd name="T72" fmla="*/ 6540 w 505"/>
                      <a:gd name="T73" fmla="*/ 3162 h 316"/>
                      <a:gd name="T74" fmla="*/ 7125 w 505"/>
                      <a:gd name="T75" fmla="*/ 3312 h 316"/>
                      <a:gd name="T76" fmla="*/ 7996 w 505"/>
                      <a:gd name="T77" fmla="*/ 3480 h 316"/>
                      <a:gd name="T78" fmla="*/ 9056 w 505"/>
                      <a:gd name="T79" fmla="*/ 3312 h 316"/>
                      <a:gd name="T80" fmla="*/ 10734 w 505"/>
                      <a:gd name="T81" fmla="*/ 3048 h 316"/>
                      <a:gd name="T82" fmla="*/ 12054 w 505"/>
                      <a:gd name="T83" fmla="*/ 3000 h 316"/>
                      <a:gd name="T84" fmla="*/ 13571 w 505"/>
                      <a:gd name="T85" fmla="*/ 2855 h 316"/>
                      <a:gd name="T86" fmla="*/ 14476 w 505"/>
                      <a:gd name="T87" fmla="*/ 2717 h 316"/>
                      <a:gd name="T88" fmla="*/ 14737 w 505"/>
                      <a:gd name="T89" fmla="*/ 2461 h 316"/>
                      <a:gd name="T90" fmla="*/ 14502 w 505"/>
                      <a:gd name="T91" fmla="*/ 2181 h 316"/>
                      <a:gd name="T92" fmla="*/ 15126 w 505"/>
                      <a:gd name="T93" fmla="*/ 2020 h 316"/>
                      <a:gd name="T94" fmla="*/ 17098 w 505"/>
                      <a:gd name="T95" fmla="*/ 1930 h 316"/>
                      <a:gd name="T96" fmla="*/ 18466 w 505"/>
                      <a:gd name="T97" fmla="*/ 1923 h 316"/>
                      <a:gd name="T98" fmla="*/ 19469 w 505"/>
                      <a:gd name="T99" fmla="*/ 1837 h 316"/>
                      <a:gd name="T100" fmla="*/ 20880 w 505"/>
                      <a:gd name="T101" fmla="*/ 1526 h 316"/>
                      <a:gd name="T102" fmla="*/ 22327 w 505"/>
                      <a:gd name="T103" fmla="*/ 991 h 316"/>
                      <a:gd name="T104" fmla="*/ 23182 w 505"/>
                      <a:gd name="T105" fmla="*/ 802 h 316"/>
                      <a:gd name="T106" fmla="*/ 23819 w 505"/>
                      <a:gd name="T107" fmla="*/ 299 h 316"/>
                      <a:gd name="T108" fmla="*/ 25470 w 505"/>
                      <a:gd name="T109" fmla="*/ 3 h 31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505"/>
                      <a:gd name="T166" fmla="*/ 0 h 316"/>
                      <a:gd name="T167" fmla="*/ 505 w 505"/>
                      <a:gd name="T168" fmla="*/ 316 h 316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505" h="316">
                        <a:moveTo>
                          <a:pt x="305" y="3"/>
                        </a:moveTo>
                        <a:lnTo>
                          <a:pt x="311" y="0"/>
                        </a:lnTo>
                        <a:lnTo>
                          <a:pt x="319" y="0"/>
                        </a:lnTo>
                        <a:lnTo>
                          <a:pt x="327" y="10"/>
                        </a:lnTo>
                        <a:lnTo>
                          <a:pt x="338" y="21"/>
                        </a:lnTo>
                        <a:lnTo>
                          <a:pt x="350" y="37"/>
                        </a:lnTo>
                        <a:lnTo>
                          <a:pt x="353" y="48"/>
                        </a:lnTo>
                        <a:lnTo>
                          <a:pt x="350" y="59"/>
                        </a:lnTo>
                        <a:lnTo>
                          <a:pt x="347" y="71"/>
                        </a:lnTo>
                        <a:lnTo>
                          <a:pt x="350" y="81"/>
                        </a:lnTo>
                        <a:lnTo>
                          <a:pt x="356" y="89"/>
                        </a:lnTo>
                        <a:lnTo>
                          <a:pt x="364" y="89"/>
                        </a:lnTo>
                        <a:lnTo>
                          <a:pt x="374" y="92"/>
                        </a:lnTo>
                        <a:lnTo>
                          <a:pt x="377" y="100"/>
                        </a:lnTo>
                        <a:lnTo>
                          <a:pt x="385" y="105"/>
                        </a:lnTo>
                        <a:lnTo>
                          <a:pt x="401" y="105"/>
                        </a:lnTo>
                        <a:lnTo>
                          <a:pt x="407" y="109"/>
                        </a:lnTo>
                        <a:lnTo>
                          <a:pt x="414" y="115"/>
                        </a:lnTo>
                        <a:lnTo>
                          <a:pt x="415" y="118"/>
                        </a:lnTo>
                        <a:lnTo>
                          <a:pt x="414" y="125"/>
                        </a:lnTo>
                        <a:lnTo>
                          <a:pt x="417" y="133"/>
                        </a:lnTo>
                        <a:lnTo>
                          <a:pt x="430" y="141"/>
                        </a:lnTo>
                        <a:lnTo>
                          <a:pt x="443" y="150"/>
                        </a:lnTo>
                        <a:lnTo>
                          <a:pt x="449" y="157"/>
                        </a:lnTo>
                        <a:lnTo>
                          <a:pt x="457" y="162"/>
                        </a:lnTo>
                        <a:lnTo>
                          <a:pt x="461" y="168"/>
                        </a:lnTo>
                        <a:lnTo>
                          <a:pt x="463" y="175"/>
                        </a:lnTo>
                        <a:lnTo>
                          <a:pt x="468" y="182"/>
                        </a:lnTo>
                        <a:lnTo>
                          <a:pt x="468" y="189"/>
                        </a:lnTo>
                        <a:lnTo>
                          <a:pt x="475" y="193"/>
                        </a:lnTo>
                        <a:lnTo>
                          <a:pt x="496" y="206"/>
                        </a:lnTo>
                        <a:lnTo>
                          <a:pt x="501" y="213"/>
                        </a:lnTo>
                        <a:lnTo>
                          <a:pt x="501" y="219"/>
                        </a:lnTo>
                        <a:lnTo>
                          <a:pt x="505" y="225"/>
                        </a:lnTo>
                        <a:lnTo>
                          <a:pt x="486" y="225"/>
                        </a:lnTo>
                        <a:lnTo>
                          <a:pt x="480" y="232"/>
                        </a:lnTo>
                        <a:lnTo>
                          <a:pt x="472" y="227"/>
                        </a:lnTo>
                        <a:lnTo>
                          <a:pt x="468" y="232"/>
                        </a:lnTo>
                        <a:lnTo>
                          <a:pt x="458" y="222"/>
                        </a:lnTo>
                        <a:lnTo>
                          <a:pt x="446" y="225"/>
                        </a:lnTo>
                        <a:lnTo>
                          <a:pt x="430" y="227"/>
                        </a:lnTo>
                        <a:lnTo>
                          <a:pt x="417" y="224"/>
                        </a:lnTo>
                        <a:lnTo>
                          <a:pt x="415" y="232"/>
                        </a:lnTo>
                        <a:lnTo>
                          <a:pt x="405" y="232"/>
                        </a:lnTo>
                        <a:lnTo>
                          <a:pt x="401" y="234"/>
                        </a:lnTo>
                        <a:lnTo>
                          <a:pt x="395" y="232"/>
                        </a:lnTo>
                        <a:lnTo>
                          <a:pt x="397" y="232"/>
                        </a:lnTo>
                        <a:lnTo>
                          <a:pt x="395" y="229"/>
                        </a:lnTo>
                        <a:lnTo>
                          <a:pt x="391" y="229"/>
                        </a:lnTo>
                        <a:lnTo>
                          <a:pt x="382" y="232"/>
                        </a:lnTo>
                        <a:lnTo>
                          <a:pt x="364" y="235"/>
                        </a:lnTo>
                        <a:lnTo>
                          <a:pt x="357" y="240"/>
                        </a:lnTo>
                        <a:lnTo>
                          <a:pt x="345" y="245"/>
                        </a:lnTo>
                        <a:lnTo>
                          <a:pt x="338" y="240"/>
                        </a:lnTo>
                        <a:lnTo>
                          <a:pt x="326" y="237"/>
                        </a:lnTo>
                        <a:lnTo>
                          <a:pt x="316" y="245"/>
                        </a:lnTo>
                        <a:lnTo>
                          <a:pt x="314" y="256"/>
                        </a:lnTo>
                        <a:lnTo>
                          <a:pt x="308" y="258"/>
                        </a:lnTo>
                        <a:lnTo>
                          <a:pt x="273" y="258"/>
                        </a:lnTo>
                        <a:lnTo>
                          <a:pt x="257" y="254"/>
                        </a:lnTo>
                        <a:lnTo>
                          <a:pt x="248" y="248"/>
                        </a:lnTo>
                        <a:lnTo>
                          <a:pt x="242" y="252"/>
                        </a:lnTo>
                        <a:lnTo>
                          <a:pt x="237" y="251"/>
                        </a:lnTo>
                        <a:lnTo>
                          <a:pt x="222" y="239"/>
                        </a:lnTo>
                        <a:lnTo>
                          <a:pt x="220" y="232"/>
                        </a:lnTo>
                        <a:lnTo>
                          <a:pt x="216" y="226"/>
                        </a:lnTo>
                        <a:lnTo>
                          <a:pt x="204" y="225"/>
                        </a:lnTo>
                        <a:lnTo>
                          <a:pt x="195" y="225"/>
                        </a:lnTo>
                        <a:lnTo>
                          <a:pt x="185" y="232"/>
                        </a:lnTo>
                        <a:lnTo>
                          <a:pt x="180" y="237"/>
                        </a:lnTo>
                        <a:lnTo>
                          <a:pt x="177" y="248"/>
                        </a:lnTo>
                        <a:lnTo>
                          <a:pt x="171" y="250"/>
                        </a:lnTo>
                        <a:lnTo>
                          <a:pt x="168" y="261"/>
                        </a:lnTo>
                        <a:lnTo>
                          <a:pt x="167" y="275"/>
                        </a:lnTo>
                        <a:lnTo>
                          <a:pt x="170" y="280"/>
                        </a:lnTo>
                        <a:lnTo>
                          <a:pt x="161" y="282"/>
                        </a:lnTo>
                        <a:lnTo>
                          <a:pt x="157" y="286"/>
                        </a:lnTo>
                        <a:lnTo>
                          <a:pt x="146" y="290"/>
                        </a:lnTo>
                        <a:lnTo>
                          <a:pt x="134" y="292"/>
                        </a:lnTo>
                        <a:lnTo>
                          <a:pt x="123" y="289"/>
                        </a:lnTo>
                        <a:lnTo>
                          <a:pt x="110" y="282"/>
                        </a:lnTo>
                        <a:lnTo>
                          <a:pt x="98" y="285"/>
                        </a:lnTo>
                        <a:lnTo>
                          <a:pt x="81" y="293"/>
                        </a:lnTo>
                        <a:lnTo>
                          <a:pt x="68" y="305"/>
                        </a:lnTo>
                        <a:lnTo>
                          <a:pt x="62" y="314"/>
                        </a:lnTo>
                        <a:lnTo>
                          <a:pt x="58" y="316"/>
                        </a:lnTo>
                        <a:lnTo>
                          <a:pt x="40" y="302"/>
                        </a:lnTo>
                        <a:lnTo>
                          <a:pt x="33" y="292"/>
                        </a:lnTo>
                        <a:lnTo>
                          <a:pt x="15" y="260"/>
                        </a:lnTo>
                        <a:lnTo>
                          <a:pt x="10" y="251"/>
                        </a:lnTo>
                        <a:lnTo>
                          <a:pt x="3" y="239"/>
                        </a:lnTo>
                        <a:lnTo>
                          <a:pt x="1" y="227"/>
                        </a:lnTo>
                        <a:lnTo>
                          <a:pt x="3" y="216"/>
                        </a:lnTo>
                        <a:lnTo>
                          <a:pt x="0" y="206"/>
                        </a:lnTo>
                        <a:lnTo>
                          <a:pt x="0" y="197"/>
                        </a:lnTo>
                        <a:lnTo>
                          <a:pt x="6" y="189"/>
                        </a:lnTo>
                        <a:lnTo>
                          <a:pt x="14" y="178"/>
                        </a:lnTo>
                        <a:lnTo>
                          <a:pt x="20" y="167"/>
                        </a:lnTo>
                        <a:lnTo>
                          <a:pt x="27" y="157"/>
                        </a:lnTo>
                        <a:lnTo>
                          <a:pt x="33" y="138"/>
                        </a:lnTo>
                        <a:lnTo>
                          <a:pt x="37" y="136"/>
                        </a:lnTo>
                        <a:lnTo>
                          <a:pt x="43" y="136"/>
                        </a:lnTo>
                        <a:lnTo>
                          <a:pt x="48" y="135"/>
                        </a:lnTo>
                        <a:lnTo>
                          <a:pt x="51" y="135"/>
                        </a:lnTo>
                        <a:lnTo>
                          <a:pt x="55" y="136"/>
                        </a:lnTo>
                        <a:lnTo>
                          <a:pt x="59" y="136"/>
                        </a:lnTo>
                        <a:lnTo>
                          <a:pt x="65" y="131"/>
                        </a:lnTo>
                        <a:lnTo>
                          <a:pt x="75" y="130"/>
                        </a:lnTo>
                        <a:lnTo>
                          <a:pt x="76" y="124"/>
                        </a:lnTo>
                        <a:lnTo>
                          <a:pt x="78" y="124"/>
                        </a:lnTo>
                        <a:lnTo>
                          <a:pt x="79" y="122"/>
                        </a:lnTo>
                        <a:lnTo>
                          <a:pt x="82" y="122"/>
                        </a:lnTo>
                        <a:lnTo>
                          <a:pt x="84" y="122"/>
                        </a:lnTo>
                        <a:lnTo>
                          <a:pt x="86" y="127"/>
                        </a:lnTo>
                        <a:lnTo>
                          <a:pt x="88" y="128"/>
                        </a:lnTo>
                        <a:lnTo>
                          <a:pt x="94" y="134"/>
                        </a:lnTo>
                        <a:lnTo>
                          <a:pt x="96" y="133"/>
                        </a:lnTo>
                        <a:lnTo>
                          <a:pt x="98" y="130"/>
                        </a:lnTo>
                        <a:lnTo>
                          <a:pt x="103" y="128"/>
                        </a:lnTo>
                        <a:lnTo>
                          <a:pt x="108" y="127"/>
                        </a:lnTo>
                        <a:lnTo>
                          <a:pt x="110" y="125"/>
                        </a:lnTo>
                        <a:lnTo>
                          <a:pt x="114" y="122"/>
                        </a:lnTo>
                        <a:lnTo>
                          <a:pt x="129" y="117"/>
                        </a:lnTo>
                        <a:lnTo>
                          <a:pt x="133" y="117"/>
                        </a:lnTo>
                        <a:lnTo>
                          <a:pt x="139" y="117"/>
                        </a:lnTo>
                        <a:lnTo>
                          <a:pt x="145" y="115"/>
                        </a:lnTo>
                        <a:lnTo>
                          <a:pt x="162" y="115"/>
                        </a:lnTo>
                        <a:lnTo>
                          <a:pt x="163" y="114"/>
                        </a:lnTo>
                        <a:lnTo>
                          <a:pt x="164" y="109"/>
                        </a:lnTo>
                        <a:lnTo>
                          <a:pt x="165" y="107"/>
                        </a:lnTo>
                        <a:lnTo>
                          <a:pt x="168" y="107"/>
                        </a:lnTo>
                        <a:lnTo>
                          <a:pt x="172" y="104"/>
                        </a:lnTo>
                        <a:lnTo>
                          <a:pt x="174" y="99"/>
                        </a:lnTo>
                        <a:lnTo>
                          <a:pt x="178" y="96"/>
                        </a:lnTo>
                        <a:lnTo>
                          <a:pt x="178" y="94"/>
                        </a:lnTo>
                        <a:lnTo>
                          <a:pt x="177" y="89"/>
                        </a:lnTo>
                        <a:lnTo>
                          <a:pt x="173" y="86"/>
                        </a:lnTo>
                        <a:lnTo>
                          <a:pt x="173" y="84"/>
                        </a:lnTo>
                        <a:lnTo>
                          <a:pt x="174" y="80"/>
                        </a:lnTo>
                        <a:lnTo>
                          <a:pt x="175" y="80"/>
                        </a:lnTo>
                        <a:lnTo>
                          <a:pt x="182" y="77"/>
                        </a:lnTo>
                        <a:lnTo>
                          <a:pt x="190" y="76"/>
                        </a:lnTo>
                        <a:lnTo>
                          <a:pt x="204" y="76"/>
                        </a:lnTo>
                        <a:lnTo>
                          <a:pt x="206" y="74"/>
                        </a:lnTo>
                        <a:lnTo>
                          <a:pt x="213" y="74"/>
                        </a:lnTo>
                        <a:lnTo>
                          <a:pt x="218" y="73"/>
                        </a:lnTo>
                        <a:lnTo>
                          <a:pt x="222" y="73"/>
                        </a:lnTo>
                        <a:lnTo>
                          <a:pt x="226" y="73"/>
                        </a:lnTo>
                        <a:lnTo>
                          <a:pt x="232" y="71"/>
                        </a:lnTo>
                        <a:lnTo>
                          <a:pt x="233" y="70"/>
                        </a:lnTo>
                        <a:lnTo>
                          <a:pt x="237" y="64"/>
                        </a:lnTo>
                        <a:lnTo>
                          <a:pt x="242" y="63"/>
                        </a:lnTo>
                        <a:lnTo>
                          <a:pt x="250" y="59"/>
                        </a:lnTo>
                        <a:lnTo>
                          <a:pt x="253" y="58"/>
                        </a:lnTo>
                        <a:lnTo>
                          <a:pt x="256" y="49"/>
                        </a:lnTo>
                        <a:lnTo>
                          <a:pt x="267" y="39"/>
                        </a:lnTo>
                        <a:lnTo>
                          <a:pt x="269" y="38"/>
                        </a:lnTo>
                        <a:lnTo>
                          <a:pt x="273" y="36"/>
                        </a:lnTo>
                        <a:lnTo>
                          <a:pt x="278" y="30"/>
                        </a:lnTo>
                        <a:lnTo>
                          <a:pt x="282" y="28"/>
                        </a:lnTo>
                        <a:lnTo>
                          <a:pt x="282" y="18"/>
                        </a:lnTo>
                        <a:lnTo>
                          <a:pt x="285" y="10"/>
                        </a:lnTo>
                        <a:lnTo>
                          <a:pt x="290" y="5"/>
                        </a:lnTo>
                        <a:lnTo>
                          <a:pt x="295" y="4"/>
                        </a:lnTo>
                        <a:lnTo>
                          <a:pt x="305" y="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2" name="Freeform 80"/>
                  <p:cNvSpPr>
                    <a:spLocks/>
                  </p:cNvSpPr>
                  <p:nvPr/>
                </p:nvSpPr>
                <p:spPr bwMode="auto">
                  <a:xfrm>
                    <a:off x="2980" y="2041"/>
                    <a:ext cx="425" cy="548"/>
                  </a:xfrm>
                  <a:custGeom>
                    <a:avLst/>
                    <a:gdLst>
                      <a:gd name="T0" fmla="*/ 7705 w 397"/>
                      <a:gd name="T1" fmla="*/ 398 h 522"/>
                      <a:gd name="T2" fmla="*/ 8443 w 397"/>
                      <a:gd name="T3" fmla="*/ 617 h 522"/>
                      <a:gd name="T4" fmla="*/ 10431 w 397"/>
                      <a:gd name="T5" fmla="*/ 1279 h 522"/>
                      <a:gd name="T6" fmla="*/ 12148 w 397"/>
                      <a:gd name="T7" fmla="*/ 1410 h 522"/>
                      <a:gd name="T8" fmla="*/ 14545 w 397"/>
                      <a:gd name="T9" fmla="*/ 1235 h 522"/>
                      <a:gd name="T10" fmla="*/ 15955 w 397"/>
                      <a:gd name="T11" fmla="*/ 1067 h 522"/>
                      <a:gd name="T12" fmla="*/ 16442 w 397"/>
                      <a:gd name="T13" fmla="*/ 968 h 522"/>
                      <a:gd name="T14" fmla="*/ 17080 w 397"/>
                      <a:gd name="T15" fmla="*/ 1067 h 522"/>
                      <a:gd name="T16" fmla="*/ 18951 w 397"/>
                      <a:gd name="T17" fmla="*/ 1160 h 522"/>
                      <a:gd name="T18" fmla="*/ 20288 w 397"/>
                      <a:gd name="T19" fmla="*/ 955 h 522"/>
                      <a:gd name="T20" fmla="*/ 21719 w 397"/>
                      <a:gd name="T21" fmla="*/ 750 h 522"/>
                      <a:gd name="T22" fmla="*/ 23549 w 397"/>
                      <a:gd name="T23" fmla="*/ 796 h 522"/>
                      <a:gd name="T24" fmla="*/ 25210 w 397"/>
                      <a:gd name="T25" fmla="*/ 750 h 522"/>
                      <a:gd name="T26" fmla="*/ 27083 w 397"/>
                      <a:gd name="T27" fmla="*/ 588 h 522"/>
                      <a:gd name="T28" fmla="*/ 28951 w 397"/>
                      <a:gd name="T29" fmla="*/ 461 h 522"/>
                      <a:gd name="T30" fmla="*/ 30376 w 397"/>
                      <a:gd name="T31" fmla="*/ 398 h 522"/>
                      <a:gd name="T32" fmla="*/ 32503 w 397"/>
                      <a:gd name="T33" fmla="*/ 7 h 522"/>
                      <a:gd name="T34" fmla="*/ 34054 w 397"/>
                      <a:gd name="T35" fmla="*/ 0 h 522"/>
                      <a:gd name="T36" fmla="*/ 35300 w 397"/>
                      <a:gd name="T37" fmla="*/ 6 h 522"/>
                      <a:gd name="T38" fmla="*/ 34760 w 397"/>
                      <a:gd name="T39" fmla="*/ 418 h 522"/>
                      <a:gd name="T40" fmla="*/ 35277 w 397"/>
                      <a:gd name="T41" fmla="*/ 826 h 522"/>
                      <a:gd name="T42" fmla="*/ 34811 w 397"/>
                      <a:gd name="T43" fmla="*/ 1105 h 522"/>
                      <a:gd name="T44" fmla="*/ 34511 w 397"/>
                      <a:gd name="T45" fmla="*/ 1430 h 522"/>
                      <a:gd name="T46" fmla="*/ 34811 w 397"/>
                      <a:gd name="T47" fmla="*/ 1410 h 522"/>
                      <a:gd name="T48" fmla="*/ 35570 w 397"/>
                      <a:gd name="T49" fmla="*/ 1467 h 522"/>
                      <a:gd name="T50" fmla="*/ 35445 w 397"/>
                      <a:gd name="T51" fmla="*/ 1576 h 522"/>
                      <a:gd name="T52" fmla="*/ 34248 w 397"/>
                      <a:gd name="T53" fmla="*/ 1554 h 522"/>
                      <a:gd name="T54" fmla="*/ 33767 w 397"/>
                      <a:gd name="T55" fmla="*/ 2111 h 522"/>
                      <a:gd name="T56" fmla="*/ 33284 w 397"/>
                      <a:gd name="T57" fmla="*/ 2692 h 522"/>
                      <a:gd name="T58" fmla="*/ 32349 w 397"/>
                      <a:gd name="T59" fmla="*/ 3119 h 522"/>
                      <a:gd name="T60" fmla="*/ 31542 w 397"/>
                      <a:gd name="T61" fmla="*/ 3553 h 522"/>
                      <a:gd name="T62" fmla="*/ 30538 w 397"/>
                      <a:gd name="T63" fmla="*/ 3784 h 522"/>
                      <a:gd name="T64" fmla="*/ 29048 w 397"/>
                      <a:gd name="T65" fmla="*/ 4714 h 522"/>
                      <a:gd name="T66" fmla="*/ 27799 w 397"/>
                      <a:gd name="T67" fmla="*/ 5589 h 522"/>
                      <a:gd name="T68" fmla="*/ 26506 w 397"/>
                      <a:gd name="T69" fmla="*/ 6089 h 522"/>
                      <a:gd name="T70" fmla="*/ 25772 w 397"/>
                      <a:gd name="T71" fmla="*/ 6311 h 522"/>
                      <a:gd name="T72" fmla="*/ 24630 w 397"/>
                      <a:gd name="T73" fmla="*/ 6773 h 522"/>
                      <a:gd name="T74" fmla="*/ 23549 w 397"/>
                      <a:gd name="T75" fmla="*/ 7302 h 522"/>
                      <a:gd name="T76" fmla="*/ 21491 w 397"/>
                      <a:gd name="T77" fmla="*/ 7854 h 522"/>
                      <a:gd name="T78" fmla="*/ 19262 w 397"/>
                      <a:gd name="T79" fmla="*/ 8476 h 522"/>
                      <a:gd name="T80" fmla="*/ 18285 w 397"/>
                      <a:gd name="T81" fmla="*/ 8869 h 522"/>
                      <a:gd name="T82" fmla="*/ 15701 w 397"/>
                      <a:gd name="T83" fmla="*/ 9400 h 522"/>
                      <a:gd name="T84" fmla="*/ 14194 w 397"/>
                      <a:gd name="T85" fmla="*/ 9542 h 522"/>
                      <a:gd name="T86" fmla="*/ 8809 w 397"/>
                      <a:gd name="T87" fmla="*/ 10807 h 522"/>
                      <a:gd name="T88" fmla="*/ 6419 w 397"/>
                      <a:gd name="T89" fmla="*/ 11535 h 522"/>
                      <a:gd name="T90" fmla="*/ 5239 w 397"/>
                      <a:gd name="T91" fmla="*/ 11588 h 522"/>
                      <a:gd name="T92" fmla="*/ 5480 w 397"/>
                      <a:gd name="T93" fmla="*/ 11697 h 522"/>
                      <a:gd name="T94" fmla="*/ 4771 w 397"/>
                      <a:gd name="T95" fmla="*/ 12023 h 522"/>
                      <a:gd name="T96" fmla="*/ 2313 w 397"/>
                      <a:gd name="T97" fmla="*/ 12755 h 522"/>
                      <a:gd name="T98" fmla="*/ 1762 w 397"/>
                      <a:gd name="T99" fmla="*/ 12808 h 522"/>
                      <a:gd name="T100" fmla="*/ 0 w 397"/>
                      <a:gd name="T101" fmla="*/ 11412 h 522"/>
                      <a:gd name="T102" fmla="*/ 0 w 397"/>
                      <a:gd name="T103" fmla="*/ 8646 h 522"/>
                      <a:gd name="T104" fmla="*/ 2961 w 397"/>
                      <a:gd name="T105" fmla="*/ 7666 h 522"/>
                      <a:gd name="T106" fmla="*/ 4163 w 397"/>
                      <a:gd name="T107" fmla="*/ 7372 h 522"/>
                      <a:gd name="T108" fmla="*/ 7942 w 397"/>
                      <a:gd name="T109" fmla="*/ 6809 h 522"/>
                      <a:gd name="T110" fmla="*/ 13922 w 397"/>
                      <a:gd name="T111" fmla="*/ 6589 h 522"/>
                      <a:gd name="T112" fmla="*/ 24257 w 397"/>
                      <a:gd name="T113" fmla="*/ 3730 h 522"/>
                      <a:gd name="T114" fmla="*/ 15447 w 397"/>
                      <a:gd name="T115" fmla="*/ 3119 h 522"/>
                      <a:gd name="T116" fmla="*/ 8809 w 397"/>
                      <a:gd name="T117" fmla="*/ 2274 h 522"/>
                      <a:gd name="T118" fmla="*/ 7876 w 397"/>
                      <a:gd name="T119" fmla="*/ 1916 h 522"/>
                      <a:gd name="T120" fmla="*/ 6882 w 397"/>
                      <a:gd name="T121" fmla="*/ 1631 h 522"/>
                      <a:gd name="T122" fmla="*/ 6266 w 397"/>
                      <a:gd name="T123" fmla="*/ 1016 h 522"/>
                      <a:gd name="T124" fmla="*/ 7357 w 397"/>
                      <a:gd name="T125" fmla="*/ 588 h 522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397"/>
                      <a:gd name="T190" fmla="*/ 0 h 522"/>
                      <a:gd name="T191" fmla="*/ 397 w 397"/>
                      <a:gd name="T192" fmla="*/ 522 h 522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397" h="522">
                        <a:moveTo>
                          <a:pt x="81" y="25"/>
                        </a:moveTo>
                        <a:lnTo>
                          <a:pt x="84" y="18"/>
                        </a:lnTo>
                        <a:lnTo>
                          <a:pt x="86" y="17"/>
                        </a:lnTo>
                        <a:lnTo>
                          <a:pt x="87" y="18"/>
                        </a:lnTo>
                        <a:lnTo>
                          <a:pt x="91" y="20"/>
                        </a:lnTo>
                        <a:lnTo>
                          <a:pt x="94" y="26"/>
                        </a:lnTo>
                        <a:lnTo>
                          <a:pt x="97" y="28"/>
                        </a:lnTo>
                        <a:lnTo>
                          <a:pt x="105" y="40"/>
                        </a:lnTo>
                        <a:lnTo>
                          <a:pt x="117" y="51"/>
                        </a:lnTo>
                        <a:lnTo>
                          <a:pt x="125" y="57"/>
                        </a:lnTo>
                        <a:lnTo>
                          <a:pt x="131" y="58"/>
                        </a:lnTo>
                        <a:lnTo>
                          <a:pt x="135" y="57"/>
                        </a:lnTo>
                        <a:lnTo>
                          <a:pt x="151" y="58"/>
                        </a:lnTo>
                        <a:lnTo>
                          <a:pt x="155" y="54"/>
                        </a:lnTo>
                        <a:lnTo>
                          <a:pt x="162" y="50"/>
                        </a:lnTo>
                        <a:lnTo>
                          <a:pt x="168" y="49"/>
                        </a:lnTo>
                        <a:lnTo>
                          <a:pt x="175" y="44"/>
                        </a:lnTo>
                        <a:lnTo>
                          <a:pt x="178" y="44"/>
                        </a:lnTo>
                        <a:lnTo>
                          <a:pt x="179" y="41"/>
                        </a:lnTo>
                        <a:lnTo>
                          <a:pt x="182" y="40"/>
                        </a:lnTo>
                        <a:lnTo>
                          <a:pt x="183" y="40"/>
                        </a:lnTo>
                        <a:lnTo>
                          <a:pt x="186" y="42"/>
                        </a:lnTo>
                        <a:lnTo>
                          <a:pt x="188" y="42"/>
                        </a:lnTo>
                        <a:lnTo>
                          <a:pt x="191" y="44"/>
                        </a:lnTo>
                        <a:lnTo>
                          <a:pt x="199" y="44"/>
                        </a:lnTo>
                        <a:lnTo>
                          <a:pt x="205" y="47"/>
                        </a:lnTo>
                        <a:lnTo>
                          <a:pt x="211" y="47"/>
                        </a:lnTo>
                        <a:lnTo>
                          <a:pt x="220" y="45"/>
                        </a:lnTo>
                        <a:lnTo>
                          <a:pt x="223" y="44"/>
                        </a:lnTo>
                        <a:lnTo>
                          <a:pt x="226" y="39"/>
                        </a:lnTo>
                        <a:lnTo>
                          <a:pt x="234" y="38"/>
                        </a:lnTo>
                        <a:lnTo>
                          <a:pt x="237" y="33"/>
                        </a:lnTo>
                        <a:lnTo>
                          <a:pt x="242" y="30"/>
                        </a:lnTo>
                        <a:lnTo>
                          <a:pt x="248" y="30"/>
                        </a:lnTo>
                        <a:lnTo>
                          <a:pt x="257" y="32"/>
                        </a:lnTo>
                        <a:lnTo>
                          <a:pt x="262" y="32"/>
                        </a:lnTo>
                        <a:lnTo>
                          <a:pt x="269" y="30"/>
                        </a:lnTo>
                        <a:lnTo>
                          <a:pt x="275" y="30"/>
                        </a:lnTo>
                        <a:lnTo>
                          <a:pt x="280" y="30"/>
                        </a:lnTo>
                        <a:lnTo>
                          <a:pt x="290" y="23"/>
                        </a:lnTo>
                        <a:lnTo>
                          <a:pt x="294" y="23"/>
                        </a:lnTo>
                        <a:lnTo>
                          <a:pt x="302" y="25"/>
                        </a:lnTo>
                        <a:lnTo>
                          <a:pt x="315" y="20"/>
                        </a:lnTo>
                        <a:lnTo>
                          <a:pt x="317" y="19"/>
                        </a:lnTo>
                        <a:lnTo>
                          <a:pt x="322" y="20"/>
                        </a:lnTo>
                        <a:lnTo>
                          <a:pt x="325" y="17"/>
                        </a:lnTo>
                        <a:lnTo>
                          <a:pt x="333" y="18"/>
                        </a:lnTo>
                        <a:lnTo>
                          <a:pt x="339" y="17"/>
                        </a:lnTo>
                        <a:lnTo>
                          <a:pt x="349" y="15"/>
                        </a:lnTo>
                        <a:lnTo>
                          <a:pt x="353" y="13"/>
                        </a:lnTo>
                        <a:lnTo>
                          <a:pt x="362" y="7"/>
                        </a:lnTo>
                        <a:lnTo>
                          <a:pt x="365" y="1"/>
                        </a:lnTo>
                        <a:lnTo>
                          <a:pt x="371" y="0"/>
                        </a:lnTo>
                        <a:lnTo>
                          <a:pt x="378" y="0"/>
                        </a:lnTo>
                        <a:lnTo>
                          <a:pt x="385" y="4"/>
                        </a:lnTo>
                        <a:lnTo>
                          <a:pt x="391" y="4"/>
                        </a:lnTo>
                        <a:lnTo>
                          <a:pt x="392" y="6"/>
                        </a:lnTo>
                        <a:lnTo>
                          <a:pt x="391" y="10"/>
                        </a:lnTo>
                        <a:lnTo>
                          <a:pt x="392" y="13"/>
                        </a:lnTo>
                        <a:lnTo>
                          <a:pt x="387" y="18"/>
                        </a:lnTo>
                        <a:lnTo>
                          <a:pt x="386" y="23"/>
                        </a:lnTo>
                        <a:lnTo>
                          <a:pt x="386" y="30"/>
                        </a:lnTo>
                        <a:lnTo>
                          <a:pt x="391" y="33"/>
                        </a:lnTo>
                        <a:lnTo>
                          <a:pt x="389" y="37"/>
                        </a:lnTo>
                        <a:lnTo>
                          <a:pt x="389" y="41"/>
                        </a:lnTo>
                        <a:lnTo>
                          <a:pt x="389" y="45"/>
                        </a:lnTo>
                        <a:lnTo>
                          <a:pt x="389" y="53"/>
                        </a:lnTo>
                        <a:lnTo>
                          <a:pt x="389" y="54"/>
                        </a:lnTo>
                        <a:lnTo>
                          <a:pt x="384" y="58"/>
                        </a:lnTo>
                        <a:lnTo>
                          <a:pt x="384" y="59"/>
                        </a:lnTo>
                        <a:lnTo>
                          <a:pt x="389" y="59"/>
                        </a:lnTo>
                        <a:lnTo>
                          <a:pt x="389" y="57"/>
                        </a:lnTo>
                        <a:lnTo>
                          <a:pt x="391" y="57"/>
                        </a:lnTo>
                        <a:lnTo>
                          <a:pt x="392" y="58"/>
                        </a:lnTo>
                        <a:lnTo>
                          <a:pt x="396" y="59"/>
                        </a:lnTo>
                        <a:lnTo>
                          <a:pt x="397" y="61"/>
                        </a:lnTo>
                        <a:lnTo>
                          <a:pt x="396" y="63"/>
                        </a:lnTo>
                        <a:lnTo>
                          <a:pt x="394" y="64"/>
                        </a:lnTo>
                        <a:lnTo>
                          <a:pt x="389" y="60"/>
                        </a:lnTo>
                        <a:lnTo>
                          <a:pt x="384" y="61"/>
                        </a:lnTo>
                        <a:lnTo>
                          <a:pt x="381" y="63"/>
                        </a:lnTo>
                        <a:lnTo>
                          <a:pt x="381" y="64"/>
                        </a:lnTo>
                        <a:lnTo>
                          <a:pt x="381" y="68"/>
                        </a:lnTo>
                        <a:lnTo>
                          <a:pt x="376" y="86"/>
                        </a:lnTo>
                        <a:lnTo>
                          <a:pt x="376" y="98"/>
                        </a:lnTo>
                        <a:lnTo>
                          <a:pt x="374" y="101"/>
                        </a:lnTo>
                        <a:lnTo>
                          <a:pt x="372" y="109"/>
                        </a:lnTo>
                        <a:lnTo>
                          <a:pt x="369" y="111"/>
                        </a:lnTo>
                        <a:lnTo>
                          <a:pt x="365" y="114"/>
                        </a:lnTo>
                        <a:lnTo>
                          <a:pt x="360" y="127"/>
                        </a:lnTo>
                        <a:lnTo>
                          <a:pt x="355" y="132"/>
                        </a:lnTo>
                        <a:lnTo>
                          <a:pt x="351" y="142"/>
                        </a:lnTo>
                        <a:lnTo>
                          <a:pt x="351" y="143"/>
                        </a:lnTo>
                        <a:lnTo>
                          <a:pt x="347" y="145"/>
                        </a:lnTo>
                        <a:lnTo>
                          <a:pt x="343" y="150"/>
                        </a:lnTo>
                        <a:lnTo>
                          <a:pt x="340" y="153"/>
                        </a:lnTo>
                        <a:lnTo>
                          <a:pt x="339" y="158"/>
                        </a:lnTo>
                        <a:lnTo>
                          <a:pt x="338" y="166"/>
                        </a:lnTo>
                        <a:lnTo>
                          <a:pt x="325" y="190"/>
                        </a:lnTo>
                        <a:lnTo>
                          <a:pt x="315" y="207"/>
                        </a:lnTo>
                        <a:lnTo>
                          <a:pt x="313" y="211"/>
                        </a:lnTo>
                        <a:lnTo>
                          <a:pt x="309" y="227"/>
                        </a:lnTo>
                        <a:lnTo>
                          <a:pt x="303" y="240"/>
                        </a:lnTo>
                        <a:lnTo>
                          <a:pt x="298" y="246"/>
                        </a:lnTo>
                        <a:lnTo>
                          <a:pt x="296" y="247"/>
                        </a:lnTo>
                        <a:lnTo>
                          <a:pt x="293" y="250"/>
                        </a:lnTo>
                        <a:lnTo>
                          <a:pt x="290" y="252"/>
                        </a:lnTo>
                        <a:lnTo>
                          <a:pt x="287" y="253"/>
                        </a:lnTo>
                        <a:lnTo>
                          <a:pt x="279" y="265"/>
                        </a:lnTo>
                        <a:lnTo>
                          <a:pt x="274" y="272"/>
                        </a:lnTo>
                        <a:lnTo>
                          <a:pt x="274" y="273"/>
                        </a:lnTo>
                        <a:lnTo>
                          <a:pt x="274" y="277"/>
                        </a:lnTo>
                        <a:lnTo>
                          <a:pt x="269" y="283"/>
                        </a:lnTo>
                        <a:lnTo>
                          <a:pt x="262" y="294"/>
                        </a:lnTo>
                        <a:lnTo>
                          <a:pt x="255" y="303"/>
                        </a:lnTo>
                        <a:lnTo>
                          <a:pt x="248" y="309"/>
                        </a:lnTo>
                        <a:lnTo>
                          <a:pt x="239" y="318"/>
                        </a:lnTo>
                        <a:lnTo>
                          <a:pt x="236" y="324"/>
                        </a:lnTo>
                        <a:lnTo>
                          <a:pt x="227" y="332"/>
                        </a:lnTo>
                        <a:lnTo>
                          <a:pt x="215" y="342"/>
                        </a:lnTo>
                        <a:lnTo>
                          <a:pt x="210" y="346"/>
                        </a:lnTo>
                        <a:lnTo>
                          <a:pt x="208" y="347"/>
                        </a:lnTo>
                        <a:lnTo>
                          <a:pt x="204" y="356"/>
                        </a:lnTo>
                        <a:lnTo>
                          <a:pt x="194" y="367"/>
                        </a:lnTo>
                        <a:lnTo>
                          <a:pt x="185" y="374"/>
                        </a:lnTo>
                        <a:lnTo>
                          <a:pt x="176" y="381"/>
                        </a:lnTo>
                        <a:lnTo>
                          <a:pt x="172" y="383"/>
                        </a:lnTo>
                        <a:lnTo>
                          <a:pt x="162" y="385"/>
                        </a:lnTo>
                        <a:lnTo>
                          <a:pt x="156" y="387"/>
                        </a:lnTo>
                        <a:lnTo>
                          <a:pt x="151" y="389"/>
                        </a:lnTo>
                        <a:lnTo>
                          <a:pt x="135" y="401"/>
                        </a:lnTo>
                        <a:lnTo>
                          <a:pt x="97" y="437"/>
                        </a:lnTo>
                        <a:lnTo>
                          <a:pt x="84" y="450"/>
                        </a:lnTo>
                        <a:lnTo>
                          <a:pt x="79" y="456"/>
                        </a:lnTo>
                        <a:lnTo>
                          <a:pt x="71" y="465"/>
                        </a:lnTo>
                        <a:lnTo>
                          <a:pt x="64" y="466"/>
                        </a:lnTo>
                        <a:lnTo>
                          <a:pt x="61" y="466"/>
                        </a:lnTo>
                        <a:lnTo>
                          <a:pt x="59" y="468"/>
                        </a:lnTo>
                        <a:lnTo>
                          <a:pt x="61" y="469"/>
                        </a:lnTo>
                        <a:lnTo>
                          <a:pt x="61" y="471"/>
                        </a:lnTo>
                        <a:lnTo>
                          <a:pt x="61" y="472"/>
                        </a:lnTo>
                        <a:lnTo>
                          <a:pt x="59" y="475"/>
                        </a:lnTo>
                        <a:lnTo>
                          <a:pt x="56" y="480"/>
                        </a:lnTo>
                        <a:lnTo>
                          <a:pt x="52" y="487"/>
                        </a:lnTo>
                        <a:lnTo>
                          <a:pt x="41" y="497"/>
                        </a:lnTo>
                        <a:lnTo>
                          <a:pt x="34" y="507"/>
                        </a:lnTo>
                        <a:lnTo>
                          <a:pt x="26" y="514"/>
                        </a:lnTo>
                        <a:lnTo>
                          <a:pt x="22" y="521"/>
                        </a:lnTo>
                        <a:lnTo>
                          <a:pt x="21" y="522"/>
                        </a:lnTo>
                        <a:lnTo>
                          <a:pt x="20" y="518"/>
                        </a:lnTo>
                        <a:lnTo>
                          <a:pt x="3" y="498"/>
                        </a:lnTo>
                        <a:lnTo>
                          <a:pt x="0" y="493"/>
                        </a:lnTo>
                        <a:lnTo>
                          <a:pt x="0" y="462"/>
                        </a:lnTo>
                        <a:lnTo>
                          <a:pt x="0" y="424"/>
                        </a:lnTo>
                        <a:lnTo>
                          <a:pt x="0" y="388"/>
                        </a:lnTo>
                        <a:lnTo>
                          <a:pt x="0" y="350"/>
                        </a:lnTo>
                        <a:lnTo>
                          <a:pt x="1" y="349"/>
                        </a:lnTo>
                        <a:lnTo>
                          <a:pt x="17" y="332"/>
                        </a:lnTo>
                        <a:lnTo>
                          <a:pt x="33" y="309"/>
                        </a:lnTo>
                        <a:lnTo>
                          <a:pt x="33" y="306"/>
                        </a:lnTo>
                        <a:lnTo>
                          <a:pt x="36" y="304"/>
                        </a:lnTo>
                        <a:lnTo>
                          <a:pt x="46" y="299"/>
                        </a:lnTo>
                        <a:lnTo>
                          <a:pt x="70" y="291"/>
                        </a:lnTo>
                        <a:lnTo>
                          <a:pt x="81" y="281"/>
                        </a:lnTo>
                        <a:lnTo>
                          <a:pt x="89" y="276"/>
                        </a:lnTo>
                        <a:lnTo>
                          <a:pt x="103" y="270"/>
                        </a:lnTo>
                        <a:lnTo>
                          <a:pt x="109" y="267"/>
                        </a:lnTo>
                        <a:lnTo>
                          <a:pt x="155" y="265"/>
                        </a:lnTo>
                        <a:lnTo>
                          <a:pt x="213" y="208"/>
                        </a:lnTo>
                        <a:lnTo>
                          <a:pt x="263" y="158"/>
                        </a:lnTo>
                        <a:lnTo>
                          <a:pt x="270" y="150"/>
                        </a:lnTo>
                        <a:lnTo>
                          <a:pt x="271" y="147"/>
                        </a:lnTo>
                        <a:lnTo>
                          <a:pt x="234" y="148"/>
                        </a:lnTo>
                        <a:lnTo>
                          <a:pt x="172" y="127"/>
                        </a:lnTo>
                        <a:lnTo>
                          <a:pt x="117" y="107"/>
                        </a:lnTo>
                        <a:lnTo>
                          <a:pt x="112" y="102"/>
                        </a:lnTo>
                        <a:lnTo>
                          <a:pt x="97" y="91"/>
                        </a:lnTo>
                        <a:lnTo>
                          <a:pt x="93" y="85"/>
                        </a:lnTo>
                        <a:lnTo>
                          <a:pt x="87" y="81"/>
                        </a:lnTo>
                        <a:lnTo>
                          <a:pt x="87" y="78"/>
                        </a:lnTo>
                        <a:lnTo>
                          <a:pt x="82" y="75"/>
                        </a:lnTo>
                        <a:lnTo>
                          <a:pt x="79" y="70"/>
                        </a:lnTo>
                        <a:lnTo>
                          <a:pt x="77" y="66"/>
                        </a:lnTo>
                        <a:lnTo>
                          <a:pt x="71" y="60"/>
                        </a:lnTo>
                        <a:lnTo>
                          <a:pt x="68" y="45"/>
                        </a:lnTo>
                        <a:lnTo>
                          <a:pt x="69" y="42"/>
                        </a:lnTo>
                        <a:lnTo>
                          <a:pt x="72" y="38"/>
                        </a:lnTo>
                        <a:lnTo>
                          <a:pt x="74" y="33"/>
                        </a:lnTo>
                        <a:lnTo>
                          <a:pt x="81" y="2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3" name="Freeform 81"/>
                  <p:cNvSpPr>
                    <a:spLocks/>
                  </p:cNvSpPr>
                  <p:nvPr/>
                </p:nvSpPr>
                <p:spPr bwMode="auto">
                  <a:xfrm>
                    <a:off x="2980" y="2041"/>
                    <a:ext cx="425" cy="548"/>
                  </a:xfrm>
                  <a:custGeom>
                    <a:avLst/>
                    <a:gdLst>
                      <a:gd name="T0" fmla="*/ 7705 w 397"/>
                      <a:gd name="T1" fmla="*/ 398 h 522"/>
                      <a:gd name="T2" fmla="*/ 8443 w 397"/>
                      <a:gd name="T3" fmla="*/ 617 h 522"/>
                      <a:gd name="T4" fmla="*/ 10431 w 397"/>
                      <a:gd name="T5" fmla="*/ 1279 h 522"/>
                      <a:gd name="T6" fmla="*/ 12148 w 397"/>
                      <a:gd name="T7" fmla="*/ 1410 h 522"/>
                      <a:gd name="T8" fmla="*/ 14545 w 397"/>
                      <a:gd name="T9" fmla="*/ 1235 h 522"/>
                      <a:gd name="T10" fmla="*/ 15955 w 397"/>
                      <a:gd name="T11" fmla="*/ 1067 h 522"/>
                      <a:gd name="T12" fmla="*/ 16442 w 397"/>
                      <a:gd name="T13" fmla="*/ 968 h 522"/>
                      <a:gd name="T14" fmla="*/ 17080 w 397"/>
                      <a:gd name="T15" fmla="*/ 1067 h 522"/>
                      <a:gd name="T16" fmla="*/ 18951 w 397"/>
                      <a:gd name="T17" fmla="*/ 1160 h 522"/>
                      <a:gd name="T18" fmla="*/ 20288 w 397"/>
                      <a:gd name="T19" fmla="*/ 955 h 522"/>
                      <a:gd name="T20" fmla="*/ 21719 w 397"/>
                      <a:gd name="T21" fmla="*/ 750 h 522"/>
                      <a:gd name="T22" fmla="*/ 23549 w 397"/>
                      <a:gd name="T23" fmla="*/ 796 h 522"/>
                      <a:gd name="T24" fmla="*/ 25210 w 397"/>
                      <a:gd name="T25" fmla="*/ 750 h 522"/>
                      <a:gd name="T26" fmla="*/ 27083 w 397"/>
                      <a:gd name="T27" fmla="*/ 588 h 522"/>
                      <a:gd name="T28" fmla="*/ 28951 w 397"/>
                      <a:gd name="T29" fmla="*/ 461 h 522"/>
                      <a:gd name="T30" fmla="*/ 30376 w 397"/>
                      <a:gd name="T31" fmla="*/ 398 h 522"/>
                      <a:gd name="T32" fmla="*/ 32503 w 397"/>
                      <a:gd name="T33" fmla="*/ 7 h 522"/>
                      <a:gd name="T34" fmla="*/ 34054 w 397"/>
                      <a:gd name="T35" fmla="*/ 0 h 522"/>
                      <a:gd name="T36" fmla="*/ 35300 w 397"/>
                      <a:gd name="T37" fmla="*/ 6 h 522"/>
                      <a:gd name="T38" fmla="*/ 34760 w 397"/>
                      <a:gd name="T39" fmla="*/ 418 h 522"/>
                      <a:gd name="T40" fmla="*/ 35277 w 397"/>
                      <a:gd name="T41" fmla="*/ 826 h 522"/>
                      <a:gd name="T42" fmla="*/ 34811 w 397"/>
                      <a:gd name="T43" fmla="*/ 1105 h 522"/>
                      <a:gd name="T44" fmla="*/ 34511 w 397"/>
                      <a:gd name="T45" fmla="*/ 1430 h 522"/>
                      <a:gd name="T46" fmla="*/ 34811 w 397"/>
                      <a:gd name="T47" fmla="*/ 1410 h 522"/>
                      <a:gd name="T48" fmla="*/ 35570 w 397"/>
                      <a:gd name="T49" fmla="*/ 1467 h 522"/>
                      <a:gd name="T50" fmla="*/ 35445 w 397"/>
                      <a:gd name="T51" fmla="*/ 1576 h 522"/>
                      <a:gd name="T52" fmla="*/ 34248 w 397"/>
                      <a:gd name="T53" fmla="*/ 1554 h 522"/>
                      <a:gd name="T54" fmla="*/ 33767 w 397"/>
                      <a:gd name="T55" fmla="*/ 2111 h 522"/>
                      <a:gd name="T56" fmla="*/ 33284 w 397"/>
                      <a:gd name="T57" fmla="*/ 2692 h 522"/>
                      <a:gd name="T58" fmla="*/ 32349 w 397"/>
                      <a:gd name="T59" fmla="*/ 3119 h 522"/>
                      <a:gd name="T60" fmla="*/ 31542 w 397"/>
                      <a:gd name="T61" fmla="*/ 3553 h 522"/>
                      <a:gd name="T62" fmla="*/ 30538 w 397"/>
                      <a:gd name="T63" fmla="*/ 3784 h 522"/>
                      <a:gd name="T64" fmla="*/ 29048 w 397"/>
                      <a:gd name="T65" fmla="*/ 4714 h 522"/>
                      <a:gd name="T66" fmla="*/ 27799 w 397"/>
                      <a:gd name="T67" fmla="*/ 5589 h 522"/>
                      <a:gd name="T68" fmla="*/ 26506 w 397"/>
                      <a:gd name="T69" fmla="*/ 6089 h 522"/>
                      <a:gd name="T70" fmla="*/ 25772 w 397"/>
                      <a:gd name="T71" fmla="*/ 6311 h 522"/>
                      <a:gd name="T72" fmla="*/ 24630 w 397"/>
                      <a:gd name="T73" fmla="*/ 6773 h 522"/>
                      <a:gd name="T74" fmla="*/ 23549 w 397"/>
                      <a:gd name="T75" fmla="*/ 7302 h 522"/>
                      <a:gd name="T76" fmla="*/ 21491 w 397"/>
                      <a:gd name="T77" fmla="*/ 7854 h 522"/>
                      <a:gd name="T78" fmla="*/ 19262 w 397"/>
                      <a:gd name="T79" fmla="*/ 8476 h 522"/>
                      <a:gd name="T80" fmla="*/ 18285 w 397"/>
                      <a:gd name="T81" fmla="*/ 8869 h 522"/>
                      <a:gd name="T82" fmla="*/ 15701 w 397"/>
                      <a:gd name="T83" fmla="*/ 9400 h 522"/>
                      <a:gd name="T84" fmla="*/ 14194 w 397"/>
                      <a:gd name="T85" fmla="*/ 9542 h 522"/>
                      <a:gd name="T86" fmla="*/ 8809 w 397"/>
                      <a:gd name="T87" fmla="*/ 10807 h 522"/>
                      <a:gd name="T88" fmla="*/ 6419 w 397"/>
                      <a:gd name="T89" fmla="*/ 11535 h 522"/>
                      <a:gd name="T90" fmla="*/ 5239 w 397"/>
                      <a:gd name="T91" fmla="*/ 11588 h 522"/>
                      <a:gd name="T92" fmla="*/ 5480 w 397"/>
                      <a:gd name="T93" fmla="*/ 11697 h 522"/>
                      <a:gd name="T94" fmla="*/ 4771 w 397"/>
                      <a:gd name="T95" fmla="*/ 12023 h 522"/>
                      <a:gd name="T96" fmla="*/ 2313 w 397"/>
                      <a:gd name="T97" fmla="*/ 12755 h 522"/>
                      <a:gd name="T98" fmla="*/ 1762 w 397"/>
                      <a:gd name="T99" fmla="*/ 12808 h 522"/>
                      <a:gd name="T100" fmla="*/ 0 w 397"/>
                      <a:gd name="T101" fmla="*/ 11412 h 522"/>
                      <a:gd name="T102" fmla="*/ 0 w 397"/>
                      <a:gd name="T103" fmla="*/ 8646 h 522"/>
                      <a:gd name="T104" fmla="*/ 2961 w 397"/>
                      <a:gd name="T105" fmla="*/ 7666 h 522"/>
                      <a:gd name="T106" fmla="*/ 4163 w 397"/>
                      <a:gd name="T107" fmla="*/ 7372 h 522"/>
                      <a:gd name="T108" fmla="*/ 7942 w 397"/>
                      <a:gd name="T109" fmla="*/ 6809 h 522"/>
                      <a:gd name="T110" fmla="*/ 13922 w 397"/>
                      <a:gd name="T111" fmla="*/ 6589 h 522"/>
                      <a:gd name="T112" fmla="*/ 24257 w 397"/>
                      <a:gd name="T113" fmla="*/ 3730 h 522"/>
                      <a:gd name="T114" fmla="*/ 15447 w 397"/>
                      <a:gd name="T115" fmla="*/ 3119 h 522"/>
                      <a:gd name="T116" fmla="*/ 8809 w 397"/>
                      <a:gd name="T117" fmla="*/ 2274 h 522"/>
                      <a:gd name="T118" fmla="*/ 7876 w 397"/>
                      <a:gd name="T119" fmla="*/ 1916 h 522"/>
                      <a:gd name="T120" fmla="*/ 6882 w 397"/>
                      <a:gd name="T121" fmla="*/ 1631 h 522"/>
                      <a:gd name="T122" fmla="*/ 6266 w 397"/>
                      <a:gd name="T123" fmla="*/ 1016 h 522"/>
                      <a:gd name="T124" fmla="*/ 7357 w 397"/>
                      <a:gd name="T125" fmla="*/ 588 h 522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397"/>
                      <a:gd name="T190" fmla="*/ 0 h 522"/>
                      <a:gd name="T191" fmla="*/ 397 w 397"/>
                      <a:gd name="T192" fmla="*/ 522 h 522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397" h="522">
                        <a:moveTo>
                          <a:pt x="81" y="25"/>
                        </a:moveTo>
                        <a:lnTo>
                          <a:pt x="84" y="18"/>
                        </a:lnTo>
                        <a:lnTo>
                          <a:pt x="86" y="17"/>
                        </a:lnTo>
                        <a:lnTo>
                          <a:pt x="87" y="18"/>
                        </a:lnTo>
                        <a:lnTo>
                          <a:pt x="91" y="20"/>
                        </a:lnTo>
                        <a:lnTo>
                          <a:pt x="94" y="26"/>
                        </a:lnTo>
                        <a:lnTo>
                          <a:pt x="97" y="28"/>
                        </a:lnTo>
                        <a:lnTo>
                          <a:pt x="105" y="40"/>
                        </a:lnTo>
                        <a:lnTo>
                          <a:pt x="117" y="51"/>
                        </a:lnTo>
                        <a:lnTo>
                          <a:pt x="125" y="57"/>
                        </a:lnTo>
                        <a:lnTo>
                          <a:pt x="131" y="58"/>
                        </a:lnTo>
                        <a:lnTo>
                          <a:pt x="135" y="57"/>
                        </a:lnTo>
                        <a:lnTo>
                          <a:pt x="151" y="58"/>
                        </a:lnTo>
                        <a:lnTo>
                          <a:pt x="155" y="54"/>
                        </a:lnTo>
                        <a:lnTo>
                          <a:pt x="162" y="50"/>
                        </a:lnTo>
                        <a:lnTo>
                          <a:pt x="168" y="49"/>
                        </a:lnTo>
                        <a:lnTo>
                          <a:pt x="175" y="44"/>
                        </a:lnTo>
                        <a:lnTo>
                          <a:pt x="178" y="44"/>
                        </a:lnTo>
                        <a:lnTo>
                          <a:pt x="179" y="41"/>
                        </a:lnTo>
                        <a:lnTo>
                          <a:pt x="182" y="40"/>
                        </a:lnTo>
                        <a:lnTo>
                          <a:pt x="183" y="40"/>
                        </a:lnTo>
                        <a:lnTo>
                          <a:pt x="186" y="42"/>
                        </a:lnTo>
                        <a:lnTo>
                          <a:pt x="188" y="42"/>
                        </a:lnTo>
                        <a:lnTo>
                          <a:pt x="191" y="44"/>
                        </a:lnTo>
                        <a:lnTo>
                          <a:pt x="199" y="44"/>
                        </a:lnTo>
                        <a:lnTo>
                          <a:pt x="205" y="47"/>
                        </a:lnTo>
                        <a:lnTo>
                          <a:pt x="211" y="47"/>
                        </a:lnTo>
                        <a:lnTo>
                          <a:pt x="220" y="45"/>
                        </a:lnTo>
                        <a:lnTo>
                          <a:pt x="223" y="44"/>
                        </a:lnTo>
                        <a:lnTo>
                          <a:pt x="226" y="39"/>
                        </a:lnTo>
                        <a:lnTo>
                          <a:pt x="234" y="38"/>
                        </a:lnTo>
                        <a:lnTo>
                          <a:pt x="237" y="33"/>
                        </a:lnTo>
                        <a:lnTo>
                          <a:pt x="242" y="30"/>
                        </a:lnTo>
                        <a:lnTo>
                          <a:pt x="248" y="30"/>
                        </a:lnTo>
                        <a:lnTo>
                          <a:pt x="257" y="32"/>
                        </a:lnTo>
                        <a:lnTo>
                          <a:pt x="262" y="32"/>
                        </a:lnTo>
                        <a:lnTo>
                          <a:pt x="269" y="30"/>
                        </a:lnTo>
                        <a:lnTo>
                          <a:pt x="275" y="30"/>
                        </a:lnTo>
                        <a:lnTo>
                          <a:pt x="280" y="30"/>
                        </a:lnTo>
                        <a:lnTo>
                          <a:pt x="290" y="23"/>
                        </a:lnTo>
                        <a:lnTo>
                          <a:pt x="294" y="23"/>
                        </a:lnTo>
                        <a:lnTo>
                          <a:pt x="302" y="25"/>
                        </a:lnTo>
                        <a:lnTo>
                          <a:pt x="315" y="20"/>
                        </a:lnTo>
                        <a:lnTo>
                          <a:pt x="317" y="19"/>
                        </a:lnTo>
                        <a:lnTo>
                          <a:pt x="322" y="20"/>
                        </a:lnTo>
                        <a:lnTo>
                          <a:pt x="325" y="17"/>
                        </a:lnTo>
                        <a:lnTo>
                          <a:pt x="333" y="18"/>
                        </a:lnTo>
                        <a:lnTo>
                          <a:pt x="339" y="17"/>
                        </a:lnTo>
                        <a:lnTo>
                          <a:pt x="349" y="15"/>
                        </a:lnTo>
                        <a:lnTo>
                          <a:pt x="353" y="13"/>
                        </a:lnTo>
                        <a:lnTo>
                          <a:pt x="362" y="7"/>
                        </a:lnTo>
                        <a:lnTo>
                          <a:pt x="365" y="1"/>
                        </a:lnTo>
                        <a:lnTo>
                          <a:pt x="371" y="0"/>
                        </a:lnTo>
                        <a:lnTo>
                          <a:pt x="378" y="0"/>
                        </a:lnTo>
                        <a:lnTo>
                          <a:pt x="385" y="4"/>
                        </a:lnTo>
                        <a:lnTo>
                          <a:pt x="391" y="4"/>
                        </a:lnTo>
                        <a:lnTo>
                          <a:pt x="392" y="6"/>
                        </a:lnTo>
                        <a:lnTo>
                          <a:pt x="391" y="10"/>
                        </a:lnTo>
                        <a:lnTo>
                          <a:pt x="392" y="13"/>
                        </a:lnTo>
                        <a:lnTo>
                          <a:pt x="387" y="18"/>
                        </a:lnTo>
                        <a:lnTo>
                          <a:pt x="386" y="23"/>
                        </a:lnTo>
                        <a:lnTo>
                          <a:pt x="386" y="30"/>
                        </a:lnTo>
                        <a:lnTo>
                          <a:pt x="391" y="33"/>
                        </a:lnTo>
                        <a:lnTo>
                          <a:pt x="389" y="37"/>
                        </a:lnTo>
                        <a:lnTo>
                          <a:pt x="389" y="41"/>
                        </a:lnTo>
                        <a:lnTo>
                          <a:pt x="389" y="45"/>
                        </a:lnTo>
                        <a:lnTo>
                          <a:pt x="389" y="53"/>
                        </a:lnTo>
                        <a:lnTo>
                          <a:pt x="389" y="54"/>
                        </a:lnTo>
                        <a:lnTo>
                          <a:pt x="384" y="58"/>
                        </a:lnTo>
                        <a:lnTo>
                          <a:pt x="384" y="59"/>
                        </a:lnTo>
                        <a:lnTo>
                          <a:pt x="389" y="59"/>
                        </a:lnTo>
                        <a:lnTo>
                          <a:pt x="389" y="57"/>
                        </a:lnTo>
                        <a:lnTo>
                          <a:pt x="391" y="57"/>
                        </a:lnTo>
                        <a:lnTo>
                          <a:pt x="392" y="58"/>
                        </a:lnTo>
                        <a:lnTo>
                          <a:pt x="396" y="59"/>
                        </a:lnTo>
                        <a:lnTo>
                          <a:pt x="397" y="61"/>
                        </a:lnTo>
                        <a:lnTo>
                          <a:pt x="396" y="63"/>
                        </a:lnTo>
                        <a:lnTo>
                          <a:pt x="394" y="64"/>
                        </a:lnTo>
                        <a:lnTo>
                          <a:pt x="389" y="60"/>
                        </a:lnTo>
                        <a:lnTo>
                          <a:pt x="384" y="61"/>
                        </a:lnTo>
                        <a:lnTo>
                          <a:pt x="381" y="63"/>
                        </a:lnTo>
                        <a:lnTo>
                          <a:pt x="381" y="64"/>
                        </a:lnTo>
                        <a:lnTo>
                          <a:pt x="381" y="68"/>
                        </a:lnTo>
                        <a:lnTo>
                          <a:pt x="376" y="86"/>
                        </a:lnTo>
                        <a:lnTo>
                          <a:pt x="376" y="98"/>
                        </a:lnTo>
                        <a:lnTo>
                          <a:pt x="374" y="101"/>
                        </a:lnTo>
                        <a:lnTo>
                          <a:pt x="372" y="109"/>
                        </a:lnTo>
                        <a:lnTo>
                          <a:pt x="369" y="111"/>
                        </a:lnTo>
                        <a:lnTo>
                          <a:pt x="365" y="114"/>
                        </a:lnTo>
                        <a:lnTo>
                          <a:pt x="360" y="127"/>
                        </a:lnTo>
                        <a:lnTo>
                          <a:pt x="355" y="132"/>
                        </a:lnTo>
                        <a:lnTo>
                          <a:pt x="351" y="142"/>
                        </a:lnTo>
                        <a:lnTo>
                          <a:pt x="351" y="143"/>
                        </a:lnTo>
                        <a:lnTo>
                          <a:pt x="347" y="145"/>
                        </a:lnTo>
                        <a:lnTo>
                          <a:pt x="343" y="150"/>
                        </a:lnTo>
                        <a:lnTo>
                          <a:pt x="340" y="153"/>
                        </a:lnTo>
                        <a:lnTo>
                          <a:pt x="339" y="158"/>
                        </a:lnTo>
                        <a:lnTo>
                          <a:pt x="338" y="166"/>
                        </a:lnTo>
                        <a:lnTo>
                          <a:pt x="325" y="190"/>
                        </a:lnTo>
                        <a:lnTo>
                          <a:pt x="315" y="207"/>
                        </a:lnTo>
                        <a:lnTo>
                          <a:pt x="313" y="211"/>
                        </a:lnTo>
                        <a:lnTo>
                          <a:pt x="309" y="227"/>
                        </a:lnTo>
                        <a:lnTo>
                          <a:pt x="303" y="240"/>
                        </a:lnTo>
                        <a:lnTo>
                          <a:pt x="298" y="246"/>
                        </a:lnTo>
                        <a:lnTo>
                          <a:pt x="296" y="247"/>
                        </a:lnTo>
                        <a:lnTo>
                          <a:pt x="293" y="250"/>
                        </a:lnTo>
                        <a:lnTo>
                          <a:pt x="290" y="252"/>
                        </a:lnTo>
                        <a:lnTo>
                          <a:pt x="287" y="253"/>
                        </a:lnTo>
                        <a:lnTo>
                          <a:pt x="279" y="265"/>
                        </a:lnTo>
                        <a:lnTo>
                          <a:pt x="274" y="272"/>
                        </a:lnTo>
                        <a:lnTo>
                          <a:pt x="274" y="273"/>
                        </a:lnTo>
                        <a:lnTo>
                          <a:pt x="274" y="277"/>
                        </a:lnTo>
                        <a:lnTo>
                          <a:pt x="269" y="283"/>
                        </a:lnTo>
                        <a:lnTo>
                          <a:pt x="262" y="294"/>
                        </a:lnTo>
                        <a:lnTo>
                          <a:pt x="255" y="303"/>
                        </a:lnTo>
                        <a:lnTo>
                          <a:pt x="248" y="309"/>
                        </a:lnTo>
                        <a:lnTo>
                          <a:pt x="239" y="318"/>
                        </a:lnTo>
                        <a:lnTo>
                          <a:pt x="236" y="324"/>
                        </a:lnTo>
                        <a:lnTo>
                          <a:pt x="227" y="332"/>
                        </a:lnTo>
                        <a:lnTo>
                          <a:pt x="215" y="342"/>
                        </a:lnTo>
                        <a:lnTo>
                          <a:pt x="210" y="346"/>
                        </a:lnTo>
                        <a:lnTo>
                          <a:pt x="208" y="347"/>
                        </a:lnTo>
                        <a:lnTo>
                          <a:pt x="204" y="356"/>
                        </a:lnTo>
                        <a:lnTo>
                          <a:pt x="194" y="367"/>
                        </a:lnTo>
                        <a:lnTo>
                          <a:pt x="185" y="374"/>
                        </a:lnTo>
                        <a:lnTo>
                          <a:pt x="176" y="381"/>
                        </a:lnTo>
                        <a:lnTo>
                          <a:pt x="172" y="383"/>
                        </a:lnTo>
                        <a:lnTo>
                          <a:pt x="162" y="385"/>
                        </a:lnTo>
                        <a:lnTo>
                          <a:pt x="156" y="387"/>
                        </a:lnTo>
                        <a:lnTo>
                          <a:pt x="151" y="389"/>
                        </a:lnTo>
                        <a:lnTo>
                          <a:pt x="135" y="401"/>
                        </a:lnTo>
                        <a:lnTo>
                          <a:pt x="97" y="437"/>
                        </a:lnTo>
                        <a:lnTo>
                          <a:pt x="84" y="450"/>
                        </a:lnTo>
                        <a:lnTo>
                          <a:pt x="79" y="456"/>
                        </a:lnTo>
                        <a:lnTo>
                          <a:pt x="71" y="465"/>
                        </a:lnTo>
                        <a:lnTo>
                          <a:pt x="64" y="466"/>
                        </a:lnTo>
                        <a:lnTo>
                          <a:pt x="61" y="466"/>
                        </a:lnTo>
                        <a:lnTo>
                          <a:pt x="59" y="468"/>
                        </a:lnTo>
                        <a:lnTo>
                          <a:pt x="61" y="469"/>
                        </a:lnTo>
                        <a:lnTo>
                          <a:pt x="61" y="471"/>
                        </a:lnTo>
                        <a:lnTo>
                          <a:pt x="61" y="472"/>
                        </a:lnTo>
                        <a:lnTo>
                          <a:pt x="59" y="475"/>
                        </a:lnTo>
                        <a:lnTo>
                          <a:pt x="56" y="480"/>
                        </a:lnTo>
                        <a:lnTo>
                          <a:pt x="52" y="487"/>
                        </a:lnTo>
                        <a:lnTo>
                          <a:pt x="41" y="497"/>
                        </a:lnTo>
                        <a:lnTo>
                          <a:pt x="34" y="507"/>
                        </a:lnTo>
                        <a:lnTo>
                          <a:pt x="26" y="514"/>
                        </a:lnTo>
                        <a:lnTo>
                          <a:pt x="22" y="521"/>
                        </a:lnTo>
                        <a:lnTo>
                          <a:pt x="21" y="522"/>
                        </a:lnTo>
                        <a:lnTo>
                          <a:pt x="20" y="518"/>
                        </a:lnTo>
                        <a:lnTo>
                          <a:pt x="3" y="498"/>
                        </a:lnTo>
                        <a:lnTo>
                          <a:pt x="0" y="493"/>
                        </a:lnTo>
                        <a:lnTo>
                          <a:pt x="0" y="462"/>
                        </a:lnTo>
                        <a:lnTo>
                          <a:pt x="0" y="424"/>
                        </a:lnTo>
                        <a:lnTo>
                          <a:pt x="0" y="388"/>
                        </a:lnTo>
                        <a:lnTo>
                          <a:pt x="0" y="350"/>
                        </a:lnTo>
                        <a:lnTo>
                          <a:pt x="1" y="349"/>
                        </a:lnTo>
                        <a:lnTo>
                          <a:pt x="17" y="332"/>
                        </a:lnTo>
                        <a:lnTo>
                          <a:pt x="33" y="309"/>
                        </a:lnTo>
                        <a:lnTo>
                          <a:pt x="33" y="306"/>
                        </a:lnTo>
                        <a:lnTo>
                          <a:pt x="36" y="304"/>
                        </a:lnTo>
                        <a:lnTo>
                          <a:pt x="46" y="299"/>
                        </a:lnTo>
                        <a:lnTo>
                          <a:pt x="70" y="291"/>
                        </a:lnTo>
                        <a:lnTo>
                          <a:pt x="81" y="281"/>
                        </a:lnTo>
                        <a:lnTo>
                          <a:pt x="89" y="276"/>
                        </a:lnTo>
                        <a:lnTo>
                          <a:pt x="103" y="270"/>
                        </a:lnTo>
                        <a:lnTo>
                          <a:pt x="109" y="267"/>
                        </a:lnTo>
                        <a:lnTo>
                          <a:pt x="155" y="265"/>
                        </a:lnTo>
                        <a:lnTo>
                          <a:pt x="213" y="208"/>
                        </a:lnTo>
                        <a:lnTo>
                          <a:pt x="263" y="158"/>
                        </a:lnTo>
                        <a:lnTo>
                          <a:pt x="270" y="150"/>
                        </a:lnTo>
                        <a:lnTo>
                          <a:pt x="271" y="147"/>
                        </a:lnTo>
                        <a:lnTo>
                          <a:pt x="234" y="148"/>
                        </a:lnTo>
                        <a:lnTo>
                          <a:pt x="172" y="127"/>
                        </a:lnTo>
                        <a:lnTo>
                          <a:pt x="117" y="107"/>
                        </a:lnTo>
                        <a:lnTo>
                          <a:pt x="112" y="102"/>
                        </a:lnTo>
                        <a:lnTo>
                          <a:pt x="97" y="91"/>
                        </a:lnTo>
                        <a:lnTo>
                          <a:pt x="93" y="85"/>
                        </a:lnTo>
                        <a:lnTo>
                          <a:pt x="87" y="81"/>
                        </a:lnTo>
                        <a:lnTo>
                          <a:pt x="87" y="78"/>
                        </a:lnTo>
                        <a:lnTo>
                          <a:pt x="82" y="75"/>
                        </a:lnTo>
                        <a:lnTo>
                          <a:pt x="79" y="70"/>
                        </a:lnTo>
                        <a:lnTo>
                          <a:pt x="77" y="66"/>
                        </a:lnTo>
                        <a:lnTo>
                          <a:pt x="71" y="60"/>
                        </a:lnTo>
                        <a:lnTo>
                          <a:pt x="68" y="45"/>
                        </a:lnTo>
                        <a:lnTo>
                          <a:pt x="69" y="42"/>
                        </a:lnTo>
                        <a:lnTo>
                          <a:pt x="72" y="38"/>
                        </a:lnTo>
                        <a:lnTo>
                          <a:pt x="74" y="33"/>
                        </a:lnTo>
                        <a:lnTo>
                          <a:pt x="81" y="25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4" name="Freeform 82"/>
                  <p:cNvSpPr>
                    <a:spLocks/>
                  </p:cNvSpPr>
                  <p:nvPr/>
                </p:nvSpPr>
                <p:spPr bwMode="auto">
                  <a:xfrm>
                    <a:off x="2791" y="1791"/>
                    <a:ext cx="270" cy="230"/>
                  </a:xfrm>
                  <a:custGeom>
                    <a:avLst/>
                    <a:gdLst>
                      <a:gd name="T0" fmla="*/ 5615 w 253"/>
                      <a:gd name="T1" fmla="*/ 0 h 219"/>
                      <a:gd name="T2" fmla="*/ 5992 w 253"/>
                      <a:gd name="T3" fmla="*/ 5 h 219"/>
                      <a:gd name="T4" fmla="*/ 6606 w 253"/>
                      <a:gd name="T5" fmla="*/ 484 h 219"/>
                      <a:gd name="T6" fmla="*/ 6905 w 253"/>
                      <a:gd name="T7" fmla="*/ 1062 h 219"/>
                      <a:gd name="T8" fmla="*/ 7369 w 253"/>
                      <a:gd name="T9" fmla="*/ 1572 h 219"/>
                      <a:gd name="T10" fmla="*/ 7833 w 253"/>
                      <a:gd name="T11" fmla="*/ 2123 h 219"/>
                      <a:gd name="T12" fmla="*/ 8310 w 253"/>
                      <a:gd name="T13" fmla="*/ 2326 h 219"/>
                      <a:gd name="T14" fmla="*/ 8570 w 253"/>
                      <a:gd name="T15" fmla="*/ 2443 h 219"/>
                      <a:gd name="T16" fmla="*/ 8956 w 253"/>
                      <a:gd name="T17" fmla="*/ 2695 h 219"/>
                      <a:gd name="T18" fmla="*/ 9447 w 253"/>
                      <a:gd name="T19" fmla="*/ 2859 h 219"/>
                      <a:gd name="T20" fmla="*/ 9447 w 253"/>
                      <a:gd name="T21" fmla="*/ 2695 h 219"/>
                      <a:gd name="T22" fmla="*/ 9588 w 253"/>
                      <a:gd name="T23" fmla="*/ 2515 h 219"/>
                      <a:gd name="T24" fmla="*/ 10100 w 253"/>
                      <a:gd name="T25" fmla="*/ 2660 h 219"/>
                      <a:gd name="T26" fmla="*/ 10160 w 253"/>
                      <a:gd name="T27" fmla="*/ 2913 h 219"/>
                      <a:gd name="T28" fmla="*/ 10843 w 253"/>
                      <a:gd name="T29" fmla="*/ 3059 h 219"/>
                      <a:gd name="T30" fmla="*/ 11503 w 253"/>
                      <a:gd name="T31" fmla="*/ 3059 h 219"/>
                      <a:gd name="T32" fmla="*/ 12046 w 253"/>
                      <a:gd name="T33" fmla="*/ 3278 h 219"/>
                      <a:gd name="T34" fmla="*/ 13101 w 253"/>
                      <a:gd name="T35" fmla="*/ 3312 h 219"/>
                      <a:gd name="T36" fmla="*/ 14497 w 253"/>
                      <a:gd name="T37" fmla="*/ 3993 h 219"/>
                      <a:gd name="T38" fmla="*/ 14920 w 253"/>
                      <a:gd name="T39" fmla="*/ 4104 h 219"/>
                      <a:gd name="T40" fmla="*/ 15454 w 253"/>
                      <a:gd name="T41" fmla="*/ 4135 h 219"/>
                      <a:gd name="T42" fmla="*/ 16133 w 253"/>
                      <a:gd name="T43" fmla="*/ 4405 h 219"/>
                      <a:gd name="T44" fmla="*/ 16511 w 253"/>
                      <a:gd name="T45" fmla="*/ 4667 h 219"/>
                      <a:gd name="T46" fmla="*/ 17378 w 253"/>
                      <a:gd name="T47" fmla="*/ 4790 h 219"/>
                      <a:gd name="T48" fmla="*/ 17620 w 253"/>
                      <a:gd name="T49" fmla="*/ 5031 h 219"/>
                      <a:gd name="T50" fmla="*/ 18546 w 253"/>
                      <a:gd name="T51" fmla="*/ 5110 h 219"/>
                      <a:gd name="T52" fmla="*/ 16511 w 253"/>
                      <a:gd name="T53" fmla="*/ 5567 h 219"/>
                      <a:gd name="T54" fmla="*/ 15586 w 253"/>
                      <a:gd name="T55" fmla="*/ 5243 h 219"/>
                      <a:gd name="T56" fmla="*/ 14920 w 253"/>
                      <a:gd name="T57" fmla="*/ 4866 h 219"/>
                      <a:gd name="T58" fmla="*/ 13101 w 253"/>
                      <a:gd name="T59" fmla="*/ 4399 h 219"/>
                      <a:gd name="T60" fmla="*/ 11818 w 253"/>
                      <a:gd name="T61" fmla="*/ 3824 h 219"/>
                      <a:gd name="T62" fmla="*/ 10200 w 253"/>
                      <a:gd name="T63" fmla="*/ 3543 h 219"/>
                      <a:gd name="T64" fmla="*/ 9447 w 253"/>
                      <a:gd name="T65" fmla="*/ 3570 h 219"/>
                      <a:gd name="T66" fmla="*/ 8418 w 253"/>
                      <a:gd name="T67" fmla="*/ 3453 h 219"/>
                      <a:gd name="T68" fmla="*/ 7787 w 253"/>
                      <a:gd name="T69" fmla="*/ 3543 h 219"/>
                      <a:gd name="T70" fmla="*/ 7369 w 253"/>
                      <a:gd name="T71" fmla="*/ 3453 h 219"/>
                      <a:gd name="T72" fmla="*/ 6878 w 253"/>
                      <a:gd name="T73" fmla="*/ 3453 h 219"/>
                      <a:gd name="T74" fmla="*/ 5681 w 253"/>
                      <a:gd name="T75" fmla="*/ 3570 h 219"/>
                      <a:gd name="T76" fmla="*/ 4688 w 253"/>
                      <a:gd name="T77" fmla="*/ 3312 h 219"/>
                      <a:gd name="T78" fmla="*/ 3926 w 253"/>
                      <a:gd name="T79" fmla="*/ 3224 h 219"/>
                      <a:gd name="T80" fmla="*/ 2333 w 253"/>
                      <a:gd name="T81" fmla="*/ 3735 h 219"/>
                      <a:gd name="T82" fmla="*/ 1685 w 253"/>
                      <a:gd name="T83" fmla="*/ 3570 h 219"/>
                      <a:gd name="T84" fmla="*/ 1141 w 253"/>
                      <a:gd name="T85" fmla="*/ 3735 h 219"/>
                      <a:gd name="T86" fmla="*/ 3 w 253"/>
                      <a:gd name="T87" fmla="*/ 3721 h 219"/>
                      <a:gd name="T88" fmla="*/ 0 w 253"/>
                      <a:gd name="T89" fmla="*/ 3059 h 219"/>
                      <a:gd name="T90" fmla="*/ 880 w 253"/>
                      <a:gd name="T91" fmla="*/ 1924 h 219"/>
                      <a:gd name="T92" fmla="*/ 1218 w 253"/>
                      <a:gd name="T93" fmla="*/ 1062 h 219"/>
                      <a:gd name="T94" fmla="*/ 2611 w 253"/>
                      <a:gd name="T95" fmla="*/ 831 h 219"/>
                      <a:gd name="T96" fmla="*/ 4380 w 253"/>
                      <a:gd name="T97" fmla="*/ 484 h 219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253"/>
                      <a:gd name="T148" fmla="*/ 0 h 219"/>
                      <a:gd name="T149" fmla="*/ 253 w 253"/>
                      <a:gd name="T150" fmla="*/ 219 h 219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253" h="219">
                        <a:moveTo>
                          <a:pt x="69" y="15"/>
                        </a:moveTo>
                        <a:lnTo>
                          <a:pt x="75" y="6"/>
                        </a:lnTo>
                        <a:lnTo>
                          <a:pt x="76" y="0"/>
                        </a:lnTo>
                        <a:lnTo>
                          <a:pt x="78" y="0"/>
                        </a:lnTo>
                        <a:lnTo>
                          <a:pt x="80" y="0"/>
                        </a:lnTo>
                        <a:lnTo>
                          <a:pt x="81" y="5"/>
                        </a:lnTo>
                        <a:lnTo>
                          <a:pt x="84" y="10"/>
                        </a:lnTo>
                        <a:lnTo>
                          <a:pt x="87" y="13"/>
                        </a:lnTo>
                        <a:lnTo>
                          <a:pt x="91" y="20"/>
                        </a:lnTo>
                        <a:lnTo>
                          <a:pt x="92" y="25"/>
                        </a:lnTo>
                        <a:lnTo>
                          <a:pt x="93" y="32"/>
                        </a:lnTo>
                        <a:lnTo>
                          <a:pt x="95" y="42"/>
                        </a:lnTo>
                        <a:lnTo>
                          <a:pt x="97" y="45"/>
                        </a:lnTo>
                        <a:lnTo>
                          <a:pt x="97" y="56"/>
                        </a:lnTo>
                        <a:lnTo>
                          <a:pt x="101" y="62"/>
                        </a:lnTo>
                        <a:lnTo>
                          <a:pt x="101" y="68"/>
                        </a:lnTo>
                        <a:lnTo>
                          <a:pt x="104" y="80"/>
                        </a:lnTo>
                        <a:lnTo>
                          <a:pt x="107" y="84"/>
                        </a:lnTo>
                        <a:lnTo>
                          <a:pt x="111" y="86"/>
                        </a:lnTo>
                        <a:lnTo>
                          <a:pt x="111" y="90"/>
                        </a:lnTo>
                        <a:lnTo>
                          <a:pt x="113" y="91"/>
                        </a:lnTo>
                        <a:lnTo>
                          <a:pt x="113" y="94"/>
                        </a:lnTo>
                        <a:lnTo>
                          <a:pt x="114" y="96"/>
                        </a:lnTo>
                        <a:lnTo>
                          <a:pt x="118" y="96"/>
                        </a:lnTo>
                        <a:lnTo>
                          <a:pt x="119" y="97"/>
                        </a:lnTo>
                        <a:lnTo>
                          <a:pt x="120" y="104"/>
                        </a:lnTo>
                        <a:lnTo>
                          <a:pt x="123" y="106"/>
                        </a:lnTo>
                        <a:lnTo>
                          <a:pt x="123" y="110"/>
                        </a:lnTo>
                        <a:lnTo>
                          <a:pt x="128" y="113"/>
                        </a:lnTo>
                        <a:lnTo>
                          <a:pt x="128" y="112"/>
                        </a:lnTo>
                        <a:lnTo>
                          <a:pt x="129" y="109"/>
                        </a:lnTo>
                        <a:lnTo>
                          <a:pt x="128" y="106"/>
                        </a:lnTo>
                        <a:lnTo>
                          <a:pt x="126" y="103"/>
                        </a:lnTo>
                        <a:lnTo>
                          <a:pt x="128" y="100"/>
                        </a:lnTo>
                        <a:lnTo>
                          <a:pt x="132" y="99"/>
                        </a:lnTo>
                        <a:lnTo>
                          <a:pt x="135" y="103"/>
                        </a:lnTo>
                        <a:lnTo>
                          <a:pt x="136" y="103"/>
                        </a:lnTo>
                        <a:lnTo>
                          <a:pt x="138" y="105"/>
                        </a:lnTo>
                        <a:lnTo>
                          <a:pt x="135" y="109"/>
                        </a:lnTo>
                        <a:lnTo>
                          <a:pt x="136" y="110"/>
                        </a:lnTo>
                        <a:lnTo>
                          <a:pt x="139" y="114"/>
                        </a:lnTo>
                        <a:lnTo>
                          <a:pt x="143" y="120"/>
                        </a:lnTo>
                        <a:lnTo>
                          <a:pt x="146" y="120"/>
                        </a:lnTo>
                        <a:lnTo>
                          <a:pt x="148" y="120"/>
                        </a:lnTo>
                        <a:lnTo>
                          <a:pt x="150" y="119"/>
                        </a:lnTo>
                        <a:lnTo>
                          <a:pt x="154" y="119"/>
                        </a:lnTo>
                        <a:lnTo>
                          <a:pt x="157" y="120"/>
                        </a:lnTo>
                        <a:lnTo>
                          <a:pt x="159" y="122"/>
                        </a:lnTo>
                        <a:lnTo>
                          <a:pt x="162" y="127"/>
                        </a:lnTo>
                        <a:lnTo>
                          <a:pt x="165" y="129"/>
                        </a:lnTo>
                        <a:lnTo>
                          <a:pt x="167" y="129"/>
                        </a:lnTo>
                        <a:lnTo>
                          <a:pt x="172" y="131"/>
                        </a:lnTo>
                        <a:lnTo>
                          <a:pt x="179" y="131"/>
                        </a:lnTo>
                        <a:lnTo>
                          <a:pt x="184" y="135"/>
                        </a:lnTo>
                        <a:lnTo>
                          <a:pt x="194" y="151"/>
                        </a:lnTo>
                        <a:lnTo>
                          <a:pt x="200" y="157"/>
                        </a:lnTo>
                        <a:lnTo>
                          <a:pt x="200" y="160"/>
                        </a:lnTo>
                        <a:lnTo>
                          <a:pt x="203" y="161"/>
                        </a:lnTo>
                        <a:lnTo>
                          <a:pt x="204" y="161"/>
                        </a:lnTo>
                        <a:lnTo>
                          <a:pt x="206" y="163"/>
                        </a:lnTo>
                        <a:lnTo>
                          <a:pt x="210" y="162"/>
                        </a:lnTo>
                        <a:lnTo>
                          <a:pt x="212" y="163"/>
                        </a:lnTo>
                        <a:lnTo>
                          <a:pt x="215" y="170"/>
                        </a:lnTo>
                        <a:lnTo>
                          <a:pt x="217" y="172"/>
                        </a:lnTo>
                        <a:lnTo>
                          <a:pt x="221" y="173"/>
                        </a:lnTo>
                        <a:lnTo>
                          <a:pt x="222" y="175"/>
                        </a:lnTo>
                        <a:lnTo>
                          <a:pt x="224" y="178"/>
                        </a:lnTo>
                        <a:lnTo>
                          <a:pt x="227" y="185"/>
                        </a:lnTo>
                        <a:lnTo>
                          <a:pt x="227" y="187"/>
                        </a:lnTo>
                        <a:lnTo>
                          <a:pt x="231" y="189"/>
                        </a:lnTo>
                        <a:lnTo>
                          <a:pt x="237" y="189"/>
                        </a:lnTo>
                        <a:lnTo>
                          <a:pt x="238" y="190"/>
                        </a:lnTo>
                        <a:lnTo>
                          <a:pt x="239" y="196"/>
                        </a:lnTo>
                        <a:lnTo>
                          <a:pt x="242" y="198"/>
                        </a:lnTo>
                        <a:lnTo>
                          <a:pt x="245" y="199"/>
                        </a:lnTo>
                        <a:lnTo>
                          <a:pt x="249" y="198"/>
                        </a:lnTo>
                        <a:lnTo>
                          <a:pt x="253" y="202"/>
                        </a:lnTo>
                        <a:lnTo>
                          <a:pt x="241" y="209"/>
                        </a:lnTo>
                        <a:lnTo>
                          <a:pt x="231" y="214"/>
                        </a:lnTo>
                        <a:lnTo>
                          <a:pt x="227" y="219"/>
                        </a:lnTo>
                        <a:lnTo>
                          <a:pt x="222" y="214"/>
                        </a:lnTo>
                        <a:lnTo>
                          <a:pt x="219" y="209"/>
                        </a:lnTo>
                        <a:lnTo>
                          <a:pt x="214" y="205"/>
                        </a:lnTo>
                        <a:lnTo>
                          <a:pt x="209" y="202"/>
                        </a:lnTo>
                        <a:lnTo>
                          <a:pt x="206" y="198"/>
                        </a:lnTo>
                        <a:lnTo>
                          <a:pt x="204" y="192"/>
                        </a:lnTo>
                        <a:lnTo>
                          <a:pt x="199" y="187"/>
                        </a:lnTo>
                        <a:lnTo>
                          <a:pt x="191" y="180"/>
                        </a:lnTo>
                        <a:lnTo>
                          <a:pt x="179" y="172"/>
                        </a:lnTo>
                        <a:lnTo>
                          <a:pt x="176" y="165"/>
                        </a:lnTo>
                        <a:lnTo>
                          <a:pt x="171" y="158"/>
                        </a:lnTo>
                        <a:lnTo>
                          <a:pt x="162" y="151"/>
                        </a:lnTo>
                        <a:lnTo>
                          <a:pt x="156" y="151"/>
                        </a:lnTo>
                        <a:lnTo>
                          <a:pt x="149" y="147"/>
                        </a:lnTo>
                        <a:lnTo>
                          <a:pt x="140" y="139"/>
                        </a:lnTo>
                        <a:lnTo>
                          <a:pt x="132" y="139"/>
                        </a:lnTo>
                        <a:lnTo>
                          <a:pt x="131" y="141"/>
                        </a:lnTo>
                        <a:lnTo>
                          <a:pt x="128" y="141"/>
                        </a:lnTo>
                        <a:lnTo>
                          <a:pt x="126" y="139"/>
                        </a:lnTo>
                        <a:lnTo>
                          <a:pt x="119" y="138"/>
                        </a:lnTo>
                        <a:lnTo>
                          <a:pt x="116" y="136"/>
                        </a:lnTo>
                        <a:lnTo>
                          <a:pt x="113" y="136"/>
                        </a:lnTo>
                        <a:lnTo>
                          <a:pt x="110" y="139"/>
                        </a:lnTo>
                        <a:lnTo>
                          <a:pt x="106" y="139"/>
                        </a:lnTo>
                        <a:lnTo>
                          <a:pt x="104" y="141"/>
                        </a:lnTo>
                        <a:lnTo>
                          <a:pt x="103" y="141"/>
                        </a:lnTo>
                        <a:lnTo>
                          <a:pt x="101" y="136"/>
                        </a:lnTo>
                        <a:lnTo>
                          <a:pt x="97" y="132"/>
                        </a:lnTo>
                        <a:lnTo>
                          <a:pt x="94" y="132"/>
                        </a:lnTo>
                        <a:lnTo>
                          <a:pt x="94" y="136"/>
                        </a:lnTo>
                        <a:lnTo>
                          <a:pt x="90" y="138"/>
                        </a:lnTo>
                        <a:lnTo>
                          <a:pt x="80" y="141"/>
                        </a:lnTo>
                        <a:lnTo>
                          <a:pt x="78" y="141"/>
                        </a:lnTo>
                        <a:lnTo>
                          <a:pt x="73" y="141"/>
                        </a:lnTo>
                        <a:lnTo>
                          <a:pt x="65" y="134"/>
                        </a:lnTo>
                        <a:lnTo>
                          <a:pt x="65" y="131"/>
                        </a:lnTo>
                        <a:lnTo>
                          <a:pt x="63" y="131"/>
                        </a:lnTo>
                        <a:lnTo>
                          <a:pt x="59" y="131"/>
                        </a:lnTo>
                        <a:lnTo>
                          <a:pt x="54" y="127"/>
                        </a:lnTo>
                        <a:lnTo>
                          <a:pt x="52" y="124"/>
                        </a:lnTo>
                        <a:lnTo>
                          <a:pt x="38" y="154"/>
                        </a:lnTo>
                        <a:lnTo>
                          <a:pt x="33" y="147"/>
                        </a:lnTo>
                        <a:lnTo>
                          <a:pt x="32" y="145"/>
                        </a:lnTo>
                        <a:lnTo>
                          <a:pt x="28" y="141"/>
                        </a:lnTo>
                        <a:lnTo>
                          <a:pt x="23" y="141"/>
                        </a:lnTo>
                        <a:lnTo>
                          <a:pt x="22" y="144"/>
                        </a:lnTo>
                        <a:lnTo>
                          <a:pt x="20" y="146"/>
                        </a:lnTo>
                        <a:lnTo>
                          <a:pt x="17" y="147"/>
                        </a:lnTo>
                        <a:lnTo>
                          <a:pt x="15" y="147"/>
                        </a:lnTo>
                        <a:lnTo>
                          <a:pt x="11" y="146"/>
                        </a:lnTo>
                        <a:lnTo>
                          <a:pt x="3" y="146"/>
                        </a:lnTo>
                        <a:lnTo>
                          <a:pt x="1" y="145"/>
                        </a:lnTo>
                        <a:lnTo>
                          <a:pt x="0" y="135"/>
                        </a:lnTo>
                        <a:lnTo>
                          <a:pt x="0" y="120"/>
                        </a:lnTo>
                        <a:lnTo>
                          <a:pt x="1" y="110"/>
                        </a:lnTo>
                        <a:lnTo>
                          <a:pt x="6" y="99"/>
                        </a:lnTo>
                        <a:lnTo>
                          <a:pt x="13" y="76"/>
                        </a:lnTo>
                        <a:lnTo>
                          <a:pt x="15" y="62"/>
                        </a:lnTo>
                        <a:lnTo>
                          <a:pt x="15" y="58"/>
                        </a:lnTo>
                        <a:lnTo>
                          <a:pt x="18" y="42"/>
                        </a:lnTo>
                        <a:lnTo>
                          <a:pt x="22" y="37"/>
                        </a:lnTo>
                        <a:lnTo>
                          <a:pt x="30" y="36"/>
                        </a:lnTo>
                        <a:lnTo>
                          <a:pt x="36" y="32"/>
                        </a:lnTo>
                        <a:lnTo>
                          <a:pt x="40" y="28"/>
                        </a:lnTo>
                        <a:lnTo>
                          <a:pt x="54" y="21"/>
                        </a:lnTo>
                        <a:lnTo>
                          <a:pt x="60" y="20"/>
                        </a:lnTo>
                        <a:lnTo>
                          <a:pt x="69" y="1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5" name="Freeform 83"/>
                  <p:cNvSpPr>
                    <a:spLocks/>
                  </p:cNvSpPr>
                  <p:nvPr/>
                </p:nvSpPr>
                <p:spPr bwMode="auto">
                  <a:xfrm>
                    <a:off x="2791" y="1791"/>
                    <a:ext cx="270" cy="230"/>
                  </a:xfrm>
                  <a:custGeom>
                    <a:avLst/>
                    <a:gdLst>
                      <a:gd name="T0" fmla="*/ 5615 w 253"/>
                      <a:gd name="T1" fmla="*/ 0 h 219"/>
                      <a:gd name="T2" fmla="*/ 5992 w 253"/>
                      <a:gd name="T3" fmla="*/ 5 h 219"/>
                      <a:gd name="T4" fmla="*/ 6606 w 253"/>
                      <a:gd name="T5" fmla="*/ 484 h 219"/>
                      <a:gd name="T6" fmla="*/ 6905 w 253"/>
                      <a:gd name="T7" fmla="*/ 1062 h 219"/>
                      <a:gd name="T8" fmla="*/ 7369 w 253"/>
                      <a:gd name="T9" fmla="*/ 1572 h 219"/>
                      <a:gd name="T10" fmla="*/ 7833 w 253"/>
                      <a:gd name="T11" fmla="*/ 2123 h 219"/>
                      <a:gd name="T12" fmla="*/ 8310 w 253"/>
                      <a:gd name="T13" fmla="*/ 2326 h 219"/>
                      <a:gd name="T14" fmla="*/ 8570 w 253"/>
                      <a:gd name="T15" fmla="*/ 2443 h 219"/>
                      <a:gd name="T16" fmla="*/ 8956 w 253"/>
                      <a:gd name="T17" fmla="*/ 2695 h 219"/>
                      <a:gd name="T18" fmla="*/ 9447 w 253"/>
                      <a:gd name="T19" fmla="*/ 2859 h 219"/>
                      <a:gd name="T20" fmla="*/ 9447 w 253"/>
                      <a:gd name="T21" fmla="*/ 2695 h 219"/>
                      <a:gd name="T22" fmla="*/ 9588 w 253"/>
                      <a:gd name="T23" fmla="*/ 2515 h 219"/>
                      <a:gd name="T24" fmla="*/ 10100 w 253"/>
                      <a:gd name="T25" fmla="*/ 2660 h 219"/>
                      <a:gd name="T26" fmla="*/ 10160 w 253"/>
                      <a:gd name="T27" fmla="*/ 2913 h 219"/>
                      <a:gd name="T28" fmla="*/ 10843 w 253"/>
                      <a:gd name="T29" fmla="*/ 3059 h 219"/>
                      <a:gd name="T30" fmla="*/ 11503 w 253"/>
                      <a:gd name="T31" fmla="*/ 3059 h 219"/>
                      <a:gd name="T32" fmla="*/ 12046 w 253"/>
                      <a:gd name="T33" fmla="*/ 3278 h 219"/>
                      <a:gd name="T34" fmla="*/ 13101 w 253"/>
                      <a:gd name="T35" fmla="*/ 3312 h 219"/>
                      <a:gd name="T36" fmla="*/ 14497 w 253"/>
                      <a:gd name="T37" fmla="*/ 3993 h 219"/>
                      <a:gd name="T38" fmla="*/ 14920 w 253"/>
                      <a:gd name="T39" fmla="*/ 4104 h 219"/>
                      <a:gd name="T40" fmla="*/ 15454 w 253"/>
                      <a:gd name="T41" fmla="*/ 4135 h 219"/>
                      <a:gd name="T42" fmla="*/ 16133 w 253"/>
                      <a:gd name="T43" fmla="*/ 4405 h 219"/>
                      <a:gd name="T44" fmla="*/ 16511 w 253"/>
                      <a:gd name="T45" fmla="*/ 4667 h 219"/>
                      <a:gd name="T46" fmla="*/ 17378 w 253"/>
                      <a:gd name="T47" fmla="*/ 4790 h 219"/>
                      <a:gd name="T48" fmla="*/ 17620 w 253"/>
                      <a:gd name="T49" fmla="*/ 5031 h 219"/>
                      <a:gd name="T50" fmla="*/ 18546 w 253"/>
                      <a:gd name="T51" fmla="*/ 5110 h 219"/>
                      <a:gd name="T52" fmla="*/ 16511 w 253"/>
                      <a:gd name="T53" fmla="*/ 5567 h 219"/>
                      <a:gd name="T54" fmla="*/ 15586 w 253"/>
                      <a:gd name="T55" fmla="*/ 5243 h 219"/>
                      <a:gd name="T56" fmla="*/ 14920 w 253"/>
                      <a:gd name="T57" fmla="*/ 4866 h 219"/>
                      <a:gd name="T58" fmla="*/ 13101 w 253"/>
                      <a:gd name="T59" fmla="*/ 4399 h 219"/>
                      <a:gd name="T60" fmla="*/ 11818 w 253"/>
                      <a:gd name="T61" fmla="*/ 3824 h 219"/>
                      <a:gd name="T62" fmla="*/ 10200 w 253"/>
                      <a:gd name="T63" fmla="*/ 3543 h 219"/>
                      <a:gd name="T64" fmla="*/ 9447 w 253"/>
                      <a:gd name="T65" fmla="*/ 3570 h 219"/>
                      <a:gd name="T66" fmla="*/ 8418 w 253"/>
                      <a:gd name="T67" fmla="*/ 3453 h 219"/>
                      <a:gd name="T68" fmla="*/ 7787 w 253"/>
                      <a:gd name="T69" fmla="*/ 3543 h 219"/>
                      <a:gd name="T70" fmla="*/ 7369 w 253"/>
                      <a:gd name="T71" fmla="*/ 3453 h 219"/>
                      <a:gd name="T72" fmla="*/ 6878 w 253"/>
                      <a:gd name="T73" fmla="*/ 3453 h 219"/>
                      <a:gd name="T74" fmla="*/ 5681 w 253"/>
                      <a:gd name="T75" fmla="*/ 3570 h 219"/>
                      <a:gd name="T76" fmla="*/ 4688 w 253"/>
                      <a:gd name="T77" fmla="*/ 3312 h 219"/>
                      <a:gd name="T78" fmla="*/ 3926 w 253"/>
                      <a:gd name="T79" fmla="*/ 3224 h 219"/>
                      <a:gd name="T80" fmla="*/ 2333 w 253"/>
                      <a:gd name="T81" fmla="*/ 3735 h 219"/>
                      <a:gd name="T82" fmla="*/ 1685 w 253"/>
                      <a:gd name="T83" fmla="*/ 3570 h 219"/>
                      <a:gd name="T84" fmla="*/ 1141 w 253"/>
                      <a:gd name="T85" fmla="*/ 3735 h 219"/>
                      <a:gd name="T86" fmla="*/ 3 w 253"/>
                      <a:gd name="T87" fmla="*/ 3721 h 219"/>
                      <a:gd name="T88" fmla="*/ 0 w 253"/>
                      <a:gd name="T89" fmla="*/ 3059 h 219"/>
                      <a:gd name="T90" fmla="*/ 880 w 253"/>
                      <a:gd name="T91" fmla="*/ 1924 h 219"/>
                      <a:gd name="T92" fmla="*/ 1218 w 253"/>
                      <a:gd name="T93" fmla="*/ 1062 h 219"/>
                      <a:gd name="T94" fmla="*/ 2611 w 253"/>
                      <a:gd name="T95" fmla="*/ 831 h 219"/>
                      <a:gd name="T96" fmla="*/ 4380 w 253"/>
                      <a:gd name="T97" fmla="*/ 484 h 219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253"/>
                      <a:gd name="T148" fmla="*/ 0 h 219"/>
                      <a:gd name="T149" fmla="*/ 253 w 253"/>
                      <a:gd name="T150" fmla="*/ 219 h 219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253" h="219">
                        <a:moveTo>
                          <a:pt x="69" y="15"/>
                        </a:moveTo>
                        <a:lnTo>
                          <a:pt x="75" y="6"/>
                        </a:lnTo>
                        <a:lnTo>
                          <a:pt x="76" y="0"/>
                        </a:lnTo>
                        <a:lnTo>
                          <a:pt x="78" y="0"/>
                        </a:lnTo>
                        <a:lnTo>
                          <a:pt x="80" y="0"/>
                        </a:lnTo>
                        <a:lnTo>
                          <a:pt x="81" y="5"/>
                        </a:lnTo>
                        <a:lnTo>
                          <a:pt x="84" y="10"/>
                        </a:lnTo>
                        <a:lnTo>
                          <a:pt x="87" y="13"/>
                        </a:lnTo>
                        <a:lnTo>
                          <a:pt x="91" y="20"/>
                        </a:lnTo>
                        <a:lnTo>
                          <a:pt x="92" y="25"/>
                        </a:lnTo>
                        <a:lnTo>
                          <a:pt x="93" y="32"/>
                        </a:lnTo>
                        <a:lnTo>
                          <a:pt x="95" y="42"/>
                        </a:lnTo>
                        <a:lnTo>
                          <a:pt x="97" y="45"/>
                        </a:lnTo>
                        <a:lnTo>
                          <a:pt x="97" y="56"/>
                        </a:lnTo>
                        <a:lnTo>
                          <a:pt x="101" y="62"/>
                        </a:lnTo>
                        <a:lnTo>
                          <a:pt x="101" y="68"/>
                        </a:lnTo>
                        <a:lnTo>
                          <a:pt x="104" y="80"/>
                        </a:lnTo>
                        <a:lnTo>
                          <a:pt x="107" y="84"/>
                        </a:lnTo>
                        <a:lnTo>
                          <a:pt x="111" y="86"/>
                        </a:lnTo>
                        <a:lnTo>
                          <a:pt x="111" y="90"/>
                        </a:lnTo>
                        <a:lnTo>
                          <a:pt x="113" y="91"/>
                        </a:lnTo>
                        <a:lnTo>
                          <a:pt x="113" y="94"/>
                        </a:lnTo>
                        <a:lnTo>
                          <a:pt x="114" y="96"/>
                        </a:lnTo>
                        <a:lnTo>
                          <a:pt x="118" y="96"/>
                        </a:lnTo>
                        <a:lnTo>
                          <a:pt x="119" y="97"/>
                        </a:lnTo>
                        <a:lnTo>
                          <a:pt x="120" y="104"/>
                        </a:lnTo>
                        <a:lnTo>
                          <a:pt x="123" y="106"/>
                        </a:lnTo>
                        <a:lnTo>
                          <a:pt x="123" y="110"/>
                        </a:lnTo>
                        <a:lnTo>
                          <a:pt x="128" y="113"/>
                        </a:lnTo>
                        <a:lnTo>
                          <a:pt x="128" y="112"/>
                        </a:lnTo>
                        <a:lnTo>
                          <a:pt x="129" y="109"/>
                        </a:lnTo>
                        <a:lnTo>
                          <a:pt x="128" y="106"/>
                        </a:lnTo>
                        <a:lnTo>
                          <a:pt x="126" y="103"/>
                        </a:lnTo>
                        <a:lnTo>
                          <a:pt x="128" y="100"/>
                        </a:lnTo>
                        <a:lnTo>
                          <a:pt x="132" y="99"/>
                        </a:lnTo>
                        <a:lnTo>
                          <a:pt x="135" y="103"/>
                        </a:lnTo>
                        <a:lnTo>
                          <a:pt x="136" y="103"/>
                        </a:lnTo>
                        <a:lnTo>
                          <a:pt x="138" y="105"/>
                        </a:lnTo>
                        <a:lnTo>
                          <a:pt x="135" y="109"/>
                        </a:lnTo>
                        <a:lnTo>
                          <a:pt x="136" y="110"/>
                        </a:lnTo>
                        <a:lnTo>
                          <a:pt x="139" y="114"/>
                        </a:lnTo>
                        <a:lnTo>
                          <a:pt x="143" y="120"/>
                        </a:lnTo>
                        <a:lnTo>
                          <a:pt x="146" y="120"/>
                        </a:lnTo>
                        <a:lnTo>
                          <a:pt x="148" y="120"/>
                        </a:lnTo>
                        <a:lnTo>
                          <a:pt x="150" y="119"/>
                        </a:lnTo>
                        <a:lnTo>
                          <a:pt x="154" y="119"/>
                        </a:lnTo>
                        <a:lnTo>
                          <a:pt x="157" y="120"/>
                        </a:lnTo>
                        <a:lnTo>
                          <a:pt x="159" y="122"/>
                        </a:lnTo>
                        <a:lnTo>
                          <a:pt x="162" y="127"/>
                        </a:lnTo>
                        <a:lnTo>
                          <a:pt x="165" y="129"/>
                        </a:lnTo>
                        <a:lnTo>
                          <a:pt x="167" y="129"/>
                        </a:lnTo>
                        <a:lnTo>
                          <a:pt x="172" y="131"/>
                        </a:lnTo>
                        <a:lnTo>
                          <a:pt x="179" y="131"/>
                        </a:lnTo>
                        <a:lnTo>
                          <a:pt x="184" y="135"/>
                        </a:lnTo>
                        <a:lnTo>
                          <a:pt x="194" y="151"/>
                        </a:lnTo>
                        <a:lnTo>
                          <a:pt x="200" y="157"/>
                        </a:lnTo>
                        <a:lnTo>
                          <a:pt x="200" y="160"/>
                        </a:lnTo>
                        <a:lnTo>
                          <a:pt x="203" y="161"/>
                        </a:lnTo>
                        <a:lnTo>
                          <a:pt x="204" y="161"/>
                        </a:lnTo>
                        <a:lnTo>
                          <a:pt x="206" y="163"/>
                        </a:lnTo>
                        <a:lnTo>
                          <a:pt x="210" y="162"/>
                        </a:lnTo>
                        <a:lnTo>
                          <a:pt x="212" y="163"/>
                        </a:lnTo>
                        <a:lnTo>
                          <a:pt x="215" y="170"/>
                        </a:lnTo>
                        <a:lnTo>
                          <a:pt x="217" y="172"/>
                        </a:lnTo>
                        <a:lnTo>
                          <a:pt x="221" y="173"/>
                        </a:lnTo>
                        <a:lnTo>
                          <a:pt x="222" y="175"/>
                        </a:lnTo>
                        <a:lnTo>
                          <a:pt x="224" y="178"/>
                        </a:lnTo>
                        <a:lnTo>
                          <a:pt x="227" y="185"/>
                        </a:lnTo>
                        <a:lnTo>
                          <a:pt x="227" y="187"/>
                        </a:lnTo>
                        <a:lnTo>
                          <a:pt x="231" y="189"/>
                        </a:lnTo>
                        <a:lnTo>
                          <a:pt x="237" y="189"/>
                        </a:lnTo>
                        <a:lnTo>
                          <a:pt x="238" y="190"/>
                        </a:lnTo>
                        <a:lnTo>
                          <a:pt x="239" y="196"/>
                        </a:lnTo>
                        <a:lnTo>
                          <a:pt x="242" y="198"/>
                        </a:lnTo>
                        <a:lnTo>
                          <a:pt x="245" y="199"/>
                        </a:lnTo>
                        <a:lnTo>
                          <a:pt x="249" y="198"/>
                        </a:lnTo>
                        <a:lnTo>
                          <a:pt x="253" y="202"/>
                        </a:lnTo>
                        <a:lnTo>
                          <a:pt x="241" y="209"/>
                        </a:lnTo>
                        <a:lnTo>
                          <a:pt x="231" y="214"/>
                        </a:lnTo>
                        <a:lnTo>
                          <a:pt x="227" y="219"/>
                        </a:lnTo>
                        <a:lnTo>
                          <a:pt x="222" y="214"/>
                        </a:lnTo>
                        <a:lnTo>
                          <a:pt x="219" y="209"/>
                        </a:lnTo>
                        <a:lnTo>
                          <a:pt x="214" y="205"/>
                        </a:lnTo>
                        <a:lnTo>
                          <a:pt x="209" y="202"/>
                        </a:lnTo>
                        <a:lnTo>
                          <a:pt x="206" y="198"/>
                        </a:lnTo>
                        <a:lnTo>
                          <a:pt x="204" y="192"/>
                        </a:lnTo>
                        <a:lnTo>
                          <a:pt x="199" y="187"/>
                        </a:lnTo>
                        <a:lnTo>
                          <a:pt x="191" y="180"/>
                        </a:lnTo>
                        <a:lnTo>
                          <a:pt x="179" y="172"/>
                        </a:lnTo>
                        <a:lnTo>
                          <a:pt x="176" y="165"/>
                        </a:lnTo>
                        <a:lnTo>
                          <a:pt x="171" y="158"/>
                        </a:lnTo>
                        <a:lnTo>
                          <a:pt x="162" y="151"/>
                        </a:lnTo>
                        <a:lnTo>
                          <a:pt x="156" y="151"/>
                        </a:lnTo>
                        <a:lnTo>
                          <a:pt x="149" y="147"/>
                        </a:lnTo>
                        <a:lnTo>
                          <a:pt x="140" y="139"/>
                        </a:lnTo>
                        <a:lnTo>
                          <a:pt x="132" y="139"/>
                        </a:lnTo>
                        <a:lnTo>
                          <a:pt x="131" y="141"/>
                        </a:lnTo>
                        <a:lnTo>
                          <a:pt x="128" y="141"/>
                        </a:lnTo>
                        <a:lnTo>
                          <a:pt x="126" y="139"/>
                        </a:lnTo>
                        <a:lnTo>
                          <a:pt x="119" y="138"/>
                        </a:lnTo>
                        <a:lnTo>
                          <a:pt x="116" y="136"/>
                        </a:lnTo>
                        <a:lnTo>
                          <a:pt x="113" y="136"/>
                        </a:lnTo>
                        <a:lnTo>
                          <a:pt x="110" y="139"/>
                        </a:lnTo>
                        <a:lnTo>
                          <a:pt x="106" y="139"/>
                        </a:lnTo>
                        <a:lnTo>
                          <a:pt x="104" y="141"/>
                        </a:lnTo>
                        <a:lnTo>
                          <a:pt x="103" y="141"/>
                        </a:lnTo>
                        <a:lnTo>
                          <a:pt x="101" y="136"/>
                        </a:lnTo>
                        <a:lnTo>
                          <a:pt x="97" y="132"/>
                        </a:lnTo>
                        <a:lnTo>
                          <a:pt x="94" y="132"/>
                        </a:lnTo>
                        <a:lnTo>
                          <a:pt x="94" y="136"/>
                        </a:lnTo>
                        <a:lnTo>
                          <a:pt x="90" y="138"/>
                        </a:lnTo>
                        <a:lnTo>
                          <a:pt x="80" y="141"/>
                        </a:lnTo>
                        <a:lnTo>
                          <a:pt x="78" y="141"/>
                        </a:lnTo>
                        <a:lnTo>
                          <a:pt x="73" y="141"/>
                        </a:lnTo>
                        <a:lnTo>
                          <a:pt x="65" y="134"/>
                        </a:lnTo>
                        <a:lnTo>
                          <a:pt x="65" y="131"/>
                        </a:lnTo>
                        <a:lnTo>
                          <a:pt x="63" y="131"/>
                        </a:lnTo>
                        <a:lnTo>
                          <a:pt x="59" y="131"/>
                        </a:lnTo>
                        <a:lnTo>
                          <a:pt x="54" y="127"/>
                        </a:lnTo>
                        <a:lnTo>
                          <a:pt x="52" y="124"/>
                        </a:lnTo>
                        <a:lnTo>
                          <a:pt x="38" y="154"/>
                        </a:lnTo>
                        <a:lnTo>
                          <a:pt x="33" y="147"/>
                        </a:lnTo>
                        <a:lnTo>
                          <a:pt x="32" y="145"/>
                        </a:lnTo>
                        <a:lnTo>
                          <a:pt x="28" y="141"/>
                        </a:lnTo>
                        <a:lnTo>
                          <a:pt x="23" y="141"/>
                        </a:lnTo>
                        <a:lnTo>
                          <a:pt x="22" y="144"/>
                        </a:lnTo>
                        <a:lnTo>
                          <a:pt x="20" y="146"/>
                        </a:lnTo>
                        <a:lnTo>
                          <a:pt x="17" y="147"/>
                        </a:lnTo>
                        <a:lnTo>
                          <a:pt x="15" y="147"/>
                        </a:lnTo>
                        <a:lnTo>
                          <a:pt x="11" y="146"/>
                        </a:lnTo>
                        <a:lnTo>
                          <a:pt x="3" y="146"/>
                        </a:lnTo>
                        <a:lnTo>
                          <a:pt x="1" y="145"/>
                        </a:lnTo>
                        <a:lnTo>
                          <a:pt x="0" y="135"/>
                        </a:lnTo>
                        <a:lnTo>
                          <a:pt x="0" y="120"/>
                        </a:lnTo>
                        <a:lnTo>
                          <a:pt x="1" y="110"/>
                        </a:lnTo>
                        <a:lnTo>
                          <a:pt x="6" y="99"/>
                        </a:lnTo>
                        <a:lnTo>
                          <a:pt x="13" y="76"/>
                        </a:lnTo>
                        <a:lnTo>
                          <a:pt x="15" y="62"/>
                        </a:lnTo>
                        <a:lnTo>
                          <a:pt x="15" y="58"/>
                        </a:lnTo>
                        <a:lnTo>
                          <a:pt x="18" y="42"/>
                        </a:lnTo>
                        <a:lnTo>
                          <a:pt x="22" y="37"/>
                        </a:lnTo>
                        <a:lnTo>
                          <a:pt x="30" y="36"/>
                        </a:lnTo>
                        <a:lnTo>
                          <a:pt x="36" y="32"/>
                        </a:lnTo>
                        <a:lnTo>
                          <a:pt x="40" y="28"/>
                        </a:lnTo>
                        <a:lnTo>
                          <a:pt x="54" y="21"/>
                        </a:lnTo>
                        <a:lnTo>
                          <a:pt x="60" y="20"/>
                        </a:lnTo>
                        <a:lnTo>
                          <a:pt x="69" y="15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6" name="Freeform 84"/>
                  <p:cNvSpPr>
                    <a:spLocks/>
                  </p:cNvSpPr>
                  <p:nvPr/>
                </p:nvSpPr>
                <p:spPr bwMode="auto">
                  <a:xfrm>
                    <a:off x="3013" y="2005"/>
                    <a:ext cx="62" cy="75"/>
                  </a:xfrm>
                  <a:custGeom>
                    <a:avLst/>
                    <a:gdLst>
                      <a:gd name="T0" fmla="*/ 1938 w 58"/>
                      <a:gd name="T1" fmla="*/ 436 h 71"/>
                      <a:gd name="T2" fmla="*/ 2708 w 58"/>
                      <a:gd name="T3" fmla="*/ 6 h 71"/>
                      <a:gd name="T4" fmla="*/ 3644 w 58"/>
                      <a:gd name="T5" fmla="*/ 0 h 71"/>
                      <a:gd name="T6" fmla="*/ 3644 w 58"/>
                      <a:gd name="T7" fmla="*/ 3 h 71"/>
                      <a:gd name="T8" fmla="*/ 4039 w 58"/>
                      <a:gd name="T9" fmla="*/ 6 h 71"/>
                      <a:gd name="T10" fmla="*/ 4041 w 58"/>
                      <a:gd name="T11" fmla="*/ 413 h 71"/>
                      <a:gd name="T12" fmla="*/ 4422 w 58"/>
                      <a:gd name="T13" fmla="*/ 487 h 71"/>
                      <a:gd name="T14" fmla="*/ 4616 w 58"/>
                      <a:gd name="T15" fmla="*/ 543 h 71"/>
                      <a:gd name="T16" fmla="*/ 4727 w 58"/>
                      <a:gd name="T17" fmla="*/ 938 h 71"/>
                      <a:gd name="T18" fmla="*/ 4618 w 58"/>
                      <a:gd name="T19" fmla="*/ 1114 h 71"/>
                      <a:gd name="T20" fmla="*/ 4318 w 58"/>
                      <a:gd name="T21" fmla="*/ 1234 h 71"/>
                      <a:gd name="T22" fmla="*/ 3644 w 58"/>
                      <a:gd name="T23" fmla="*/ 1234 h 71"/>
                      <a:gd name="T24" fmla="*/ 3409 w 58"/>
                      <a:gd name="T25" fmla="*/ 1387 h 71"/>
                      <a:gd name="T26" fmla="*/ 3189 w 58"/>
                      <a:gd name="T27" fmla="*/ 1387 h 71"/>
                      <a:gd name="T28" fmla="*/ 3093 w 58"/>
                      <a:gd name="T29" fmla="*/ 1465 h 71"/>
                      <a:gd name="T30" fmla="*/ 2533 w 58"/>
                      <a:gd name="T31" fmla="*/ 1624 h 71"/>
                      <a:gd name="T32" fmla="*/ 2533 w 58"/>
                      <a:gd name="T33" fmla="*/ 1744 h 71"/>
                      <a:gd name="T34" fmla="*/ 2370 w 58"/>
                      <a:gd name="T35" fmla="*/ 1744 h 71"/>
                      <a:gd name="T36" fmla="*/ 2215 w 58"/>
                      <a:gd name="T37" fmla="*/ 1744 h 71"/>
                      <a:gd name="T38" fmla="*/ 2072 w 58"/>
                      <a:gd name="T39" fmla="*/ 1744 h 71"/>
                      <a:gd name="T40" fmla="*/ 2215 w 58"/>
                      <a:gd name="T41" fmla="*/ 1842 h 71"/>
                      <a:gd name="T42" fmla="*/ 2370 w 58"/>
                      <a:gd name="T43" fmla="*/ 1842 h 71"/>
                      <a:gd name="T44" fmla="*/ 2533 w 58"/>
                      <a:gd name="T45" fmla="*/ 1842 h 71"/>
                      <a:gd name="T46" fmla="*/ 2708 w 58"/>
                      <a:gd name="T47" fmla="*/ 1812 h 71"/>
                      <a:gd name="T48" fmla="*/ 3189 w 58"/>
                      <a:gd name="T49" fmla="*/ 1744 h 71"/>
                      <a:gd name="T50" fmla="*/ 3536 w 58"/>
                      <a:gd name="T51" fmla="*/ 1744 h 71"/>
                      <a:gd name="T52" fmla="*/ 4039 w 58"/>
                      <a:gd name="T53" fmla="*/ 1744 h 71"/>
                      <a:gd name="T54" fmla="*/ 4041 w 58"/>
                      <a:gd name="T55" fmla="*/ 1812 h 71"/>
                      <a:gd name="T56" fmla="*/ 4318 w 58"/>
                      <a:gd name="T57" fmla="*/ 1812 h 71"/>
                      <a:gd name="T58" fmla="*/ 4422 w 58"/>
                      <a:gd name="T59" fmla="*/ 1842 h 71"/>
                      <a:gd name="T60" fmla="*/ 4318 w 58"/>
                      <a:gd name="T61" fmla="*/ 1927 h 71"/>
                      <a:gd name="T62" fmla="*/ 4039 w 58"/>
                      <a:gd name="T63" fmla="*/ 2151 h 71"/>
                      <a:gd name="T64" fmla="*/ 3409 w 58"/>
                      <a:gd name="T65" fmla="*/ 2517 h 71"/>
                      <a:gd name="T66" fmla="*/ 3306 w 58"/>
                      <a:gd name="T67" fmla="*/ 2659 h 71"/>
                      <a:gd name="T68" fmla="*/ 2708 w 58"/>
                      <a:gd name="T69" fmla="*/ 2423 h 71"/>
                      <a:gd name="T70" fmla="*/ 2370 w 58"/>
                      <a:gd name="T71" fmla="*/ 2383 h 71"/>
                      <a:gd name="T72" fmla="*/ 1938 w 58"/>
                      <a:gd name="T73" fmla="*/ 2517 h 71"/>
                      <a:gd name="T74" fmla="*/ 1815 w 58"/>
                      <a:gd name="T75" fmla="*/ 2569 h 71"/>
                      <a:gd name="T76" fmla="*/ 1588 w 58"/>
                      <a:gd name="T77" fmla="*/ 2659 h 71"/>
                      <a:gd name="T78" fmla="*/ 1300 w 58"/>
                      <a:gd name="T79" fmla="*/ 2569 h 71"/>
                      <a:gd name="T80" fmla="*/ 996 w 58"/>
                      <a:gd name="T81" fmla="*/ 2569 h 71"/>
                      <a:gd name="T82" fmla="*/ 5 w 58"/>
                      <a:gd name="T83" fmla="*/ 2569 h 71"/>
                      <a:gd name="T84" fmla="*/ 0 w 58"/>
                      <a:gd name="T85" fmla="*/ 2423 h 71"/>
                      <a:gd name="T86" fmla="*/ 0 w 58"/>
                      <a:gd name="T87" fmla="*/ 2151 h 71"/>
                      <a:gd name="T88" fmla="*/ 0 w 58"/>
                      <a:gd name="T89" fmla="*/ 2136 h 71"/>
                      <a:gd name="T90" fmla="*/ 5 w 58"/>
                      <a:gd name="T91" fmla="*/ 1842 h 71"/>
                      <a:gd name="T92" fmla="*/ 816 w 58"/>
                      <a:gd name="T93" fmla="*/ 1537 h 71"/>
                      <a:gd name="T94" fmla="*/ 932 w 58"/>
                      <a:gd name="T95" fmla="*/ 1234 h 71"/>
                      <a:gd name="T96" fmla="*/ 1138 w 58"/>
                      <a:gd name="T97" fmla="*/ 714 h 71"/>
                      <a:gd name="T98" fmla="*/ 1588 w 58"/>
                      <a:gd name="T99" fmla="*/ 574 h 71"/>
                      <a:gd name="T100" fmla="*/ 1938 w 58"/>
                      <a:gd name="T101" fmla="*/ 436 h 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58"/>
                      <a:gd name="T154" fmla="*/ 0 h 71"/>
                      <a:gd name="T155" fmla="*/ 58 w 58"/>
                      <a:gd name="T156" fmla="*/ 71 h 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58" h="71">
                        <a:moveTo>
                          <a:pt x="23" y="11"/>
                        </a:moveTo>
                        <a:lnTo>
                          <a:pt x="34" y="6"/>
                        </a:lnTo>
                        <a:lnTo>
                          <a:pt x="45" y="0"/>
                        </a:lnTo>
                        <a:lnTo>
                          <a:pt x="45" y="3"/>
                        </a:lnTo>
                        <a:lnTo>
                          <a:pt x="49" y="6"/>
                        </a:lnTo>
                        <a:lnTo>
                          <a:pt x="50" y="10"/>
                        </a:lnTo>
                        <a:lnTo>
                          <a:pt x="54" y="13"/>
                        </a:lnTo>
                        <a:lnTo>
                          <a:pt x="56" y="15"/>
                        </a:lnTo>
                        <a:lnTo>
                          <a:pt x="58" y="25"/>
                        </a:lnTo>
                        <a:lnTo>
                          <a:pt x="57" y="30"/>
                        </a:lnTo>
                        <a:lnTo>
                          <a:pt x="52" y="33"/>
                        </a:lnTo>
                        <a:lnTo>
                          <a:pt x="45" y="33"/>
                        </a:lnTo>
                        <a:lnTo>
                          <a:pt x="42" y="38"/>
                        </a:lnTo>
                        <a:lnTo>
                          <a:pt x="39" y="38"/>
                        </a:lnTo>
                        <a:lnTo>
                          <a:pt x="37" y="40"/>
                        </a:lnTo>
                        <a:lnTo>
                          <a:pt x="32" y="43"/>
                        </a:lnTo>
                        <a:lnTo>
                          <a:pt x="32" y="47"/>
                        </a:lnTo>
                        <a:lnTo>
                          <a:pt x="30" y="47"/>
                        </a:lnTo>
                        <a:lnTo>
                          <a:pt x="27" y="47"/>
                        </a:lnTo>
                        <a:lnTo>
                          <a:pt x="25" y="47"/>
                        </a:lnTo>
                        <a:lnTo>
                          <a:pt x="27" y="50"/>
                        </a:lnTo>
                        <a:lnTo>
                          <a:pt x="30" y="50"/>
                        </a:lnTo>
                        <a:lnTo>
                          <a:pt x="32" y="50"/>
                        </a:lnTo>
                        <a:lnTo>
                          <a:pt x="34" y="48"/>
                        </a:lnTo>
                        <a:lnTo>
                          <a:pt x="39" y="47"/>
                        </a:lnTo>
                        <a:lnTo>
                          <a:pt x="44" y="47"/>
                        </a:lnTo>
                        <a:lnTo>
                          <a:pt x="49" y="47"/>
                        </a:lnTo>
                        <a:lnTo>
                          <a:pt x="50" y="48"/>
                        </a:lnTo>
                        <a:lnTo>
                          <a:pt x="52" y="48"/>
                        </a:lnTo>
                        <a:lnTo>
                          <a:pt x="54" y="50"/>
                        </a:lnTo>
                        <a:lnTo>
                          <a:pt x="52" y="52"/>
                        </a:lnTo>
                        <a:lnTo>
                          <a:pt x="49" y="58"/>
                        </a:lnTo>
                        <a:lnTo>
                          <a:pt x="42" y="67"/>
                        </a:lnTo>
                        <a:lnTo>
                          <a:pt x="40" y="71"/>
                        </a:lnTo>
                        <a:lnTo>
                          <a:pt x="34" y="65"/>
                        </a:lnTo>
                        <a:lnTo>
                          <a:pt x="30" y="63"/>
                        </a:lnTo>
                        <a:lnTo>
                          <a:pt x="23" y="67"/>
                        </a:lnTo>
                        <a:lnTo>
                          <a:pt x="22" y="70"/>
                        </a:lnTo>
                        <a:lnTo>
                          <a:pt x="20" y="71"/>
                        </a:lnTo>
                        <a:lnTo>
                          <a:pt x="17" y="70"/>
                        </a:lnTo>
                        <a:lnTo>
                          <a:pt x="13" y="70"/>
                        </a:lnTo>
                        <a:lnTo>
                          <a:pt x="5" y="70"/>
                        </a:lnTo>
                        <a:lnTo>
                          <a:pt x="0" y="65"/>
                        </a:lnTo>
                        <a:lnTo>
                          <a:pt x="0" y="58"/>
                        </a:lnTo>
                        <a:lnTo>
                          <a:pt x="0" y="57"/>
                        </a:lnTo>
                        <a:lnTo>
                          <a:pt x="5" y="50"/>
                        </a:lnTo>
                        <a:lnTo>
                          <a:pt x="10" y="41"/>
                        </a:lnTo>
                        <a:lnTo>
                          <a:pt x="12" y="33"/>
                        </a:lnTo>
                        <a:lnTo>
                          <a:pt x="15" y="20"/>
                        </a:lnTo>
                        <a:lnTo>
                          <a:pt x="20" y="16"/>
                        </a:lnTo>
                        <a:lnTo>
                          <a:pt x="23" y="11"/>
                        </a:lnTo>
                        <a:close/>
                      </a:path>
                    </a:pathLst>
                  </a:custGeom>
                  <a:solidFill>
                    <a:srgbClr val="D9969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7" name="Freeform 85"/>
                  <p:cNvSpPr>
                    <a:spLocks/>
                  </p:cNvSpPr>
                  <p:nvPr/>
                </p:nvSpPr>
                <p:spPr bwMode="auto">
                  <a:xfrm>
                    <a:off x="3013" y="2005"/>
                    <a:ext cx="62" cy="75"/>
                  </a:xfrm>
                  <a:custGeom>
                    <a:avLst/>
                    <a:gdLst>
                      <a:gd name="T0" fmla="*/ 1938 w 58"/>
                      <a:gd name="T1" fmla="*/ 436 h 71"/>
                      <a:gd name="T2" fmla="*/ 2708 w 58"/>
                      <a:gd name="T3" fmla="*/ 6 h 71"/>
                      <a:gd name="T4" fmla="*/ 3644 w 58"/>
                      <a:gd name="T5" fmla="*/ 0 h 71"/>
                      <a:gd name="T6" fmla="*/ 3644 w 58"/>
                      <a:gd name="T7" fmla="*/ 3 h 71"/>
                      <a:gd name="T8" fmla="*/ 4039 w 58"/>
                      <a:gd name="T9" fmla="*/ 6 h 71"/>
                      <a:gd name="T10" fmla="*/ 4041 w 58"/>
                      <a:gd name="T11" fmla="*/ 413 h 71"/>
                      <a:gd name="T12" fmla="*/ 4422 w 58"/>
                      <a:gd name="T13" fmla="*/ 487 h 71"/>
                      <a:gd name="T14" fmla="*/ 4616 w 58"/>
                      <a:gd name="T15" fmla="*/ 543 h 71"/>
                      <a:gd name="T16" fmla="*/ 4727 w 58"/>
                      <a:gd name="T17" fmla="*/ 938 h 71"/>
                      <a:gd name="T18" fmla="*/ 4618 w 58"/>
                      <a:gd name="T19" fmla="*/ 1114 h 71"/>
                      <a:gd name="T20" fmla="*/ 4318 w 58"/>
                      <a:gd name="T21" fmla="*/ 1234 h 71"/>
                      <a:gd name="T22" fmla="*/ 3644 w 58"/>
                      <a:gd name="T23" fmla="*/ 1234 h 71"/>
                      <a:gd name="T24" fmla="*/ 3409 w 58"/>
                      <a:gd name="T25" fmla="*/ 1387 h 71"/>
                      <a:gd name="T26" fmla="*/ 3189 w 58"/>
                      <a:gd name="T27" fmla="*/ 1387 h 71"/>
                      <a:gd name="T28" fmla="*/ 3093 w 58"/>
                      <a:gd name="T29" fmla="*/ 1465 h 71"/>
                      <a:gd name="T30" fmla="*/ 2533 w 58"/>
                      <a:gd name="T31" fmla="*/ 1624 h 71"/>
                      <a:gd name="T32" fmla="*/ 2533 w 58"/>
                      <a:gd name="T33" fmla="*/ 1744 h 71"/>
                      <a:gd name="T34" fmla="*/ 2370 w 58"/>
                      <a:gd name="T35" fmla="*/ 1744 h 71"/>
                      <a:gd name="T36" fmla="*/ 2215 w 58"/>
                      <a:gd name="T37" fmla="*/ 1744 h 71"/>
                      <a:gd name="T38" fmla="*/ 2072 w 58"/>
                      <a:gd name="T39" fmla="*/ 1744 h 71"/>
                      <a:gd name="T40" fmla="*/ 2215 w 58"/>
                      <a:gd name="T41" fmla="*/ 1842 h 71"/>
                      <a:gd name="T42" fmla="*/ 2370 w 58"/>
                      <a:gd name="T43" fmla="*/ 1842 h 71"/>
                      <a:gd name="T44" fmla="*/ 2533 w 58"/>
                      <a:gd name="T45" fmla="*/ 1842 h 71"/>
                      <a:gd name="T46" fmla="*/ 2708 w 58"/>
                      <a:gd name="T47" fmla="*/ 1812 h 71"/>
                      <a:gd name="T48" fmla="*/ 3189 w 58"/>
                      <a:gd name="T49" fmla="*/ 1744 h 71"/>
                      <a:gd name="T50" fmla="*/ 3536 w 58"/>
                      <a:gd name="T51" fmla="*/ 1744 h 71"/>
                      <a:gd name="T52" fmla="*/ 4039 w 58"/>
                      <a:gd name="T53" fmla="*/ 1744 h 71"/>
                      <a:gd name="T54" fmla="*/ 4041 w 58"/>
                      <a:gd name="T55" fmla="*/ 1812 h 71"/>
                      <a:gd name="T56" fmla="*/ 4318 w 58"/>
                      <a:gd name="T57" fmla="*/ 1812 h 71"/>
                      <a:gd name="T58" fmla="*/ 4422 w 58"/>
                      <a:gd name="T59" fmla="*/ 1842 h 71"/>
                      <a:gd name="T60" fmla="*/ 4318 w 58"/>
                      <a:gd name="T61" fmla="*/ 1927 h 71"/>
                      <a:gd name="T62" fmla="*/ 4039 w 58"/>
                      <a:gd name="T63" fmla="*/ 2151 h 71"/>
                      <a:gd name="T64" fmla="*/ 3409 w 58"/>
                      <a:gd name="T65" fmla="*/ 2517 h 71"/>
                      <a:gd name="T66" fmla="*/ 3306 w 58"/>
                      <a:gd name="T67" fmla="*/ 2659 h 71"/>
                      <a:gd name="T68" fmla="*/ 2708 w 58"/>
                      <a:gd name="T69" fmla="*/ 2423 h 71"/>
                      <a:gd name="T70" fmla="*/ 2370 w 58"/>
                      <a:gd name="T71" fmla="*/ 2383 h 71"/>
                      <a:gd name="T72" fmla="*/ 1938 w 58"/>
                      <a:gd name="T73" fmla="*/ 2517 h 71"/>
                      <a:gd name="T74" fmla="*/ 1815 w 58"/>
                      <a:gd name="T75" fmla="*/ 2569 h 71"/>
                      <a:gd name="T76" fmla="*/ 1588 w 58"/>
                      <a:gd name="T77" fmla="*/ 2659 h 71"/>
                      <a:gd name="T78" fmla="*/ 1300 w 58"/>
                      <a:gd name="T79" fmla="*/ 2569 h 71"/>
                      <a:gd name="T80" fmla="*/ 996 w 58"/>
                      <a:gd name="T81" fmla="*/ 2569 h 71"/>
                      <a:gd name="T82" fmla="*/ 5 w 58"/>
                      <a:gd name="T83" fmla="*/ 2569 h 71"/>
                      <a:gd name="T84" fmla="*/ 0 w 58"/>
                      <a:gd name="T85" fmla="*/ 2423 h 71"/>
                      <a:gd name="T86" fmla="*/ 0 w 58"/>
                      <a:gd name="T87" fmla="*/ 2151 h 71"/>
                      <a:gd name="T88" fmla="*/ 0 w 58"/>
                      <a:gd name="T89" fmla="*/ 2136 h 71"/>
                      <a:gd name="T90" fmla="*/ 5 w 58"/>
                      <a:gd name="T91" fmla="*/ 1842 h 71"/>
                      <a:gd name="T92" fmla="*/ 816 w 58"/>
                      <a:gd name="T93" fmla="*/ 1537 h 71"/>
                      <a:gd name="T94" fmla="*/ 932 w 58"/>
                      <a:gd name="T95" fmla="*/ 1234 h 71"/>
                      <a:gd name="T96" fmla="*/ 1138 w 58"/>
                      <a:gd name="T97" fmla="*/ 714 h 71"/>
                      <a:gd name="T98" fmla="*/ 1588 w 58"/>
                      <a:gd name="T99" fmla="*/ 574 h 71"/>
                      <a:gd name="T100" fmla="*/ 1938 w 58"/>
                      <a:gd name="T101" fmla="*/ 436 h 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58"/>
                      <a:gd name="T154" fmla="*/ 0 h 71"/>
                      <a:gd name="T155" fmla="*/ 58 w 58"/>
                      <a:gd name="T156" fmla="*/ 71 h 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58" h="71">
                        <a:moveTo>
                          <a:pt x="23" y="11"/>
                        </a:moveTo>
                        <a:lnTo>
                          <a:pt x="34" y="6"/>
                        </a:lnTo>
                        <a:lnTo>
                          <a:pt x="45" y="0"/>
                        </a:lnTo>
                        <a:lnTo>
                          <a:pt x="45" y="3"/>
                        </a:lnTo>
                        <a:lnTo>
                          <a:pt x="49" y="6"/>
                        </a:lnTo>
                        <a:lnTo>
                          <a:pt x="50" y="10"/>
                        </a:lnTo>
                        <a:lnTo>
                          <a:pt x="54" y="13"/>
                        </a:lnTo>
                        <a:lnTo>
                          <a:pt x="56" y="15"/>
                        </a:lnTo>
                        <a:lnTo>
                          <a:pt x="58" y="25"/>
                        </a:lnTo>
                        <a:lnTo>
                          <a:pt x="57" y="30"/>
                        </a:lnTo>
                        <a:lnTo>
                          <a:pt x="52" y="33"/>
                        </a:lnTo>
                        <a:lnTo>
                          <a:pt x="45" y="33"/>
                        </a:lnTo>
                        <a:lnTo>
                          <a:pt x="42" y="38"/>
                        </a:lnTo>
                        <a:lnTo>
                          <a:pt x="39" y="38"/>
                        </a:lnTo>
                        <a:lnTo>
                          <a:pt x="37" y="40"/>
                        </a:lnTo>
                        <a:lnTo>
                          <a:pt x="32" y="43"/>
                        </a:lnTo>
                        <a:lnTo>
                          <a:pt x="32" y="47"/>
                        </a:lnTo>
                        <a:lnTo>
                          <a:pt x="30" y="47"/>
                        </a:lnTo>
                        <a:lnTo>
                          <a:pt x="27" y="47"/>
                        </a:lnTo>
                        <a:lnTo>
                          <a:pt x="25" y="47"/>
                        </a:lnTo>
                        <a:lnTo>
                          <a:pt x="27" y="50"/>
                        </a:lnTo>
                        <a:lnTo>
                          <a:pt x="30" y="50"/>
                        </a:lnTo>
                        <a:lnTo>
                          <a:pt x="32" y="50"/>
                        </a:lnTo>
                        <a:lnTo>
                          <a:pt x="34" y="48"/>
                        </a:lnTo>
                        <a:lnTo>
                          <a:pt x="39" y="47"/>
                        </a:lnTo>
                        <a:lnTo>
                          <a:pt x="44" y="47"/>
                        </a:lnTo>
                        <a:lnTo>
                          <a:pt x="49" y="47"/>
                        </a:lnTo>
                        <a:lnTo>
                          <a:pt x="50" y="48"/>
                        </a:lnTo>
                        <a:lnTo>
                          <a:pt x="52" y="48"/>
                        </a:lnTo>
                        <a:lnTo>
                          <a:pt x="54" y="50"/>
                        </a:lnTo>
                        <a:lnTo>
                          <a:pt x="52" y="52"/>
                        </a:lnTo>
                        <a:lnTo>
                          <a:pt x="49" y="58"/>
                        </a:lnTo>
                        <a:lnTo>
                          <a:pt x="42" y="67"/>
                        </a:lnTo>
                        <a:lnTo>
                          <a:pt x="40" y="71"/>
                        </a:lnTo>
                        <a:lnTo>
                          <a:pt x="34" y="65"/>
                        </a:lnTo>
                        <a:lnTo>
                          <a:pt x="30" y="63"/>
                        </a:lnTo>
                        <a:lnTo>
                          <a:pt x="23" y="67"/>
                        </a:lnTo>
                        <a:lnTo>
                          <a:pt x="22" y="70"/>
                        </a:lnTo>
                        <a:lnTo>
                          <a:pt x="20" y="71"/>
                        </a:lnTo>
                        <a:lnTo>
                          <a:pt x="17" y="70"/>
                        </a:lnTo>
                        <a:lnTo>
                          <a:pt x="13" y="70"/>
                        </a:lnTo>
                        <a:lnTo>
                          <a:pt x="5" y="70"/>
                        </a:lnTo>
                        <a:lnTo>
                          <a:pt x="0" y="65"/>
                        </a:lnTo>
                        <a:lnTo>
                          <a:pt x="0" y="58"/>
                        </a:lnTo>
                        <a:lnTo>
                          <a:pt x="0" y="57"/>
                        </a:lnTo>
                        <a:lnTo>
                          <a:pt x="5" y="50"/>
                        </a:lnTo>
                        <a:lnTo>
                          <a:pt x="10" y="41"/>
                        </a:lnTo>
                        <a:lnTo>
                          <a:pt x="12" y="33"/>
                        </a:lnTo>
                        <a:lnTo>
                          <a:pt x="15" y="20"/>
                        </a:lnTo>
                        <a:lnTo>
                          <a:pt x="20" y="16"/>
                        </a:lnTo>
                        <a:lnTo>
                          <a:pt x="23" y="11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8" name="Freeform 86"/>
                  <p:cNvSpPr>
                    <a:spLocks/>
                  </p:cNvSpPr>
                  <p:nvPr/>
                </p:nvSpPr>
                <p:spPr bwMode="auto">
                  <a:xfrm>
                    <a:off x="2648" y="1922"/>
                    <a:ext cx="621" cy="457"/>
                  </a:xfrm>
                  <a:custGeom>
                    <a:avLst/>
                    <a:gdLst>
                      <a:gd name="T0" fmla="*/ 9735 w 580"/>
                      <a:gd name="T1" fmla="*/ 10201 h 435"/>
                      <a:gd name="T2" fmla="*/ 9788 w 580"/>
                      <a:gd name="T3" fmla="*/ 9456 h 435"/>
                      <a:gd name="T4" fmla="*/ 7407 w 580"/>
                      <a:gd name="T5" fmla="*/ 9231 h 435"/>
                      <a:gd name="T6" fmla="*/ 6231 w 580"/>
                      <a:gd name="T7" fmla="*/ 8295 h 435"/>
                      <a:gd name="T8" fmla="*/ 4005 w 580"/>
                      <a:gd name="T9" fmla="*/ 7763 h 435"/>
                      <a:gd name="T10" fmla="*/ 2860 w 580"/>
                      <a:gd name="T11" fmla="*/ 7217 h 435"/>
                      <a:gd name="T12" fmla="*/ 1100 w 580"/>
                      <a:gd name="T13" fmla="*/ 7129 h 435"/>
                      <a:gd name="T14" fmla="*/ 0 w 580"/>
                      <a:gd name="T15" fmla="*/ 6874 h 435"/>
                      <a:gd name="T16" fmla="*/ 6 w 580"/>
                      <a:gd name="T17" fmla="*/ 6372 h 435"/>
                      <a:gd name="T18" fmla="*/ 3418 w 580"/>
                      <a:gd name="T19" fmla="*/ 6282 h 435"/>
                      <a:gd name="T20" fmla="*/ 3919 w 580"/>
                      <a:gd name="T21" fmla="*/ 5110 h 435"/>
                      <a:gd name="T22" fmla="*/ 4196 w 580"/>
                      <a:gd name="T23" fmla="*/ 4510 h 435"/>
                      <a:gd name="T24" fmla="*/ 4613 w 580"/>
                      <a:gd name="T25" fmla="*/ 4221 h 435"/>
                      <a:gd name="T26" fmla="*/ 6322 w 580"/>
                      <a:gd name="T27" fmla="*/ 3906 h 435"/>
                      <a:gd name="T28" fmla="*/ 7143 w 580"/>
                      <a:gd name="T29" fmla="*/ 3081 h 435"/>
                      <a:gd name="T30" fmla="*/ 10470 w 580"/>
                      <a:gd name="T31" fmla="*/ 2015 h 435"/>
                      <a:gd name="T32" fmla="*/ 12014 w 580"/>
                      <a:gd name="T33" fmla="*/ 514 h 435"/>
                      <a:gd name="T34" fmla="*/ 13421 w 580"/>
                      <a:gd name="T35" fmla="*/ 567 h 435"/>
                      <a:gd name="T36" fmla="*/ 14016 w 580"/>
                      <a:gd name="T37" fmla="*/ 489 h 435"/>
                      <a:gd name="T38" fmla="*/ 14746 w 580"/>
                      <a:gd name="T39" fmla="*/ 514 h 435"/>
                      <a:gd name="T40" fmla="*/ 16813 w 580"/>
                      <a:gd name="T41" fmla="*/ 0 h 435"/>
                      <a:gd name="T42" fmla="*/ 17767 w 580"/>
                      <a:gd name="T43" fmla="*/ 6 h 435"/>
                      <a:gd name="T44" fmla="*/ 18589 w 580"/>
                      <a:gd name="T45" fmla="*/ 422 h 435"/>
                      <a:gd name="T46" fmla="*/ 20221 w 580"/>
                      <a:gd name="T47" fmla="*/ 365 h 435"/>
                      <a:gd name="T48" fmla="*/ 20748 w 580"/>
                      <a:gd name="T49" fmla="*/ 8 h 435"/>
                      <a:gd name="T50" fmla="*/ 21615 w 580"/>
                      <a:gd name="T51" fmla="*/ 402 h 435"/>
                      <a:gd name="T52" fmla="*/ 22215 w 580"/>
                      <a:gd name="T53" fmla="*/ 314 h 435"/>
                      <a:gd name="T54" fmla="*/ 23592 w 580"/>
                      <a:gd name="T55" fmla="*/ 383 h 435"/>
                      <a:gd name="T56" fmla="*/ 23949 w 580"/>
                      <a:gd name="T57" fmla="*/ 383 h 435"/>
                      <a:gd name="T58" fmla="*/ 26217 w 580"/>
                      <a:gd name="T59" fmla="*/ 691 h 435"/>
                      <a:gd name="T60" fmla="*/ 28005 w 580"/>
                      <a:gd name="T61" fmla="*/ 1031 h 435"/>
                      <a:gd name="T62" fmla="*/ 30083 w 580"/>
                      <a:gd name="T63" fmla="*/ 1608 h 435"/>
                      <a:gd name="T64" fmla="*/ 31092 w 580"/>
                      <a:gd name="T65" fmla="*/ 2021 h 435"/>
                      <a:gd name="T66" fmla="*/ 32210 w 580"/>
                      <a:gd name="T67" fmla="*/ 2343 h 435"/>
                      <a:gd name="T68" fmla="*/ 32074 w 580"/>
                      <a:gd name="T69" fmla="*/ 2933 h 435"/>
                      <a:gd name="T70" fmla="*/ 30686 w 580"/>
                      <a:gd name="T71" fmla="*/ 3539 h 435"/>
                      <a:gd name="T72" fmla="*/ 31227 w 580"/>
                      <a:gd name="T73" fmla="*/ 3889 h 435"/>
                      <a:gd name="T74" fmla="*/ 32615 w 580"/>
                      <a:gd name="T75" fmla="*/ 3906 h 435"/>
                      <a:gd name="T76" fmla="*/ 33518 w 580"/>
                      <a:gd name="T77" fmla="*/ 3718 h 435"/>
                      <a:gd name="T78" fmla="*/ 34374 w 580"/>
                      <a:gd name="T79" fmla="*/ 4047 h 435"/>
                      <a:gd name="T80" fmla="*/ 34932 w 580"/>
                      <a:gd name="T81" fmla="*/ 4658 h 435"/>
                      <a:gd name="T82" fmla="*/ 35797 w 580"/>
                      <a:gd name="T83" fmla="*/ 4956 h 435"/>
                      <a:gd name="T84" fmla="*/ 36925 w 580"/>
                      <a:gd name="T85" fmla="*/ 5302 h 435"/>
                      <a:gd name="T86" fmla="*/ 43691 w 580"/>
                      <a:gd name="T87" fmla="*/ 6224 h 435"/>
                      <a:gd name="T88" fmla="*/ 52610 w 580"/>
                      <a:gd name="T89" fmla="*/ 6833 h 435"/>
                      <a:gd name="T90" fmla="*/ 42151 w 580"/>
                      <a:gd name="T91" fmla="*/ 9772 h 435"/>
                      <a:gd name="T92" fmla="*/ 35887 w 580"/>
                      <a:gd name="T93" fmla="*/ 10070 h 435"/>
                      <a:gd name="T94" fmla="*/ 32210 w 580"/>
                      <a:gd name="T95" fmla="*/ 10678 h 435"/>
                      <a:gd name="T96" fmla="*/ 30686 w 580"/>
                      <a:gd name="T97" fmla="*/ 10914 h 435"/>
                      <a:gd name="T98" fmla="*/ 27168 w 580"/>
                      <a:gd name="T99" fmla="*/ 10579 h 435"/>
                      <a:gd name="T100" fmla="*/ 23699 w 580"/>
                      <a:gd name="T101" fmla="*/ 11111 h 435"/>
                      <a:gd name="T102" fmla="*/ 19275 w 580"/>
                      <a:gd name="T103" fmla="*/ 11192 h 435"/>
                      <a:gd name="T104" fmla="*/ 16216 w 580"/>
                      <a:gd name="T105" fmla="*/ 10785 h 435"/>
                      <a:gd name="T106" fmla="*/ 11702 w 580"/>
                      <a:gd name="T107" fmla="*/ 10256 h 435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580"/>
                      <a:gd name="T163" fmla="*/ 0 h 435"/>
                      <a:gd name="T164" fmla="*/ 580 w 580"/>
                      <a:gd name="T165" fmla="*/ 435 h 435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580" h="435">
                        <a:moveTo>
                          <a:pt x="128" y="395"/>
                        </a:moveTo>
                        <a:lnTo>
                          <a:pt x="118" y="396"/>
                        </a:lnTo>
                        <a:lnTo>
                          <a:pt x="107" y="394"/>
                        </a:lnTo>
                        <a:lnTo>
                          <a:pt x="109" y="378"/>
                        </a:lnTo>
                        <a:lnTo>
                          <a:pt x="110" y="371"/>
                        </a:lnTo>
                        <a:lnTo>
                          <a:pt x="109" y="365"/>
                        </a:lnTo>
                        <a:lnTo>
                          <a:pt x="104" y="362"/>
                        </a:lnTo>
                        <a:lnTo>
                          <a:pt x="89" y="359"/>
                        </a:lnTo>
                        <a:lnTo>
                          <a:pt x="81" y="355"/>
                        </a:lnTo>
                        <a:lnTo>
                          <a:pt x="78" y="349"/>
                        </a:lnTo>
                        <a:lnTo>
                          <a:pt x="71" y="330"/>
                        </a:lnTo>
                        <a:lnTo>
                          <a:pt x="68" y="319"/>
                        </a:lnTo>
                        <a:lnTo>
                          <a:pt x="64" y="314"/>
                        </a:lnTo>
                        <a:lnTo>
                          <a:pt x="48" y="304"/>
                        </a:lnTo>
                        <a:lnTo>
                          <a:pt x="44" y="299"/>
                        </a:lnTo>
                        <a:lnTo>
                          <a:pt x="39" y="292"/>
                        </a:lnTo>
                        <a:lnTo>
                          <a:pt x="37" y="286"/>
                        </a:lnTo>
                        <a:lnTo>
                          <a:pt x="32" y="278"/>
                        </a:lnTo>
                        <a:lnTo>
                          <a:pt x="26" y="275"/>
                        </a:lnTo>
                        <a:lnTo>
                          <a:pt x="18" y="273"/>
                        </a:lnTo>
                        <a:lnTo>
                          <a:pt x="13" y="274"/>
                        </a:lnTo>
                        <a:lnTo>
                          <a:pt x="6" y="270"/>
                        </a:lnTo>
                        <a:lnTo>
                          <a:pt x="3" y="270"/>
                        </a:lnTo>
                        <a:lnTo>
                          <a:pt x="0" y="266"/>
                        </a:lnTo>
                        <a:lnTo>
                          <a:pt x="1" y="261"/>
                        </a:lnTo>
                        <a:lnTo>
                          <a:pt x="6" y="258"/>
                        </a:lnTo>
                        <a:lnTo>
                          <a:pt x="6" y="246"/>
                        </a:lnTo>
                        <a:lnTo>
                          <a:pt x="13" y="245"/>
                        </a:lnTo>
                        <a:lnTo>
                          <a:pt x="29" y="246"/>
                        </a:lnTo>
                        <a:lnTo>
                          <a:pt x="37" y="243"/>
                        </a:lnTo>
                        <a:lnTo>
                          <a:pt x="41" y="239"/>
                        </a:lnTo>
                        <a:lnTo>
                          <a:pt x="43" y="229"/>
                        </a:lnTo>
                        <a:lnTo>
                          <a:pt x="43" y="197"/>
                        </a:lnTo>
                        <a:lnTo>
                          <a:pt x="46" y="186"/>
                        </a:lnTo>
                        <a:lnTo>
                          <a:pt x="48" y="178"/>
                        </a:lnTo>
                        <a:lnTo>
                          <a:pt x="46" y="174"/>
                        </a:lnTo>
                        <a:lnTo>
                          <a:pt x="46" y="166"/>
                        </a:lnTo>
                        <a:lnTo>
                          <a:pt x="48" y="167"/>
                        </a:lnTo>
                        <a:lnTo>
                          <a:pt x="51" y="162"/>
                        </a:lnTo>
                        <a:lnTo>
                          <a:pt x="55" y="154"/>
                        </a:lnTo>
                        <a:lnTo>
                          <a:pt x="61" y="151"/>
                        </a:lnTo>
                        <a:lnTo>
                          <a:pt x="69" y="151"/>
                        </a:lnTo>
                        <a:lnTo>
                          <a:pt x="71" y="147"/>
                        </a:lnTo>
                        <a:lnTo>
                          <a:pt x="75" y="130"/>
                        </a:lnTo>
                        <a:lnTo>
                          <a:pt x="78" y="119"/>
                        </a:lnTo>
                        <a:lnTo>
                          <a:pt x="103" y="85"/>
                        </a:lnTo>
                        <a:lnTo>
                          <a:pt x="110" y="79"/>
                        </a:lnTo>
                        <a:lnTo>
                          <a:pt x="116" y="77"/>
                        </a:lnTo>
                        <a:lnTo>
                          <a:pt x="122" y="72"/>
                        </a:lnTo>
                        <a:lnTo>
                          <a:pt x="134" y="32"/>
                        </a:lnTo>
                        <a:lnTo>
                          <a:pt x="134" y="21"/>
                        </a:lnTo>
                        <a:lnTo>
                          <a:pt x="135" y="21"/>
                        </a:lnTo>
                        <a:lnTo>
                          <a:pt x="144" y="21"/>
                        </a:lnTo>
                        <a:lnTo>
                          <a:pt x="148" y="23"/>
                        </a:lnTo>
                        <a:lnTo>
                          <a:pt x="150" y="23"/>
                        </a:lnTo>
                        <a:lnTo>
                          <a:pt x="152" y="21"/>
                        </a:lnTo>
                        <a:lnTo>
                          <a:pt x="154" y="20"/>
                        </a:lnTo>
                        <a:lnTo>
                          <a:pt x="155" y="16"/>
                        </a:lnTo>
                        <a:lnTo>
                          <a:pt x="161" y="16"/>
                        </a:lnTo>
                        <a:lnTo>
                          <a:pt x="164" y="21"/>
                        </a:lnTo>
                        <a:lnTo>
                          <a:pt x="165" y="23"/>
                        </a:lnTo>
                        <a:lnTo>
                          <a:pt x="171" y="30"/>
                        </a:lnTo>
                        <a:lnTo>
                          <a:pt x="185" y="0"/>
                        </a:lnTo>
                        <a:lnTo>
                          <a:pt x="187" y="3"/>
                        </a:lnTo>
                        <a:lnTo>
                          <a:pt x="192" y="6"/>
                        </a:lnTo>
                        <a:lnTo>
                          <a:pt x="196" y="6"/>
                        </a:lnTo>
                        <a:lnTo>
                          <a:pt x="198" y="6"/>
                        </a:lnTo>
                        <a:lnTo>
                          <a:pt x="198" y="10"/>
                        </a:lnTo>
                        <a:lnTo>
                          <a:pt x="205" y="17"/>
                        </a:lnTo>
                        <a:lnTo>
                          <a:pt x="211" y="17"/>
                        </a:lnTo>
                        <a:lnTo>
                          <a:pt x="213" y="16"/>
                        </a:lnTo>
                        <a:lnTo>
                          <a:pt x="223" y="14"/>
                        </a:lnTo>
                        <a:lnTo>
                          <a:pt x="226" y="11"/>
                        </a:lnTo>
                        <a:lnTo>
                          <a:pt x="226" y="8"/>
                        </a:lnTo>
                        <a:lnTo>
                          <a:pt x="230" y="8"/>
                        </a:lnTo>
                        <a:lnTo>
                          <a:pt x="234" y="11"/>
                        </a:lnTo>
                        <a:lnTo>
                          <a:pt x="235" y="16"/>
                        </a:lnTo>
                        <a:lnTo>
                          <a:pt x="237" y="16"/>
                        </a:lnTo>
                        <a:lnTo>
                          <a:pt x="238" y="15"/>
                        </a:lnTo>
                        <a:lnTo>
                          <a:pt x="243" y="15"/>
                        </a:lnTo>
                        <a:lnTo>
                          <a:pt x="246" y="11"/>
                        </a:lnTo>
                        <a:lnTo>
                          <a:pt x="248" y="11"/>
                        </a:lnTo>
                        <a:lnTo>
                          <a:pt x="252" y="14"/>
                        </a:lnTo>
                        <a:lnTo>
                          <a:pt x="259" y="15"/>
                        </a:lnTo>
                        <a:lnTo>
                          <a:pt x="261" y="16"/>
                        </a:lnTo>
                        <a:lnTo>
                          <a:pt x="263" y="16"/>
                        </a:lnTo>
                        <a:lnTo>
                          <a:pt x="264" y="15"/>
                        </a:lnTo>
                        <a:lnTo>
                          <a:pt x="273" y="15"/>
                        </a:lnTo>
                        <a:lnTo>
                          <a:pt x="282" y="23"/>
                        </a:lnTo>
                        <a:lnTo>
                          <a:pt x="289" y="27"/>
                        </a:lnTo>
                        <a:lnTo>
                          <a:pt x="295" y="27"/>
                        </a:lnTo>
                        <a:lnTo>
                          <a:pt x="304" y="34"/>
                        </a:lnTo>
                        <a:lnTo>
                          <a:pt x="308" y="41"/>
                        </a:lnTo>
                        <a:lnTo>
                          <a:pt x="312" y="47"/>
                        </a:lnTo>
                        <a:lnTo>
                          <a:pt x="324" y="56"/>
                        </a:lnTo>
                        <a:lnTo>
                          <a:pt x="332" y="63"/>
                        </a:lnTo>
                        <a:lnTo>
                          <a:pt x="337" y="68"/>
                        </a:lnTo>
                        <a:lnTo>
                          <a:pt x="339" y="74"/>
                        </a:lnTo>
                        <a:lnTo>
                          <a:pt x="342" y="78"/>
                        </a:lnTo>
                        <a:lnTo>
                          <a:pt x="347" y="81"/>
                        </a:lnTo>
                        <a:lnTo>
                          <a:pt x="352" y="85"/>
                        </a:lnTo>
                        <a:lnTo>
                          <a:pt x="355" y="90"/>
                        </a:lnTo>
                        <a:lnTo>
                          <a:pt x="360" y="95"/>
                        </a:lnTo>
                        <a:lnTo>
                          <a:pt x="355" y="99"/>
                        </a:lnTo>
                        <a:lnTo>
                          <a:pt x="352" y="113"/>
                        </a:lnTo>
                        <a:lnTo>
                          <a:pt x="349" y="121"/>
                        </a:lnTo>
                        <a:lnTo>
                          <a:pt x="345" y="130"/>
                        </a:lnTo>
                        <a:lnTo>
                          <a:pt x="339" y="137"/>
                        </a:lnTo>
                        <a:lnTo>
                          <a:pt x="339" y="138"/>
                        </a:lnTo>
                        <a:lnTo>
                          <a:pt x="340" y="145"/>
                        </a:lnTo>
                        <a:lnTo>
                          <a:pt x="345" y="150"/>
                        </a:lnTo>
                        <a:lnTo>
                          <a:pt x="353" y="150"/>
                        </a:lnTo>
                        <a:lnTo>
                          <a:pt x="357" y="150"/>
                        </a:lnTo>
                        <a:lnTo>
                          <a:pt x="360" y="151"/>
                        </a:lnTo>
                        <a:lnTo>
                          <a:pt x="362" y="150"/>
                        </a:lnTo>
                        <a:lnTo>
                          <a:pt x="364" y="147"/>
                        </a:lnTo>
                        <a:lnTo>
                          <a:pt x="371" y="144"/>
                        </a:lnTo>
                        <a:lnTo>
                          <a:pt x="375" y="145"/>
                        </a:lnTo>
                        <a:lnTo>
                          <a:pt x="381" y="151"/>
                        </a:lnTo>
                        <a:lnTo>
                          <a:pt x="378" y="156"/>
                        </a:lnTo>
                        <a:lnTo>
                          <a:pt x="377" y="159"/>
                        </a:lnTo>
                        <a:lnTo>
                          <a:pt x="380" y="174"/>
                        </a:lnTo>
                        <a:lnTo>
                          <a:pt x="386" y="179"/>
                        </a:lnTo>
                        <a:lnTo>
                          <a:pt x="388" y="183"/>
                        </a:lnTo>
                        <a:lnTo>
                          <a:pt x="391" y="188"/>
                        </a:lnTo>
                        <a:lnTo>
                          <a:pt x="395" y="191"/>
                        </a:lnTo>
                        <a:lnTo>
                          <a:pt x="397" y="194"/>
                        </a:lnTo>
                        <a:lnTo>
                          <a:pt x="402" y="198"/>
                        </a:lnTo>
                        <a:lnTo>
                          <a:pt x="407" y="204"/>
                        </a:lnTo>
                        <a:lnTo>
                          <a:pt x="420" y="215"/>
                        </a:lnTo>
                        <a:lnTo>
                          <a:pt x="425" y="220"/>
                        </a:lnTo>
                        <a:lnTo>
                          <a:pt x="481" y="240"/>
                        </a:lnTo>
                        <a:lnTo>
                          <a:pt x="542" y="261"/>
                        </a:lnTo>
                        <a:lnTo>
                          <a:pt x="580" y="260"/>
                        </a:lnTo>
                        <a:lnTo>
                          <a:pt x="579" y="263"/>
                        </a:lnTo>
                        <a:lnTo>
                          <a:pt x="572" y="271"/>
                        </a:lnTo>
                        <a:lnTo>
                          <a:pt x="521" y="321"/>
                        </a:lnTo>
                        <a:lnTo>
                          <a:pt x="464" y="378"/>
                        </a:lnTo>
                        <a:lnTo>
                          <a:pt x="418" y="379"/>
                        </a:lnTo>
                        <a:lnTo>
                          <a:pt x="413" y="382"/>
                        </a:lnTo>
                        <a:lnTo>
                          <a:pt x="397" y="388"/>
                        </a:lnTo>
                        <a:lnTo>
                          <a:pt x="390" y="394"/>
                        </a:lnTo>
                        <a:lnTo>
                          <a:pt x="379" y="403"/>
                        </a:lnTo>
                        <a:lnTo>
                          <a:pt x="355" y="411"/>
                        </a:lnTo>
                        <a:lnTo>
                          <a:pt x="345" y="417"/>
                        </a:lnTo>
                        <a:lnTo>
                          <a:pt x="343" y="419"/>
                        </a:lnTo>
                        <a:lnTo>
                          <a:pt x="339" y="420"/>
                        </a:lnTo>
                        <a:lnTo>
                          <a:pt x="332" y="419"/>
                        </a:lnTo>
                        <a:lnTo>
                          <a:pt x="323" y="420"/>
                        </a:lnTo>
                        <a:lnTo>
                          <a:pt x="299" y="408"/>
                        </a:lnTo>
                        <a:lnTo>
                          <a:pt x="285" y="411"/>
                        </a:lnTo>
                        <a:lnTo>
                          <a:pt x="273" y="416"/>
                        </a:lnTo>
                        <a:lnTo>
                          <a:pt x="261" y="428"/>
                        </a:lnTo>
                        <a:lnTo>
                          <a:pt x="244" y="435"/>
                        </a:lnTo>
                        <a:lnTo>
                          <a:pt x="228" y="435"/>
                        </a:lnTo>
                        <a:lnTo>
                          <a:pt x="212" y="431"/>
                        </a:lnTo>
                        <a:lnTo>
                          <a:pt x="200" y="431"/>
                        </a:lnTo>
                        <a:lnTo>
                          <a:pt x="185" y="426"/>
                        </a:lnTo>
                        <a:lnTo>
                          <a:pt x="178" y="417"/>
                        </a:lnTo>
                        <a:lnTo>
                          <a:pt x="152" y="402"/>
                        </a:lnTo>
                        <a:lnTo>
                          <a:pt x="140" y="396"/>
                        </a:lnTo>
                        <a:lnTo>
                          <a:pt x="128" y="395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89" name="Freeform 87"/>
                  <p:cNvSpPr>
                    <a:spLocks/>
                  </p:cNvSpPr>
                  <p:nvPr/>
                </p:nvSpPr>
                <p:spPr bwMode="auto">
                  <a:xfrm>
                    <a:off x="2648" y="1922"/>
                    <a:ext cx="621" cy="457"/>
                  </a:xfrm>
                  <a:custGeom>
                    <a:avLst/>
                    <a:gdLst>
                      <a:gd name="T0" fmla="*/ 9735 w 580"/>
                      <a:gd name="T1" fmla="*/ 10201 h 435"/>
                      <a:gd name="T2" fmla="*/ 9788 w 580"/>
                      <a:gd name="T3" fmla="*/ 9456 h 435"/>
                      <a:gd name="T4" fmla="*/ 7407 w 580"/>
                      <a:gd name="T5" fmla="*/ 9231 h 435"/>
                      <a:gd name="T6" fmla="*/ 6231 w 580"/>
                      <a:gd name="T7" fmla="*/ 8295 h 435"/>
                      <a:gd name="T8" fmla="*/ 4005 w 580"/>
                      <a:gd name="T9" fmla="*/ 7763 h 435"/>
                      <a:gd name="T10" fmla="*/ 2860 w 580"/>
                      <a:gd name="T11" fmla="*/ 7217 h 435"/>
                      <a:gd name="T12" fmla="*/ 1100 w 580"/>
                      <a:gd name="T13" fmla="*/ 7129 h 435"/>
                      <a:gd name="T14" fmla="*/ 0 w 580"/>
                      <a:gd name="T15" fmla="*/ 6874 h 435"/>
                      <a:gd name="T16" fmla="*/ 6 w 580"/>
                      <a:gd name="T17" fmla="*/ 6372 h 435"/>
                      <a:gd name="T18" fmla="*/ 3418 w 580"/>
                      <a:gd name="T19" fmla="*/ 6282 h 435"/>
                      <a:gd name="T20" fmla="*/ 3919 w 580"/>
                      <a:gd name="T21" fmla="*/ 5110 h 435"/>
                      <a:gd name="T22" fmla="*/ 4196 w 580"/>
                      <a:gd name="T23" fmla="*/ 4510 h 435"/>
                      <a:gd name="T24" fmla="*/ 4613 w 580"/>
                      <a:gd name="T25" fmla="*/ 4221 h 435"/>
                      <a:gd name="T26" fmla="*/ 6322 w 580"/>
                      <a:gd name="T27" fmla="*/ 3906 h 435"/>
                      <a:gd name="T28" fmla="*/ 7143 w 580"/>
                      <a:gd name="T29" fmla="*/ 3081 h 435"/>
                      <a:gd name="T30" fmla="*/ 10470 w 580"/>
                      <a:gd name="T31" fmla="*/ 2015 h 435"/>
                      <a:gd name="T32" fmla="*/ 12014 w 580"/>
                      <a:gd name="T33" fmla="*/ 514 h 435"/>
                      <a:gd name="T34" fmla="*/ 13421 w 580"/>
                      <a:gd name="T35" fmla="*/ 567 h 435"/>
                      <a:gd name="T36" fmla="*/ 14016 w 580"/>
                      <a:gd name="T37" fmla="*/ 489 h 435"/>
                      <a:gd name="T38" fmla="*/ 14746 w 580"/>
                      <a:gd name="T39" fmla="*/ 514 h 435"/>
                      <a:gd name="T40" fmla="*/ 16813 w 580"/>
                      <a:gd name="T41" fmla="*/ 0 h 435"/>
                      <a:gd name="T42" fmla="*/ 17767 w 580"/>
                      <a:gd name="T43" fmla="*/ 6 h 435"/>
                      <a:gd name="T44" fmla="*/ 18589 w 580"/>
                      <a:gd name="T45" fmla="*/ 422 h 435"/>
                      <a:gd name="T46" fmla="*/ 20221 w 580"/>
                      <a:gd name="T47" fmla="*/ 365 h 435"/>
                      <a:gd name="T48" fmla="*/ 20748 w 580"/>
                      <a:gd name="T49" fmla="*/ 8 h 435"/>
                      <a:gd name="T50" fmla="*/ 21615 w 580"/>
                      <a:gd name="T51" fmla="*/ 402 h 435"/>
                      <a:gd name="T52" fmla="*/ 22215 w 580"/>
                      <a:gd name="T53" fmla="*/ 314 h 435"/>
                      <a:gd name="T54" fmla="*/ 23592 w 580"/>
                      <a:gd name="T55" fmla="*/ 383 h 435"/>
                      <a:gd name="T56" fmla="*/ 23949 w 580"/>
                      <a:gd name="T57" fmla="*/ 383 h 435"/>
                      <a:gd name="T58" fmla="*/ 26217 w 580"/>
                      <a:gd name="T59" fmla="*/ 691 h 435"/>
                      <a:gd name="T60" fmla="*/ 28005 w 580"/>
                      <a:gd name="T61" fmla="*/ 1031 h 435"/>
                      <a:gd name="T62" fmla="*/ 30083 w 580"/>
                      <a:gd name="T63" fmla="*/ 1608 h 435"/>
                      <a:gd name="T64" fmla="*/ 31092 w 580"/>
                      <a:gd name="T65" fmla="*/ 2021 h 435"/>
                      <a:gd name="T66" fmla="*/ 32210 w 580"/>
                      <a:gd name="T67" fmla="*/ 2343 h 435"/>
                      <a:gd name="T68" fmla="*/ 32074 w 580"/>
                      <a:gd name="T69" fmla="*/ 2933 h 435"/>
                      <a:gd name="T70" fmla="*/ 30686 w 580"/>
                      <a:gd name="T71" fmla="*/ 3539 h 435"/>
                      <a:gd name="T72" fmla="*/ 31227 w 580"/>
                      <a:gd name="T73" fmla="*/ 3889 h 435"/>
                      <a:gd name="T74" fmla="*/ 32615 w 580"/>
                      <a:gd name="T75" fmla="*/ 3906 h 435"/>
                      <a:gd name="T76" fmla="*/ 33518 w 580"/>
                      <a:gd name="T77" fmla="*/ 3718 h 435"/>
                      <a:gd name="T78" fmla="*/ 34374 w 580"/>
                      <a:gd name="T79" fmla="*/ 4047 h 435"/>
                      <a:gd name="T80" fmla="*/ 34932 w 580"/>
                      <a:gd name="T81" fmla="*/ 4658 h 435"/>
                      <a:gd name="T82" fmla="*/ 35797 w 580"/>
                      <a:gd name="T83" fmla="*/ 4956 h 435"/>
                      <a:gd name="T84" fmla="*/ 36925 w 580"/>
                      <a:gd name="T85" fmla="*/ 5302 h 435"/>
                      <a:gd name="T86" fmla="*/ 43691 w 580"/>
                      <a:gd name="T87" fmla="*/ 6224 h 435"/>
                      <a:gd name="T88" fmla="*/ 52610 w 580"/>
                      <a:gd name="T89" fmla="*/ 6833 h 435"/>
                      <a:gd name="T90" fmla="*/ 42151 w 580"/>
                      <a:gd name="T91" fmla="*/ 9772 h 435"/>
                      <a:gd name="T92" fmla="*/ 35887 w 580"/>
                      <a:gd name="T93" fmla="*/ 10070 h 435"/>
                      <a:gd name="T94" fmla="*/ 32210 w 580"/>
                      <a:gd name="T95" fmla="*/ 10678 h 435"/>
                      <a:gd name="T96" fmla="*/ 30686 w 580"/>
                      <a:gd name="T97" fmla="*/ 10914 h 435"/>
                      <a:gd name="T98" fmla="*/ 27168 w 580"/>
                      <a:gd name="T99" fmla="*/ 10579 h 435"/>
                      <a:gd name="T100" fmla="*/ 23699 w 580"/>
                      <a:gd name="T101" fmla="*/ 11111 h 435"/>
                      <a:gd name="T102" fmla="*/ 19275 w 580"/>
                      <a:gd name="T103" fmla="*/ 11192 h 435"/>
                      <a:gd name="T104" fmla="*/ 16216 w 580"/>
                      <a:gd name="T105" fmla="*/ 10785 h 435"/>
                      <a:gd name="T106" fmla="*/ 11702 w 580"/>
                      <a:gd name="T107" fmla="*/ 10256 h 435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580"/>
                      <a:gd name="T163" fmla="*/ 0 h 435"/>
                      <a:gd name="T164" fmla="*/ 580 w 580"/>
                      <a:gd name="T165" fmla="*/ 435 h 435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580" h="435">
                        <a:moveTo>
                          <a:pt x="128" y="395"/>
                        </a:moveTo>
                        <a:lnTo>
                          <a:pt x="118" y="396"/>
                        </a:lnTo>
                        <a:lnTo>
                          <a:pt x="107" y="394"/>
                        </a:lnTo>
                        <a:lnTo>
                          <a:pt x="109" y="378"/>
                        </a:lnTo>
                        <a:lnTo>
                          <a:pt x="110" y="371"/>
                        </a:lnTo>
                        <a:lnTo>
                          <a:pt x="109" y="365"/>
                        </a:lnTo>
                        <a:lnTo>
                          <a:pt x="104" y="362"/>
                        </a:lnTo>
                        <a:lnTo>
                          <a:pt x="89" y="359"/>
                        </a:lnTo>
                        <a:lnTo>
                          <a:pt x="81" y="355"/>
                        </a:lnTo>
                        <a:lnTo>
                          <a:pt x="78" y="349"/>
                        </a:lnTo>
                        <a:lnTo>
                          <a:pt x="71" y="330"/>
                        </a:lnTo>
                        <a:lnTo>
                          <a:pt x="68" y="319"/>
                        </a:lnTo>
                        <a:lnTo>
                          <a:pt x="64" y="314"/>
                        </a:lnTo>
                        <a:lnTo>
                          <a:pt x="48" y="304"/>
                        </a:lnTo>
                        <a:lnTo>
                          <a:pt x="44" y="299"/>
                        </a:lnTo>
                        <a:lnTo>
                          <a:pt x="39" y="292"/>
                        </a:lnTo>
                        <a:lnTo>
                          <a:pt x="37" y="286"/>
                        </a:lnTo>
                        <a:lnTo>
                          <a:pt x="32" y="278"/>
                        </a:lnTo>
                        <a:lnTo>
                          <a:pt x="26" y="275"/>
                        </a:lnTo>
                        <a:lnTo>
                          <a:pt x="18" y="273"/>
                        </a:lnTo>
                        <a:lnTo>
                          <a:pt x="13" y="274"/>
                        </a:lnTo>
                        <a:lnTo>
                          <a:pt x="6" y="270"/>
                        </a:lnTo>
                        <a:lnTo>
                          <a:pt x="3" y="270"/>
                        </a:lnTo>
                        <a:lnTo>
                          <a:pt x="0" y="266"/>
                        </a:lnTo>
                        <a:lnTo>
                          <a:pt x="1" y="261"/>
                        </a:lnTo>
                        <a:lnTo>
                          <a:pt x="6" y="258"/>
                        </a:lnTo>
                        <a:lnTo>
                          <a:pt x="6" y="246"/>
                        </a:lnTo>
                        <a:lnTo>
                          <a:pt x="13" y="245"/>
                        </a:lnTo>
                        <a:lnTo>
                          <a:pt x="29" y="246"/>
                        </a:lnTo>
                        <a:lnTo>
                          <a:pt x="37" y="243"/>
                        </a:lnTo>
                        <a:lnTo>
                          <a:pt x="41" y="239"/>
                        </a:lnTo>
                        <a:lnTo>
                          <a:pt x="43" y="229"/>
                        </a:lnTo>
                        <a:lnTo>
                          <a:pt x="43" y="197"/>
                        </a:lnTo>
                        <a:lnTo>
                          <a:pt x="46" y="186"/>
                        </a:lnTo>
                        <a:lnTo>
                          <a:pt x="48" y="178"/>
                        </a:lnTo>
                        <a:lnTo>
                          <a:pt x="46" y="174"/>
                        </a:lnTo>
                        <a:lnTo>
                          <a:pt x="46" y="166"/>
                        </a:lnTo>
                        <a:lnTo>
                          <a:pt x="48" y="167"/>
                        </a:lnTo>
                        <a:lnTo>
                          <a:pt x="51" y="162"/>
                        </a:lnTo>
                        <a:lnTo>
                          <a:pt x="55" y="154"/>
                        </a:lnTo>
                        <a:lnTo>
                          <a:pt x="61" y="151"/>
                        </a:lnTo>
                        <a:lnTo>
                          <a:pt x="69" y="151"/>
                        </a:lnTo>
                        <a:lnTo>
                          <a:pt x="71" y="147"/>
                        </a:lnTo>
                        <a:lnTo>
                          <a:pt x="75" y="130"/>
                        </a:lnTo>
                        <a:lnTo>
                          <a:pt x="78" y="119"/>
                        </a:lnTo>
                        <a:lnTo>
                          <a:pt x="103" y="85"/>
                        </a:lnTo>
                        <a:lnTo>
                          <a:pt x="110" y="79"/>
                        </a:lnTo>
                        <a:lnTo>
                          <a:pt x="116" y="77"/>
                        </a:lnTo>
                        <a:lnTo>
                          <a:pt x="122" y="72"/>
                        </a:lnTo>
                        <a:lnTo>
                          <a:pt x="134" y="32"/>
                        </a:lnTo>
                        <a:lnTo>
                          <a:pt x="134" y="21"/>
                        </a:lnTo>
                        <a:lnTo>
                          <a:pt x="135" y="21"/>
                        </a:lnTo>
                        <a:lnTo>
                          <a:pt x="144" y="21"/>
                        </a:lnTo>
                        <a:lnTo>
                          <a:pt x="148" y="23"/>
                        </a:lnTo>
                        <a:lnTo>
                          <a:pt x="150" y="23"/>
                        </a:lnTo>
                        <a:lnTo>
                          <a:pt x="152" y="21"/>
                        </a:lnTo>
                        <a:lnTo>
                          <a:pt x="154" y="20"/>
                        </a:lnTo>
                        <a:lnTo>
                          <a:pt x="155" y="16"/>
                        </a:lnTo>
                        <a:lnTo>
                          <a:pt x="161" y="16"/>
                        </a:lnTo>
                        <a:lnTo>
                          <a:pt x="164" y="21"/>
                        </a:lnTo>
                        <a:lnTo>
                          <a:pt x="165" y="23"/>
                        </a:lnTo>
                        <a:lnTo>
                          <a:pt x="171" y="30"/>
                        </a:lnTo>
                        <a:lnTo>
                          <a:pt x="185" y="0"/>
                        </a:lnTo>
                        <a:lnTo>
                          <a:pt x="187" y="3"/>
                        </a:lnTo>
                        <a:lnTo>
                          <a:pt x="192" y="6"/>
                        </a:lnTo>
                        <a:lnTo>
                          <a:pt x="196" y="6"/>
                        </a:lnTo>
                        <a:lnTo>
                          <a:pt x="198" y="6"/>
                        </a:lnTo>
                        <a:lnTo>
                          <a:pt x="198" y="10"/>
                        </a:lnTo>
                        <a:lnTo>
                          <a:pt x="205" y="17"/>
                        </a:lnTo>
                        <a:lnTo>
                          <a:pt x="211" y="17"/>
                        </a:lnTo>
                        <a:lnTo>
                          <a:pt x="213" y="16"/>
                        </a:lnTo>
                        <a:lnTo>
                          <a:pt x="223" y="14"/>
                        </a:lnTo>
                        <a:lnTo>
                          <a:pt x="226" y="11"/>
                        </a:lnTo>
                        <a:lnTo>
                          <a:pt x="226" y="8"/>
                        </a:lnTo>
                        <a:lnTo>
                          <a:pt x="230" y="8"/>
                        </a:lnTo>
                        <a:lnTo>
                          <a:pt x="234" y="11"/>
                        </a:lnTo>
                        <a:lnTo>
                          <a:pt x="235" y="16"/>
                        </a:lnTo>
                        <a:lnTo>
                          <a:pt x="237" y="16"/>
                        </a:lnTo>
                        <a:lnTo>
                          <a:pt x="238" y="15"/>
                        </a:lnTo>
                        <a:lnTo>
                          <a:pt x="243" y="15"/>
                        </a:lnTo>
                        <a:lnTo>
                          <a:pt x="246" y="11"/>
                        </a:lnTo>
                        <a:lnTo>
                          <a:pt x="248" y="11"/>
                        </a:lnTo>
                        <a:lnTo>
                          <a:pt x="252" y="14"/>
                        </a:lnTo>
                        <a:lnTo>
                          <a:pt x="259" y="15"/>
                        </a:lnTo>
                        <a:lnTo>
                          <a:pt x="261" y="16"/>
                        </a:lnTo>
                        <a:lnTo>
                          <a:pt x="263" y="16"/>
                        </a:lnTo>
                        <a:lnTo>
                          <a:pt x="264" y="15"/>
                        </a:lnTo>
                        <a:lnTo>
                          <a:pt x="273" y="15"/>
                        </a:lnTo>
                        <a:lnTo>
                          <a:pt x="282" y="23"/>
                        </a:lnTo>
                        <a:lnTo>
                          <a:pt x="289" y="27"/>
                        </a:lnTo>
                        <a:lnTo>
                          <a:pt x="295" y="27"/>
                        </a:lnTo>
                        <a:lnTo>
                          <a:pt x="304" y="34"/>
                        </a:lnTo>
                        <a:lnTo>
                          <a:pt x="308" y="41"/>
                        </a:lnTo>
                        <a:lnTo>
                          <a:pt x="312" y="47"/>
                        </a:lnTo>
                        <a:lnTo>
                          <a:pt x="324" y="56"/>
                        </a:lnTo>
                        <a:lnTo>
                          <a:pt x="332" y="63"/>
                        </a:lnTo>
                        <a:lnTo>
                          <a:pt x="337" y="68"/>
                        </a:lnTo>
                        <a:lnTo>
                          <a:pt x="339" y="74"/>
                        </a:lnTo>
                        <a:lnTo>
                          <a:pt x="342" y="78"/>
                        </a:lnTo>
                        <a:lnTo>
                          <a:pt x="347" y="81"/>
                        </a:lnTo>
                        <a:lnTo>
                          <a:pt x="352" y="85"/>
                        </a:lnTo>
                        <a:lnTo>
                          <a:pt x="355" y="90"/>
                        </a:lnTo>
                        <a:lnTo>
                          <a:pt x="360" y="95"/>
                        </a:lnTo>
                        <a:lnTo>
                          <a:pt x="355" y="99"/>
                        </a:lnTo>
                        <a:lnTo>
                          <a:pt x="352" y="113"/>
                        </a:lnTo>
                        <a:lnTo>
                          <a:pt x="349" y="121"/>
                        </a:lnTo>
                        <a:lnTo>
                          <a:pt x="345" y="130"/>
                        </a:lnTo>
                        <a:lnTo>
                          <a:pt x="339" y="137"/>
                        </a:lnTo>
                        <a:lnTo>
                          <a:pt x="339" y="138"/>
                        </a:lnTo>
                        <a:lnTo>
                          <a:pt x="340" y="145"/>
                        </a:lnTo>
                        <a:lnTo>
                          <a:pt x="345" y="150"/>
                        </a:lnTo>
                        <a:lnTo>
                          <a:pt x="353" y="150"/>
                        </a:lnTo>
                        <a:lnTo>
                          <a:pt x="357" y="150"/>
                        </a:lnTo>
                        <a:lnTo>
                          <a:pt x="360" y="151"/>
                        </a:lnTo>
                        <a:lnTo>
                          <a:pt x="362" y="150"/>
                        </a:lnTo>
                        <a:lnTo>
                          <a:pt x="364" y="147"/>
                        </a:lnTo>
                        <a:lnTo>
                          <a:pt x="371" y="144"/>
                        </a:lnTo>
                        <a:lnTo>
                          <a:pt x="375" y="145"/>
                        </a:lnTo>
                        <a:lnTo>
                          <a:pt x="381" y="151"/>
                        </a:lnTo>
                        <a:lnTo>
                          <a:pt x="378" y="156"/>
                        </a:lnTo>
                        <a:lnTo>
                          <a:pt x="377" y="159"/>
                        </a:lnTo>
                        <a:lnTo>
                          <a:pt x="380" y="174"/>
                        </a:lnTo>
                        <a:lnTo>
                          <a:pt x="386" y="179"/>
                        </a:lnTo>
                        <a:lnTo>
                          <a:pt x="388" y="183"/>
                        </a:lnTo>
                        <a:lnTo>
                          <a:pt x="391" y="188"/>
                        </a:lnTo>
                        <a:lnTo>
                          <a:pt x="395" y="191"/>
                        </a:lnTo>
                        <a:lnTo>
                          <a:pt x="397" y="194"/>
                        </a:lnTo>
                        <a:lnTo>
                          <a:pt x="402" y="198"/>
                        </a:lnTo>
                        <a:lnTo>
                          <a:pt x="407" y="204"/>
                        </a:lnTo>
                        <a:lnTo>
                          <a:pt x="420" y="215"/>
                        </a:lnTo>
                        <a:lnTo>
                          <a:pt x="425" y="220"/>
                        </a:lnTo>
                        <a:lnTo>
                          <a:pt x="481" y="240"/>
                        </a:lnTo>
                        <a:lnTo>
                          <a:pt x="542" y="261"/>
                        </a:lnTo>
                        <a:lnTo>
                          <a:pt x="580" y="260"/>
                        </a:lnTo>
                        <a:lnTo>
                          <a:pt x="579" y="263"/>
                        </a:lnTo>
                        <a:lnTo>
                          <a:pt x="572" y="271"/>
                        </a:lnTo>
                        <a:lnTo>
                          <a:pt x="521" y="321"/>
                        </a:lnTo>
                        <a:lnTo>
                          <a:pt x="464" y="378"/>
                        </a:lnTo>
                        <a:lnTo>
                          <a:pt x="418" y="379"/>
                        </a:lnTo>
                        <a:lnTo>
                          <a:pt x="413" y="382"/>
                        </a:lnTo>
                        <a:lnTo>
                          <a:pt x="397" y="388"/>
                        </a:lnTo>
                        <a:lnTo>
                          <a:pt x="390" y="394"/>
                        </a:lnTo>
                        <a:lnTo>
                          <a:pt x="379" y="403"/>
                        </a:lnTo>
                        <a:lnTo>
                          <a:pt x="355" y="411"/>
                        </a:lnTo>
                        <a:lnTo>
                          <a:pt x="345" y="417"/>
                        </a:lnTo>
                        <a:lnTo>
                          <a:pt x="343" y="419"/>
                        </a:lnTo>
                        <a:lnTo>
                          <a:pt x="339" y="420"/>
                        </a:lnTo>
                        <a:lnTo>
                          <a:pt x="332" y="419"/>
                        </a:lnTo>
                        <a:lnTo>
                          <a:pt x="323" y="420"/>
                        </a:lnTo>
                        <a:lnTo>
                          <a:pt x="299" y="408"/>
                        </a:lnTo>
                        <a:lnTo>
                          <a:pt x="285" y="411"/>
                        </a:lnTo>
                        <a:lnTo>
                          <a:pt x="273" y="416"/>
                        </a:lnTo>
                        <a:lnTo>
                          <a:pt x="261" y="428"/>
                        </a:lnTo>
                        <a:lnTo>
                          <a:pt x="244" y="435"/>
                        </a:lnTo>
                        <a:lnTo>
                          <a:pt x="228" y="435"/>
                        </a:lnTo>
                        <a:lnTo>
                          <a:pt x="212" y="431"/>
                        </a:lnTo>
                        <a:lnTo>
                          <a:pt x="200" y="431"/>
                        </a:lnTo>
                        <a:lnTo>
                          <a:pt x="185" y="426"/>
                        </a:lnTo>
                        <a:lnTo>
                          <a:pt x="178" y="417"/>
                        </a:lnTo>
                        <a:lnTo>
                          <a:pt x="152" y="402"/>
                        </a:lnTo>
                        <a:lnTo>
                          <a:pt x="140" y="396"/>
                        </a:lnTo>
                        <a:lnTo>
                          <a:pt x="128" y="395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0" name="Freeform 88"/>
                  <p:cNvSpPr>
                    <a:spLocks/>
                  </p:cNvSpPr>
                  <p:nvPr/>
                </p:nvSpPr>
                <p:spPr bwMode="auto">
                  <a:xfrm>
                    <a:off x="2488" y="2616"/>
                    <a:ext cx="67" cy="83"/>
                  </a:xfrm>
                  <a:custGeom>
                    <a:avLst/>
                    <a:gdLst>
                      <a:gd name="T0" fmla="*/ 2977 w 63"/>
                      <a:gd name="T1" fmla="*/ 1 h 79"/>
                      <a:gd name="T2" fmla="*/ 3166 w 63"/>
                      <a:gd name="T3" fmla="*/ 1 h 79"/>
                      <a:gd name="T4" fmla="*/ 3341 w 63"/>
                      <a:gd name="T5" fmla="*/ 3 h 79"/>
                      <a:gd name="T6" fmla="*/ 3108 w 63"/>
                      <a:gd name="T7" fmla="*/ 6 h 79"/>
                      <a:gd name="T8" fmla="*/ 2977 w 63"/>
                      <a:gd name="T9" fmla="*/ 314 h 79"/>
                      <a:gd name="T10" fmla="*/ 2977 w 63"/>
                      <a:gd name="T11" fmla="*/ 383 h 79"/>
                      <a:gd name="T12" fmla="*/ 2977 w 63"/>
                      <a:gd name="T13" fmla="*/ 422 h 79"/>
                      <a:gd name="T14" fmla="*/ 3166 w 63"/>
                      <a:gd name="T15" fmla="*/ 489 h 79"/>
                      <a:gd name="T16" fmla="*/ 3434 w 63"/>
                      <a:gd name="T17" fmla="*/ 514 h 79"/>
                      <a:gd name="T18" fmla="*/ 3581 w 63"/>
                      <a:gd name="T19" fmla="*/ 567 h 79"/>
                      <a:gd name="T20" fmla="*/ 3652 w 63"/>
                      <a:gd name="T21" fmla="*/ 691 h 79"/>
                      <a:gd name="T22" fmla="*/ 3652 w 63"/>
                      <a:gd name="T23" fmla="*/ 855 h 79"/>
                      <a:gd name="T24" fmla="*/ 3515 w 63"/>
                      <a:gd name="T25" fmla="*/ 978 h 79"/>
                      <a:gd name="T26" fmla="*/ 3108 w 63"/>
                      <a:gd name="T27" fmla="*/ 1149 h 79"/>
                      <a:gd name="T28" fmla="*/ 2922 w 63"/>
                      <a:gd name="T29" fmla="*/ 1435 h 79"/>
                      <a:gd name="T30" fmla="*/ 2748 w 63"/>
                      <a:gd name="T31" fmla="*/ 1508 h 79"/>
                      <a:gd name="T32" fmla="*/ 2188 w 63"/>
                      <a:gd name="T33" fmla="*/ 1881 h 79"/>
                      <a:gd name="T34" fmla="*/ 1608 w 63"/>
                      <a:gd name="T35" fmla="*/ 2020 h 79"/>
                      <a:gd name="T36" fmla="*/ 1182 w 63"/>
                      <a:gd name="T37" fmla="*/ 2052 h 79"/>
                      <a:gd name="T38" fmla="*/ 1111 w 63"/>
                      <a:gd name="T39" fmla="*/ 2052 h 79"/>
                      <a:gd name="T40" fmla="*/ 817 w 63"/>
                      <a:gd name="T41" fmla="*/ 1953 h 79"/>
                      <a:gd name="T42" fmla="*/ 638 w 63"/>
                      <a:gd name="T43" fmla="*/ 1790 h 79"/>
                      <a:gd name="T44" fmla="*/ 600 w 63"/>
                      <a:gd name="T45" fmla="*/ 1603 h 79"/>
                      <a:gd name="T46" fmla="*/ 600 w 63"/>
                      <a:gd name="T47" fmla="*/ 1435 h 79"/>
                      <a:gd name="T48" fmla="*/ 600 w 63"/>
                      <a:gd name="T49" fmla="*/ 1252 h 79"/>
                      <a:gd name="T50" fmla="*/ 530 w 63"/>
                      <a:gd name="T51" fmla="*/ 1080 h 79"/>
                      <a:gd name="T52" fmla="*/ 6 w 63"/>
                      <a:gd name="T53" fmla="*/ 978 h 79"/>
                      <a:gd name="T54" fmla="*/ 5 w 63"/>
                      <a:gd name="T55" fmla="*/ 567 h 79"/>
                      <a:gd name="T56" fmla="*/ 3 w 63"/>
                      <a:gd name="T57" fmla="*/ 443 h 79"/>
                      <a:gd name="T58" fmla="*/ 0 w 63"/>
                      <a:gd name="T59" fmla="*/ 365 h 79"/>
                      <a:gd name="T60" fmla="*/ 0 w 63"/>
                      <a:gd name="T61" fmla="*/ 383 h 79"/>
                      <a:gd name="T62" fmla="*/ 0 w 63"/>
                      <a:gd name="T63" fmla="*/ 8 h 79"/>
                      <a:gd name="T64" fmla="*/ 3 w 63"/>
                      <a:gd name="T65" fmla="*/ 6 h 79"/>
                      <a:gd name="T66" fmla="*/ 6 w 63"/>
                      <a:gd name="T67" fmla="*/ 6 h 79"/>
                      <a:gd name="T68" fmla="*/ 7 w 63"/>
                      <a:gd name="T69" fmla="*/ 7 h 79"/>
                      <a:gd name="T70" fmla="*/ 600 w 63"/>
                      <a:gd name="T71" fmla="*/ 314 h 79"/>
                      <a:gd name="T72" fmla="*/ 722 w 63"/>
                      <a:gd name="T73" fmla="*/ 422 h 79"/>
                      <a:gd name="T74" fmla="*/ 768 w 63"/>
                      <a:gd name="T75" fmla="*/ 422 h 79"/>
                      <a:gd name="T76" fmla="*/ 983 w 63"/>
                      <a:gd name="T77" fmla="*/ 422 h 79"/>
                      <a:gd name="T78" fmla="*/ 1182 w 63"/>
                      <a:gd name="T79" fmla="*/ 383 h 79"/>
                      <a:gd name="T80" fmla="*/ 1580 w 63"/>
                      <a:gd name="T81" fmla="*/ 365 h 79"/>
                      <a:gd name="T82" fmla="*/ 1710 w 63"/>
                      <a:gd name="T83" fmla="*/ 330 h 79"/>
                      <a:gd name="T84" fmla="*/ 1710 w 63"/>
                      <a:gd name="T85" fmla="*/ 6 h 79"/>
                      <a:gd name="T86" fmla="*/ 1787 w 63"/>
                      <a:gd name="T87" fmla="*/ 4 h 79"/>
                      <a:gd name="T88" fmla="*/ 1819 w 63"/>
                      <a:gd name="T89" fmla="*/ 1 h 79"/>
                      <a:gd name="T90" fmla="*/ 2188 w 63"/>
                      <a:gd name="T91" fmla="*/ 3 h 79"/>
                      <a:gd name="T92" fmla="*/ 2778 w 63"/>
                      <a:gd name="T93" fmla="*/ 0 h 79"/>
                      <a:gd name="T94" fmla="*/ 2977 w 63"/>
                      <a:gd name="T95" fmla="*/ 0 h 79"/>
                      <a:gd name="T96" fmla="*/ 2977 w 63"/>
                      <a:gd name="T97" fmla="*/ 1 h 79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63"/>
                      <a:gd name="T148" fmla="*/ 0 h 79"/>
                      <a:gd name="T149" fmla="*/ 63 w 63"/>
                      <a:gd name="T150" fmla="*/ 79 h 79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63" h="79">
                        <a:moveTo>
                          <a:pt x="52" y="1"/>
                        </a:moveTo>
                        <a:lnTo>
                          <a:pt x="55" y="1"/>
                        </a:lnTo>
                        <a:lnTo>
                          <a:pt x="57" y="3"/>
                        </a:lnTo>
                        <a:lnTo>
                          <a:pt x="53" y="6"/>
                        </a:lnTo>
                        <a:lnTo>
                          <a:pt x="52" y="11"/>
                        </a:lnTo>
                        <a:lnTo>
                          <a:pt x="52" y="15"/>
                        </a:lnTo>
                        <a:lnTo>
                          <a:pt x="52" y="17"/>
                        </a:lnTo>
                        <a:lnTo>
                          <a:pt x="55" y="20"/>
                        </a:lnTo>
                        <a:lnTo>
                          <a:pt x="59" y="21"/>
                        </a:lnTo>
                        <a:lnTo>
                          <a:pt x="62" y="23"/>
                        </a:lnTo>
                        <a:lnTo>
                          <a:pt x="63" y="27"/>
                        </a:lnTo>
                        <a:lnTo>
                          <a:pt x="63" y="33"/>
                        </a:lnTo>
                        <a:lnTo>
                          <a:pt x="60" y="38"/>
                        </a:lnTo>
                        <a:lnTo>
                          <a:pt x="53" y="45"/>
                        </a:lnTo>
                        <a:lnTo>
                          <a:pt x="50" y="55"/>
                        </a:lnTo>
                        <a:lnTo>
                          <a:pt x="47" y="58"/>
                        </a:lnTo>
                        <a:lnTo>
                          <a:pt x="38" y="72"/>
                        </a:lnTo>
                        <a:lnTo>
                          <a:pt x="28" y="77"/>
                        </a:lnTo>
                        <a:lnTo>
                          <a:pt x="21" y="79"/>
                        </a:lnTo>
                        <a:lnTo>
                          <a:pt x="20" y="79"/>
                        </a:lnTo>
                        <a:lnTo>
                          <a:pt x="15" y="75"/>
                        </a:lnTo>
                        <a:lnTo>
                          <a:pt x="11" y="69"/>
                        </a:lnTo>
                        <a:lnTo>
                          <a:pt x="10" y="62"/>
                        </a:lnTo>
                        <a:lnTo>
                          <a:pt x="10" y="55"/>
                        </a:lnTo>
                        <a:lnTo>
                          <a:pt x="10" y="48"/>
                        </a:lnTo>
                        <a:lnTo>
                          <a:pt x="8" y="42"/>
                        </a:lnTo>
                        <a:lnTo>
                          <a:pt x="6" y="38"/>
                        </a:lnTo>
                        <a:lnTo>
                          <a:pt x="5" y="23"/>
                        </a:lnTo>
                        <a:lnTo>
                          <a:pt x="3" y="18"/>
                        </a:lnTo>
                        <a:lnTo>
                          <a:pt x="0" y="14"/>
                        </a:lnTo>
                        <a:lnTo>
                          <a:pt x="0" y="15"/>
                        </a:lnTo>
                        <a:lnTo>
                          <a:pt x="0" y="8"/>
                        </a:lnTo>
                        <a:lnTo>
                          <a:pt x="3" y="6"/>
                        </a:lnTo>
                        <a:lnTo>
                          <a:pt x="6" y="6"/>
                        </a:lnTo>
                        <a:lnTo>
                          <a:pt x="7" y="7"/>
                        </a:lnTo>
                        <a:lnTo>
                          <a:pt x="10" y="11"/>
                        </a:lnTo>
                        <a:lnTo>
                          <a:pt x="13" y="17"/>
                        </a:lnTo>
                        <a:lnTo>
                          <a:pt x="14" y="17"/>
                        </a:lnTo>
                        <a:lnTo>
                          <a:pt x="18" y="17"/>
                        </a:lnTo>
                        <a:lnTo>
                          <a:pt x="21" y="15"/>
                        </a:lnTo>
                        <a:lnTo>
                          <a:pt x="27" y="14"/>
                        </a:lnTo>
                        <a:lnTo>
                          <a:pt x="30" y="12"/>
                        </a:lnTo>
                        <a:lnTo>
                          <a:pt x="30" y="6"/>
                        </a:lnTo>
                        <a:lnTo>
                          <a:pt x="31" y="4"/>
                        </a:lnTo>
                        <a:lnTo>
                          <a:pt x="32" y="1"/>
                        </a:lnTo>
                        <a:lnTo>
                          <a:pt x="38" y="3"/>
                        </a:lnTo>
                        <a:lnTo>
                          <a:pt x="48" y="0"/>
                        </a:lnTo>
                        <a:lnTo>
                          <a:pt x="52" y="0"/>
                        </a:lnTo>
                        <a:lnTo>
                          <a:pt x="52" y="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1" name="Freeform 89"/>
                  <p:cNvSpPr>
                    <a:spLocks/>
                  </p:cNvSpPr>
                  <p:nvPr/>
                </p:nvSpPr>
                <p:spPr bwMode="auto">
                  <a:xfrm>
                    <a:off x="2488" y="2616"/>
                    <a:ext cx="67" cy="83"/>
                  </a:xfrm>
                  <a:custGeom>
                    <a:avLst/>
                    <a:gdLst>
                      <a:gd name="T0" fmla="*/ 74 w 63"/>
                      <a:gd name="T1" fmla="*/ 1 h 79"/>
                      <a:gd name="T2" fmla="*/ 79 w 63"/>
                      <a:gd name="T3" fmla="*/ 1 h 79"/>
                      <a:gd name="T4" fmla="*/ 83 w 63"/>
                      <a:gd name="T5" fmla="*/ 3 h 79"/>
                      <a:gd name="T6" fmla="*/ 77 w 63"/>
                      <a:gd name="T7" fmla="*/ 6 h 79"/>
                      <a:gd name="T8" fmla="*/ 74 w 63"/>
                      <a:gd name="T9" fmla="*/ 17 h 79"/>
                      <a:gd name="T10" fmla="*/ 74 w 63"/>
                      <a:gd name="T11" fmla="*/ 21 h 79"/>
                      <a:gd name="T12" fmla="*/ 74 w 63"/>
                      <a:gd name="T13" fmla="*/ 23 h 79"/>
                      <a:gd name="T14" fmla="*/ 79 w 63"/>
                      <a:gd name="T15" fmla="*/ 26 h 79"/>
                      <a:gd name="T16" fmla="*/ 86 w 63"/>
                      <a:gd name="T17" fmla="*/ 27 h 79"/>
                      <a:gd name="T18" fmla="*/ 89 w 63"/>
                      <a:gd name="T19" fmla="*/ 29 h 79"/>
                      <a:gd name="T20" fmla="*/ 91 w 63"/>
                      <a:gd name="T21" fmla="*/ 36 h 79"/>
                      <a:gd name="T22" fmla="*/ 91 w 63"/>
                      <a:gd name="T23" fmla="*/ 45 h 79"/>
                      <a:gd name="T24" fmla="*/ 87 w 63"/>
                      <a:gd name="T25" fmla="*/ 50 h 79"/>
                      <a:gd name="T26" fmla="*/ 77 w 63"/>
                      <a:gd name="T27" fmla="*/ 60 h 79"/>
                      <a:gd name="T28" fmla="*/ 72 w 63"/>
                      <a:gd name="T29" fmla="*/ 74 h 79"/>
                      <a:gd name="T30" fmla="*/ 68 w 63"/>
                      <a:gd name="T31" fmla="*/ 78 h 79"/>
                      <a:gd name="T32" fmla="*/ 55 w 63"/>
                      <a:gd name="T33" fmla="*/ 97 h 79"/>
                      <a:gd name="T34" fmla="*/ 40 w 63"/>
                      <a:gd name="T35" fmla="*/ 104 h 79"/>
                      <a:gd name="T36" fmla="*/ 30 w 63"/>
                      <a:gd name="T37" fmla="*/ 106 h 79"/>
                      <a:gd name="T38" fmla="*/ 28 w 63"/>
                      <a:gd name="T39" fmla="*/ 106 h 79"/>
                      <a:gd name="T40" fmla="*/ 21 w 63"/>
                      <a:gd name="T41" fmla="*/ 101 h 79"/>
                      <a:gd name="T42" fmla="*/ 17 w 63"/>
                      <a:gd name="T43" fmla="*/ 92 h 79"/>
                      <a:gd name="T44" fmla="*/ 16 w 63"/>
                      <a:gd name="T45" fmla="*/ 83 h 79"/>
                      <a:gd name="T46" fmla="*/ 16 w 63"/>
                      <a:gd name="T47" fmla="*/ 74 h 79"/>
                      <a:gd name="T48" fmla="*/ 16 w 63"/>
                      <a:gd name="T49" fmla="*/ 65 h 79"/>
                      <a:gd name="T50" fmla="*/ 14 w 63"/>
                      <a:gd name="T51" fmla="*/ 56 h 79"/>
                      <a:gd name="T52" fmla="*/ 6 w 63"/>
                      <a:gd name="T53" fmla="*/ 50 h 79"/>
                      <a:gd name="T54" fmla="*/ 5 w 63"/>
                      <a:gd name="T55" fmla="*/ 29 h 79"/>
                      <a:gd name="T56" fmla="*/ 3 w 63"/>
                      <a:gd name="T57" fmla="*/ 24 h 79"/>
                      <a:gd name="T58" fmla="*/ 0 w 63"/>
                      <a:gd name="T59" fmla="*/ 20 h 79"/>
                      <a:gd name="T60" fmla="*/ 0 w 63"/>
                      <a:gd name="T61" fmla="*/ 21 h 79"/>
                      <a:gd name="T62" fmla="*/ 0 w 63"/>
                      <a:gd name="T63" fmla="*/ 8 h 79"/>
                      <a:gd name="T64" fmla="*/ 3 w 63"/>
                      <a:gd name="T65" fmla="*/ 6 h 79"/>
                      <a:gd name="T66" fmla="*/ 6 w 63"/>
                      <a:gd name="T67" fmla="*/ 6 h 79"/>
                      <a:gd name="T68" fmla="*/ 7 w 63"/>
                      <a:gd name="T69" fmla="*/ 7 h 79"/>
                      <a:gd name="T70" fmla="*/ 16 w 63"/>
                      <a:gd name="T71" fmla="*/ 17 h 79"/>
                      <a:gd name="T72" fmla="*/ 19 w 63"/>
                      <a:gd name="T73" fmla="*/ 23 h 79"/>
                      <a:gd name="T74" fmla="*/ 20 w 63"/>
                      <a:gd name="T75" fmla="*/ 23 h 79"/>
                      <a:gd name="T76" fmla="*/ 24 w 63"/>
                      <a:gd name="T77" fmla="*/ 23 h 79"/>
                      <a:gd name="T78" fmla="*/ 30 w 63"/>
                      <a:gd name="T79" fmla="*/ 21 h 79"/>
                      <a:gd name="T80" fmla="*/ 39 w 63"/>
                      <a:gd name="T81" fmla="*/ 20 h 79"/>
                      <a:gd name="T82" fmla="*/ 43 w 63"/>
                      <a:gd name="T83" fmla="*/ 18 h 79"/>
                      <a:gd name="T84" fmla="*/ 43 w 63"/>
                      <a:gd name="T85" fmla="*/ 6 h 79"/>
                      <a:gd name="T86" fmla="*/ 44 w 63"/>
                      <a:gd name="T87" fmla="*/ 4 h 79"/>
                      <a:gd name="T88" fmla="*/ 46 w 63"/>
                      <a:gd name="T89" fmla="*/ 1 h 79"/>
                      <a:gd name="T90" fmla="*/ 55 w 63"/>
                      <a:gd name="T91" fmla="*/ 3 h 79"/>
                      <a:gd name="T92" fmla="*/ 69 w 63"/>
                      <a:gd name="T93" fmla="*/ 0 h 79"/>
                      <a:gd name="T94" fmla="*/ 74 w 63"/>
                      <a:gd name="T95" fmla="*/ 0 h 79"/>
                      <a:gd name="T96" fmla="*/ 74 w 63"/>
                      <a:gd name="T97" fmla="*/ 1 h 79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63"/>
                      <a:gd name="T148" fmla="*/ 0 h 79"/>
                      <a:gd name="T149" fmla="*/ 63 w 63"/>
                      <a:gd name="T150" fmla="*/ 79 h 79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63" h="79">
                        <a:moveTo>
                          <a:pt x="52" y="1"/>
                        </a:moveTo>
                        <a:lnTo>
                          <a:pt x="55" y="1"/>
                        </a:lnTo>
                        <a:lnTo>
                          <a:pt x="57" y="3"/>
                        </a:lnTo>
                        <a:lnTo>
                          <a:pt x="53" y="6"/>
                        </a:lnTo>
                        <a:lnTo>
                          <a:pt x="52" y="11"/>
                        </a:lnTo>
                        <a:lnTo>
                          <a:pt x="52" y="15"/>
                        </a:lnTo>
                        <a:lnTo>
                          <a:pt x="52" y="17"/>
                        </a:lnTo>
                        <a:lnTo>
                          <a:pt x="55" y="20"/>
                        </a:lnTo>
                        <a:lnTo>
                          <a:pt x="59" y="21"/>
                        </a:lnTo>
                        <a:lnTo>
                          <a:pt x="62" y="23"/>
                        </a:lnTo>
                        <a:lnTo>
                          <a:pt x="63" y="27"/>
                        </a:lnTo>
                        <a:lnTo>
                          <a:pt x="63" y="33"/>
                        </a:lnTo>
                        <a:lnTo>
                          <a:pt x="60" y="38"/>
                        </a:lnTo>
                        <a:lnTo>
                          <a:pt x="53" y="45"/>
                        </a:lnTo>
                        <a:lnTo>
                          <a:pt x="50" y="55"/>
                        </a:lnTo>
                        <a:lnTo>
                          <a:pt x="47" y="58"/>
                        </a:lnTo>
                        <a:lnTo>
                          <a:pt x="38" y="72"/>
                        </a:lnTo>
                        <a:lnTo>
                          <a:pt x="28" y="77"/>
                        </a:lnTo>
                        <a:lnTo>
                          <a:pt x="21" y="79"/>
                        </a:lnTo>
                        <a:lnTo>
                          <a:pt x="20" y="79"/>
                        </a:lnTo>
                        <a:lnTo>
                          <a:pt x="15" y="75"/>
                        </a:lnTo>
                        <a:lnTo>
                          <a:pt x="11" y="69"/>
                        </a:lnTo>
                        <a:lnTo>
                          <a:pt x="10" y="62"/>
                        </a:lnTo>
                        <a:lnTo>
                          <a:pt x="10" y="55"/>
                        </a:lnTo>
                        <a:lnTo>
                          <a:pt x="10" y="48"/>
                        </a:lnTo>
                        <a:lnTo>
                          <a:pt x="8" y="42"/>
                        </a:lnTo>
                        <a:lnTo>
                          <a:pt x="6" y="38"/>
                        </a:lnTo>
                        <a:lnTo>
                          <a:pt x="5" y="23"/>
                        </a:lnTo>
                        <a:lnTo>
                          <a:pt x="3" y="18"/>
                        </a:lnTo>
                        <a:lnTo>
                          <a:pt x="0" y="14"/>
                        </a:lnTo>
                        <a:lnTo>
                          <a:pt x="0" y="15"/>
                        </a:lnTo>
                        <a:lnTo>
                          <a:pt x="0" y="8"/>
                        </a:lnTo>
                        <a:lnTo>
                          <a:pt x="3" y="6"/>
                        </a:lnTo>
                        <a:lnTo>
                          <a:pt x="6" y="6"/>
                        </a:lnTo>
                        <a:lnTo>
                          <a:pt x="7" y="7"/>
                        </a:lnTo>
                        <a:lnTo>
                          <a:pt x="10" y="11"/>
                        </a:lnTo>
                        <a:lnTo>
                          <a:pt x="13" y="17"/>
                        </a:lnTo>
                        <a:lnTo>
                          <a:pt x="14" y="17"/>
                        </a:lnTo>
                        <a:lnTo>
                          <a:pt x="18" y="17"/>
                        </a:lnTo>
                        <a:lnTo>
                          <a:pt x="21" y="15"/>
                        </a:lnTo>
                        <a:lnTo>
                          <a:pt x="27" y="14"/>
                        </a:lnTo>
                        <a:lnTo>
                          <a:pt x="30" y="12"/>
                        </a:lnTo>
                        <a:lnTo>
                          <a:pt x="30" y="6"/>
                        </a:lnTo>
                        <a:lnTo>
                          <a:pt x="31" y="4"/>
                        </a:lnTo>
                        <a:lnTo>
                          <a:pt x="32" y="1"/>
                        </a:lnTo>
                        <a:lnTo>
                          <a:pt x="38" y="3"/>
                        </a:lnTo>
                        <a:lnTo>
                          <a:pt x="48" y="0"/>
                        </a:lnTo>
                        <a:lnTo>
                          <a:pt x="52" y="0"/>
                        </a:lnTo>
                        <a:lnTo>
                          <a:pt x="52" y="1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92" name="Freeform 90"/>
                  <p:cNvSpPr>
                    <a:spLocks/>
                  </p:cNvSpPr>
                  <p:nvPr/>
                </p:nvSpPr>
                <p:spPr bwMode="auto">
                  <a:xfrm>
                    <a:off x="2510" y="2358"/>
                    <a:ext cx="219" cy="220"/>
                  </a:xfrm>
                  <a:custGeom>
                    <a:avLst/>
                    <a:gdLst>
                      <a:gd name="T0" fmla="*/ 5123 w 204"/>
                      <a:gd name="T1" fmla="*/ 501 h 209"/>
                      <a:gd name="T2" fmla="*/ 5639 w 204"/>
                      <a:gd name="T3" fmla="*/ 388 h 209"/>
                      <a:gd name="T4" fmla="*/ 7506 w 204"/>
                      <a:gd name="T5" fmla="*/ 408 h 209"/>
                      <a:gd name="T6" fmla="*/ 9267 w 204"/>
                      <a:gd name="T7" fmla="*/ 369 h 209"/>
                      <a:gd name="T8" fmla="*/ 10703 w 204"/>
                      <a:gd name="T9" fmla="*/ 429 h 209"/>
                      <a:gd name="T10" fmla="*/ 13044 w 204"/>
                      <a:gd name="T11" fmla="*/ 351 h 209"/>
                      <a:gd name="T12" fmla="*/ 15548 w 204"/>
                      <a:gd name="T13" fmla="*/ 351 h 209"/>
                      <a:gd name="T14" fmla="*/ 17918 w 204"/>
                      <a:gd name="T15" fmla="*/ 0 h 209"/>
                      <a:gd name="T16" fmla="*/ 18931 w 204"/>
                      <a:gd name="T17" fmla="*/ 3 h 209"/>
                      <a:gd name="T18" fmla="*/ 19108 w 204"/>
                      <a:gd name="T19" fmla="*/ 333 h 209"/>
                      <a:gd name="T20" fmla="*/ 19346 w 204"/>
                      <a:gd name="T21" fmla="*/ 388 h 209"/>
                      <a:gd name="T22" fmla="*/ 20134 w 204"/>
                      <a:gd name="T23" fmla="*/ 1081 h 209"/>
                      <a:gd name="T24" fmla="*/ 20769 w 204"/>
                      <a:gd name="T25" fmla="*/ 1261 h 209"/>
                      <a:gd name="T26" fmla="*/ 21720 w 204"/>
                      <a:gd name="T27" fmla="*/ 1471 h 209"/>
                      <a:gd name="T28" fmla="*/ 21817 w 204"/>
                      <a:gd name="T29" fmla="*/ 1932 h 209"/>
                      <a:gd name="T30" fmla="*/ 22021 w 204"/>
                      <a:gd name="T31" fmla="*/ 2625 h 209"/>
                      <a:gd name="T32" fmla="*/ 21172 w 204"/>
                      <a:gd name="T33" fmla="*/ 3122 h 209"/>
                      <a:gd name="T34" fmla="*/ 20269 w 204"/>
                      <a:gd name="T35" fmla="*/ 3439 h 209"/>
                      <a:gd name="T36" fmla="*/ 18136 w 204"/>
                      <a:gd name="T37" fmla="*/ 4223 h 209"/>
                      <a:gd name="T38" fmla="*/ 17588 w 204"/>
                      <a:gd name="T39" fmla="*/ 4391 h 209"/>
                      <a:gd name="T40" fmla="*/ 16353 w 204"/>
                      <a:gd name="T41" fmla="*/ 4440 h 209"/>
                      <a:gd name="T42" fmla="*/ 14849 w 204"/>
                      <a:gd name="T43" fmla="*/ 4223 h 209"/>
                      <a:gd name="T44" fmla="*/ 13242 w 204"/>
                      <a:gd name="T45" fmla="*/ 4458 h 209"/>
                      <a:gd name="T46" fmla="*/ 12151 w 204"/>
                      <a:gd name="T47" fmla="*/ 4391 h 209"/>
                      <a:gd name="T48" fmla="*/ 11490 w 204"/>
                      <a:gd name="T49" fmla="*/ 4471 h 209"/>
                      <a:gd name="T50" fmla="*/ 10703 w 204"/>
                      <a:gd name="T51" fmla="*/ 4644 h 209"/>
                      <a:gd name="T52" fmla="*/ 9270 w 204"/>
                      <a:gd name="T53" fmla="*/ 4784 h 209"/>
                      <a:gd name="T54" fmla="*/ 9270 w 204"/>
                      <a:gd name="T55" fmla="*/ 5016 h 209"/>
                      <a:gd name="T56" fmla="*/ 8651 w 204"/>
                      <a:gd name="T57" fmla="*/ 5701 h 209"/>
                      <a:gd name="T58" fmla="*/ 5253 w 204"/>
                      <a:gd name="T59" fmla="*/ 5739 h 209"/>
                      <a:gd name="T60" fmla="*/ 3203 w 204"/>
                      <a:gd name="T61" fmla="*/ 5744 h 209"/>
                      <a:gd name="T62" fmla="*/ 2347 w 204"/>
                      <a:gd name="T63" fmla="*/ 5851 h 209"/>
                      <a:gd name="T64" fmla="*/ 1428 w 204"/>
                      <a:gd name="T65" fmla="*/ 6159 h 209"/>
                      <a:gd name="T66" fmla="*/ 4 w 204"/>
                      <a:gd name="T67" fmla="*/ 6159 h 209"/>
                      <a:gd name="T68" fmla="*/ 0 w 204"/>
                      <a:gd name="T69" fmla="*/ 5655 h 209"/>
                      <a:gd name="T70" fmla="*/ 2 w 204"/>
                      <a:gd name="T71" fmla="*/ 4706 h 209"/>
                      <a:gd name="T72" fmla="*/ 1154 w 204"/>
                      <a:gd name="T73" fmla="*/ 3897 h 209"/>
                      <a:gd name="T74" fmla="*/ 2413 w 204"/>
                      <a:gd name="T75" fmla="*/ 3439 h 209"/>
                      <a:gd name="T76" fmla="*/ 3439 w 204"/>
                      <a:gd name="T77" fmla="*/ 3392 h 209"/>
                      <a:gd name="T78" fmla="*/ 3963 w 204"/>
                      <a:gd name="T79" fmla="*/ 3413 h 209"/>
                      <a:gd name="T80" fmla="*/ 5500 w 204"/>
                      <a:gd name="T81" fmla="*/ 2908 h 209"/>
                      <a:gd name="T82" fmla="*/ 6499 w 204"/>
                      <a:gd name="T83" fmla="*/ 2677 h 209"/>
                      <a:gd name="T84" fmla="*/ 6992 w 204"/>
                      <a:gd name="T85" fmla="*/ 2494 h 209"/>
                      <a:gd name="T86" fmla="*/ 6977 w 204"/>
                      <a:gd name="T87" fmla="*/ 2071 h 209"/>
                      <a:gd name="T88" fmla="*/ 6416 w 204"/>
                      <a:gd name="T89" fmla="*/ 2105 h 209"/>
                      <a:gd name="T90" fmla="*/ 5639 w 204"/>
                      <a:gd name="T91" fmla="*/ 1929 h 209"/>
                      <a:gd name="T92" fmla="*/ 4893 w 204"/>
                      <a:gd name="T93" fmla="*/ 1743 h 209"/>
                      <a:gd name="T94" fmla="*/ 4558 w 204"/>
                      <a:gd name="T95" fmla="*/ 1098 h 209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04"/>
                      <a:gd name="T145" fmla="*/ 0 h 209"/>
                      <a:gd name="T146" fmla="*/ 204 w 204"/>
                      <a:gd name="T147" fmla="*/ 209 h 209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04" h="209">
                        <a:moveTo>
                          <a:pt x="44" y="25"/>
                        </a:moveTo>
                        <a:lnTo>
                          <a:pt x="47" y="18"/>
                        </a:lnTo>
                        <a:lnTo>
                          <a:pt x="47" y="17"/>
                        </a:lnTo>
                        <a:lnTo>
                          <a:pt x="52" y="13"/>
                        </a:lnTo>
                        <a:lnTo>
                          <a:pt x="62" y="12"/>
                        </a:lnTo>
                        <a:lnTo>
                          <a:pt x="70" y="14"/>
                        </a:lnTo>
                        <a:lnTo>
                          <a:pt x="76" y="13"/>
                        </a:lnTo>
                        <a:lnTo>
                          <a:pt x="85" y="12"/>
                        </a:lnTo>
                        <a:lnTo>
                          <a:pt x="89" y="18"/>
                        </a:lnTo>
                        <a:lnTo>
                          <a:pt x="100" y="15"/>
                        </a:lnTo>
                        <a:lnTo>
                          <a:pt x="111" y="14"/>
                        </a:lnTo>
                        <a:lnTo>
                          <a:pt x="120" y="11"/>
                        </a:lnTo>
                        <a:lnTo>
                          <a:pt x="131" y="11"/>
                        </a:lnTo>
                        <a:lnTo>
                          <a:pt x="144" y="11"/>
                        </a:lnTo>
                        <a:lnTo>
                          <a:pt x="163" y="0"/>
                        </a:lnTo>
                        <a:lnTo>
                          <a:pt x="166" y="0"/>
                        </a:lnTo>
                        <a:lnTo>
                          <a:pt x="166" y="2"/>
                        </a:lnTo>
                        <a:lnTo>
                          <a:pt x="176" y="3"/>
                        </a:lnTo>
                        <a:lnTo>
                          <a:pt x="177" y="5"/>
                        </a:lnTo>
                        <a:lnTo>
                          <a:pt x="177" y="10"/>
                        </a:lnTo>
                        <a:lnTo>
                          <a:pt x="177" y="11"/>
                        </a:lnTo>
                        <a:lnTo>
                          <a:pt x="179" y="13"/>
                        </a:lnTo>
                        <a:lnTo>
                          <a:pt x="182" y="31"/>
                        </a:lnTo>
                        <a:lnTo>
                          <a:pt x="185" y="37"/>
                        </a:lnTo>
                        <a:lnTo>
                          <a:pt x="188" y="40"/>
                        </a:lnTo>
                        <a:lnTo>
                          <a:pt x="192" y="43"/>
                        </a:lnTo>
                        <a:lnTo>
                          <a:pt x="196" y="44"/>
                        </a:lnTo>
                        <a:lnTo>
                          <a:pt x="201" y="49"/>
                        </a:lnTo>
                        <a:lnTo>
                          <a:pt x="203" y="54"/>
                        </a:lnTo>
                        <a:lnTo>
                          <a:pt x="203" y="66"/>
                        </a:lnTo>
                        <a:lnTo>
                          <a:pt x="204" y="75"/>
                        </a:lnTo>
                        <a:lnTo>
                          <a:pt x="204" y="88"/>
                        </a:lnTo>
                        <a:lnTo>
                          <a:pt x="201" y="98"/>
                        </a:lnTo>
                        <a:lnTo>
                          <a:pt x="196" y="106"/>
                        </a:lnTo>
                        <a:lnTo>
                          <a:pt x="189" y="114"/>
                        </a:lnTo>
                        <a:lnTo>
                          <a:pt x="188" y="117"/>
                        </a:lnTo>
                        <a:lnTo>
                          <a:pt x="182" y="124"/>
                        </a:lnTo>
                        <a:lnTo>
                          <a:pt x="169" y="143"/>
                        </a:lnTo>
                        <a:lnTo>
                          <a:pt x="166" y="147"/>
                        </a:lnTo>
                        <a:lnTo>
                          <a:pt x="163" y="148"/>
                        </a:lnTo>
                        <a:lnTo>
                          <a:pt x="156" y="147"/>
                        </a:lnTo>
                        <a:lnTo>
                          <a:pt x="151" y="150"/>
                        </a:lnTo>
                        <a:lnTo>
                          <a:pt x="141" y="146"/>
                        </a:lnTo>
                        <a:lnTo>
                          <a:pt x="137" y="143"/>
                        </a:lnTo>
                        <a:lnTo>
                          <a:pt x="129" y="153"/>
                        </a:lnTo>
                        <a:lnTo>
                          <a:pt x="123" y="152"/>
                        </a:lnTo>
                        <a:lnTo>
                          <a:pt x="115" y="150"/>
                        </a:lnTo>
                        <a:lnTo>
                          <a:pt x="112" y="148"/>
                        </a:lnTo>
                        <a:lnTo>
                          <a:pt x="111" y="153"/>
                        </a:lnTo>
                        <a:lnTo>
                          <a:pt x="107" y="153"/>
                        </a:lnTo>
                        <a:lnTo>
                          <a:pt x="103" y="153"/>
                        </a:lnTo>
                        <a:lnTo>
                          <a:pt x="100" y="157"/>
                        </a:lnTo>
                        <a:lnTo>
                          <a:pt x="93" y="160"/>
                        </a:lnTo>
                        <a:lnTo>
                          <a:pt x="86" y="162"/>
                        </a:lnTo>
                        <a:lnTo>
                          <a:pt x="85" y="165"/>
                        </a:lnTo>
                        <a:lnTo>
                          <a:pt x="86" y="170"/>
                        </a:lnTo>
                        <a:lnTo>
                          <a:pt x="78" y="190"/>
                        </a:lnTo>
                        <a:lnTo>
                          <a:pt x="81" y="193"/>
                        </a:lnTo>
                        <a:lnTo>
                          <a:pt x="48" y="193"/>
                        </a:lnTo>
                        <a:lnTo>
                          <a:pt x="48" y="194"/>
                        </a:lnTo>
                        <a:lnTo>
                          <a:pt x="44" y="196"/>
                        </a:lnTo>
                        <a:lnTo>
                          <a:pt x="30" y="195"/>
                        </a:lnTo>
                        <a:lnTo>
                          <a:pt x="26" y="197"/>
                        </a:lnTo>
                        <a:lnTo>
                          <a:pt x="21" y="198"/>
                        </a:lnTo>
                        <a:lnTo>
                          <a:pt x="18" y="201"/>
                        </a:lnTo>
                        <a:lnTo>
                          <a:pt x="14" y="208"/>
                        </a:lnTo>
                        <a:lnTo>
                          <a:pt x="7" y="209"/>
                        </a:lnTo>
                        <a:lnTo>
                          <a:pt x="4" y="208"/>
                        </a:lnTo>
                        <a:lnTo>
                          <a:pt x="0" y="205"/>
                        </a:lnTo>
                        <a:lnTo>
                          <a:pt x="0" y="190"/>
                        </a:lnTo>
                        <a:lnTo>
                          <a:pt x="2" y="170"/>
                        </a:lnTo>
                        <a:lnTo>
                          <a:pt x="2" y="161"/>
                        </a:lnTo>
                        <a:lnTo>
                          <a:pt x="7" y="139"/>
                        </a:lnTo>
                        <a:lnTo>
                          <a:pt x="11" y="132"/>
                        </a:lnTo>
                        <a:lnTo>
                          <a:pt x="15" y="127"/>
                        </a:lnTo>
                        <a:lnTo>
                          <a:pt x="22" y="117"/>
                        </a:lnTo>
                        <a:lnTo>
                          <a:pt x="31" y="109"/>
                        </a:lnTo>
                        <a:lnTo>
                          <a:pt x="32" y="114"/>
                        </a:lnTo>
                        <a:lnTo>
                          <a:pt x="33" y="116"/>
                        </a:lnTo>
                        <a:lnTo>
                          <a:pt x="37" y="116"/>
                        </a:lnTo>
                        <a:lnTo>
                          <a:pt x="41" y="109"/>
                        </a:lnTo>
                        <a:lnTo>
                          <a:pt x="50" y="98"/>
                        </a:lnTo>
                        <a:lnTo>
                          <a:pt x="54" y="95"/>
                        </a:lnTo>
                        <a:lnTo>
                          <a:pt x="60" y="91"/>
                        </a:lnTo>
                        <a:lnTo>
                          <a:pt x="64" y="88"/>
                        </a:lnTo>
                        <a:lnTo>
                          <a:pt x="65" y="84"/>
                        </a:lnTo>
                        <a:lnTo>
                          <a:pt x="65" y="71"/>
                        </a:lnTo>
                        <a:lnTo>
                          <a:pt x="64" y="70"/>
                        </a:lnTo>
                        <a:lnTo>
                          <a:pt x="62" y="69"/>
                        </a:lnTo>
                        <a:lnTo>
                          <a:pt x="59" y="71"/>
                        </a:lnTo>
                        <a:lnTo>
                          <a:pt x="57" y="68"/>
                        </a:lnTo>
                        <a:lnTo>
                          <a:pt x="52" y="65"/>
                        </a:lnTo>
                        <a:lnTo>
                          <a:pt x="48" y="63"/>
                        </a:lnTo>
                        <a:lnTo>
                          <a:pt x="45" y="60"/>
                        </a:lnTo>
                        <a:lnTo>
                          <a:pt x="42" y="53"/>
                        </a:lnTo>
                        <a:lnTo>
                          <a:pt x="42" y="38"/>
                        </a:lnTo>
                        <a:lnTo>
                          <a:pt x="44" y="25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3" name="Freeform 91"/>
                  <p:cNvSpPr>
                    <a:spLocks/>
                  </p:cNvSpPr>
                  <p:nvPr/>
                </p:nvSpPr>
                <p:spPr bwMode="auto">
                  <a:xfrm>
                    <a:off x="2510" y="2358"/>
                    <a:ext cx="219" cy="220"/>
                  </a:xfrm>
                  <a:custGeom>
                    <a:avLst/>
                    <a:gdLst>
                      <a:gd name="T0" fmla="*/ 5123 w 204"/>
                      <a:gd name="T1" fmla="*/ 501 h 209"/>
                      <a:gd name="T2" fmla="*/ 5639 w 204"/>
                      <a:gd name="T3" fmla="*/ 388 h 209"/>
                      <a:gd name="T4" fmla="*/ 7506 w 204"/>
                      <a:gd name="T5" fmla="*/ 408 h 209"/>
                      <a:gd name="T6" fmla="*/ 9267 w 204"/>
                      <a:gd name="T7" fmla="*/ 369 h 209"/>
                      <a:gd name="T8" fmla="*/ 10703 w 204"/>
                      <a:gd name="T9" fmla="*/ 429 h 209"/>
                      <a:gd name="T10" fmla="*/ 13044 w 204"/>
                      <a:gd name="T11" fmla="*/ 351 h 209"/>
                      <a:gd name="T12" fmla="*/ 15548 w 204"/>
                      <a:gd name="T13" fmla="*/ 351 h 209"/>
                      <a:gd name="T14" fmla="*/ 17918 w 204"/>
                      <a:gd name="T15" fmla="*/ 0 h 209"/>
                      <a:gd name="T16" fmla="*/ 18931 w 204"/>
                      <a:gd name="T17" fmla="*/ 3 h 209"/>
                      <a:gd name="T18" fmla="*/ 19108 w 204"/>
                      <a:gd name="T19" fmla="*/ 333 h 209"/>
                      <a:gd name="T20" fmla="*/ 19346 w 204"/>
                      <a:gd name="T21" fmla="*/ 388 h 209"/>
                      <a:gd name="T22" fmla="*/ 20134 w 204"/>
                      <a:gd name="T23" fmla="*/ 1081 h 209"/>
                      <a:gd name="T24" fmla="*/ 20769 w 204"/>
                      <a:gd name="T25" fmla="*/ 1261 h 209"/>
                      <a:gd name="T26" fmla="*/ 21720 w 204"/>
                      <a:gd name="T27" fmla="*/ 1471 h 209"/>
                      <a:gd name="T28" fmla="*/ 21817 w 204"/>
                      <a:gd name="T29" fmla="*/ 1932 h 209"/>
                      <a:gd name="T30" fmla="*/ 22021 w 204"/>
                      <a:gd name="T31" fmla="*/ 2625 h 209"/>
                      <a:gd name="T32" fmla="*/ 21172 w 204"/>
                      <a:gd name="T33" fmla="*/ 3122 h 209"/>
                      <a:gd name="T34" fmla="*/ 20269 w 204"/>
                      <a:gd name="T35" fmla="*/ 3439 h 209"/>
                      <a:gd name="T36" fmla="*/ 18136 w 204"/>
                      <a:gd name="T37" fmla="*/ 4223 h 209"/>
                      <a:gd name="T38" fmla="*/ 17588 w 204"/>
                      <a:gd name="T39" fmla="*/ 4391 h 209"/>
                      <a:gd name="T40" fmla="*/ 16353 w 204"/>
                      <a:gd name="T41" fmla="*/ 4440 h 209"/>
                      <a:gd name="T42" fmla="*/ 14849 w 204"/>
                      <a:gd name="T43" fmla="*/ 4223 h 209"/>
                      <a:gd name="T44" fmla="*/ 13242 w 204"/>
                      <a:gd name="T45" fmla="*/ 4458 h 209"/>
                      <a:gd name="T46" fmla="*/ 12151 w 204"/>
                      <a:gd name="T47" fmla="*/ 4391 h 209"/>
                      <a:gd name="T48" fmla="*/ 11490 w 204"/>
                      <a:gd name="T49" fmla="*/ 4471 h 209"/>
                      <a:gd name="T50" fmla="*/ 10703 w 204"/>
                      <a:gd name="T51" fmla="*/ 4644 h 209"/>
                      <a:gd name="T52" fmla="*/ 9270 w 204"/>
                      <a:gd name="T53" fmla="*/ 4784 h 209"/>
                      <a:gd name="T54" fmla="*/ 9270 w 204"/>
                      <a:gd name="T55" fmla="*/ 5016 h 209"/>
                      <a:gd name="T56" fmla="*/ 8651 w 204"/>
                      <a:gd name="T57" fmla="*/ 5701 h 209"/>
                      <a:gd name="T58" fmla="*/ 5253 w 204"/>
                      <a:gd name="T59" fmla="*/ 5739 h 209"/>
                      <a:gd name="T60" fmla="*/ 3203 w 204"/>
                      <a:gd name="T61" fmla="*/ 5744 h 209"/>
                      <a:gd name="T62" fmla="*/ 2347 w 204"/>
                      <a:gd name="T63" fmla="*/ 5851 h 209"/>
                      <a:gd name="T64" fmla="*/ 1428 w 204"/>
                      <a:gd name="T65" fmla="*/ 6159 h 209"/>
                      <a:gd name="T66" fmla="*/ 4 w 204"/>
                      <a:gd name="T67" fmla="*/ 6159 h 209"/>
                      <a:gd name="T68" fmla="*/ 0 w 204"/>
                      <a:gd name="T69" fmla="*/ 5655 h 209"/>
                      <a:gd name="T70" fmla="*/ 2 w 204"/>
                      <a:gd name="T71" fmla="*/ 4706 h 209"/>
                      <a:gd name="T72" fmla="*/ 1154 w 204"/>
                      <a:gd name="T73" fmla="*/ 3897 h 209"/>
                      <a:gd name="T74" fmla="*/ 2413 w 204"/>
                      <a:gd name="T75" fmla="*/ 3439 h 209"/>
                      <a:gd name="T76" fmla="*/ 3439 w 204"/>
                      <a:gd name="T77" fmla="*/ 3392 h 209"/>
                      <a:gd name="T78" fmla="*/ 3963 w 204"/>
                      <a:gd name="T79" fmla="*/ 3413 h 209"/>
                      <a:gd name="T80" fmla="*/ 5500 w 204"/>
                      <a:gd name="T81" fmla="*/ 2908 h 209"/>
                      <a:gd name="T82" fmla="*/ 6499 w 204"/>
                      <a:gd name="T83" fmla="*/ 2677 h 209"/>
                      <a:gd name="T84" fmla="*/ 6992 w 204"/>
                      <a:gd name="T85" fmla="*/ 2494 h 209"/>
                      <a:gd name="T86" fmla="*/ 6977 w 204"/>
                      <a:gd name="T87" fmla="*/ 2071 h 209"/>
                      <a:gd name="T88" fmla="*/ 6416 w 204"/>
                      <a:gd name="T89" fmla="*/ 2105 h 209"/>
                      <a:gd name="T90" fmla="*/ 5639 w 204"/>
                      <a:gd name="T91" fmla="*/ 1929 h 209"/>
                      <a:gd name="T92" fmla="*/ 4893 w 204"/>
                      <a:gd name="T93" fmla="*/ 1743 h 209"/>
                      <a:gd name="T94" fmla="*/ 4558 w 204"/>
                      <a:gd name="T95" fmla="*/ 1098 h 209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04"/>
                      <a:gd name="T145" fmla="*/ 0 h 209"/>
                      <a:gd name="T146" fmla="*/ 204 w 204"/>
                      <a:gd name="T147" fmla="*/ 209 h 209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04" h="209">
                        <a:moveTo>
                          <a:pt x="44" y="25"/>
                        </a:moveTo>
                        <a:lnTo>
                          <a:pt x="47" y="18"/>
                        </a:lnTo>
                        <a:lnTo>
                          <a:pt x="47" y="17"/>
                        </a:lnTo>
                        <a:lnTo>
                          <a:pt x="52" y="13"/>
                        </a:lnTo>
                        <a:lnTo>
                          <a:pt x="62" y="12"/>
                        </a:lnTo>
                        <a:lnTo>
                          <a:pt x="70" y="14"/>
                        </a:lnTo>
                        <a:lnTo>
                          <a:pt x="76" y="13"/>
                        </a:lnTo>
                        <a:lnTo>
                          <a:pt x="85" y="12"/>
                        </a:lnTo>
                        <a:lnTo>
                          <a:pt x="89" y="18"/>
                        </a:lnTo>
                        <a:lnTo>
                          <a:pt x="100" y="15"/>
                        </a:lnTo>
                        <a:lnTo>
                          <a:pt x="111" y="14"/>
                        </a:lnTo>
                        <a:lnTo>
                          <a:pt x="120" y="11"/>
                        </a:lnTo>
                        <a:lnTo>
                          <a:pt x="131" y="11"/>
                        </a:lnTo>
                        <a:lnTo>
                          <a:pt x="144" y="11"/>
                        </a:lnTo>
                        <a:lnTo>
                          <a:pt x="163" y="0"/>
                        </a:lnTo>
                        <a:lnTo>
                          <a:pt x="166" y="0"/>
                        </a:lnTo>
                        <a:lnTo>
                          <a:pt x="166" y="2"/>
                        </a:lnTo>
                        <a:lnTo>
                          <a:pt x="176" y="3"/>
                        </a:lnTo>
                        <a:lnTo>
                          <a:pt x="177" y="5"/>
                        </a:lnTo>
                        <a:lnTo>
                          <a:pt x="177" y="10"/>
                        </a:lnTo>
                        <a:lnTo>
                          <a:pt x="177" y="11"/>
                        </a:lnTo>
                        <a:lnTo>
                          <a:pt x="179" y="13"/>
                        </a:lnTo>
                        <a:lnTo>
                          <a:pt x="182" y="31"/>
                        </a:lnTo>
                        <a:lnTo>
                          <a:pt x="185" y="37"/>
                        </a:lnTo>
                        <a:lnTo>
                          <a:pt x="188" y="40"/>
                        </a:lnTo>
                        <a:lnTo>
                          <a:pt x="192" y="43"/>
                        </a:lnTo>
                        <a:lnTo>
                          <a:pt x="196" y="44"/>
                        </a:lnTo>
                        <a:lnTo>
                          <a:pt x="201" y="49"/>
                        </a:lnTo>
                        <a:lnTo>
                          <a:pt x="203" y="54"/>
                        </a:lnTo>
                        <a:lnTo>
                          <a:pt x="203" y="66"/>
                        </a:lnTo>
                        <a:lnTo>
                          <a:pt x="204" y="75"/>
                        </a:lnTo>
                        <a:lnTo>
                          <a:pt x="204" y="88"/>
                        </a:lnTo>
                        <a:lnTo>
                          <a:pt x="201" y="98"/>
                        </a:lnTo>
                        <a:lnTo>
                          <a:pt x="196" y="106"/>
                        </a:lnTo>
                        <a:lnTo>
                          <a:pt x="189" y="114"/>
                        </a:lnTo>
                        <a:lnTo>
                          <a:pt x="188" y="117"/>
                        </a:lnTo>
                        <a:lnTo>
                          <a:pt x="182" y="124"/>
                        </a:lnTo>
                        <a:lnTo>
                          <a:pt x="169" y="143"/>
                        </a:lnTo>
                        <a:lnTo>
                          <a:pt x="166" y="147"/>
                        </a:lnTo>
                        <a:lnTo>
                          <a:pt x="163" y="148"/>
                        </a:lnTo>
                        <a:lnTo>
                          <a:pt x="156" y="147"/>
                        </a:lnTo>
                        <a:lnTo>
                          <a:pt x="151" y="150"/>
                        </a:lnTo>
                        <a:lnTo>
                          <a:pt x="141" y="146"/>
                        </a:lnTo>
                        <a:lnTo>
                          <a:pt x="137" y="143"/>
                        </a:lnTo>
                        <a:lnTo>
                          <a:pt x="129" y="153"/>
                        </a:lnTo>
                        <a:lnTo>
                          <a:pt x="123" y="152"/>
                        </a:lnTo>
                        <a:lnTo>
                          <a:pt x="115" y="150"/>
                        </a:lnTo>
                        <a:lnTo>
                          <a:pt x="112" y="148"/>
                        </a:lnTo>
                        <a:lnTo>
                          <a:pt x="111" y="153"/>
                        </a:lnTo>
                        <a:lnTo>
                          <a:pt x="107" y="153"/>
                        </a:lnTo>
                        <a:lnTo>
                          <a:pt x="103" y="153"/>
                        </a:lnTo>
                        <a:lnTo>
                          <a:pt x="100" y="157"/>
                        </a:lnTo>
                        <a:lnTo>
                          <a:pt x="93" y="160"/>
                        </a:lnTo>
                        <a:lnTo>
                          <a:pt x="86" y="162"/>
                        </a:lnTo>
                        <a:lnTo>
                          <a:pt x="85" y="165"/>
                        </a:lnTo>
                        <a:lnTo>
                          <a:pt x="86" y="170"/>
                        </a:lnTo>
                        <a:lnTo>
                          <a:pt x="78" y="190"/>
                        </a:lnTo>
                        <a:lnTo>
                          <a:pt x="81" y="193"/>
                        </a:lnTo>
                        <a:lnTo>
                          <a:pt x="48" y="193"/>
                        </a:lnTo>
                        <a:lnTo>
                          <a:pt x="48" y="194"/>
                        </a:lnTo>
                        <a:lnTo>
                          <a:pt x="44" y="196"/>
                        </a:lnTo>
                        <a:lnTo>
                          <a:pt x="30" y="195"/>
                        </a:lnTo>
                        <a:lnTo>
                          <a:pt x="26" y="197"/>
                        </a:lnTo>
                        <a:lnTo>
                          <a:pt x="21" y="198"/>
                        </a:lnTo>
                        <a:lnTo>
                          <a:pt x="18" y="201"/>
                        </a:lnTo>
                        <a:lnTo>
                          <a:pt x="14" y="208"/>
                        </a:lnTo>
                        <a:lnTo>
                          <a:pt x="7" y="209"/>
                        </a:lnTo>
                        <a:lnTo>
                          <a:pt x="4" y="208"/>
                        </a:lnTo>
                        <a:lnTo>
                          <a:pt x="0" y="205"/>
                        </a:lnTo>
                        <a:lnTo>
                          <a:pt x="0" y="190"/>
                        </a:lnTo>
                        <a:lnTo>
                          <a:pt x="2" y="170"/>
                        </a:lnTo>
                        <a:lnTo>
                          <a:pt x="2" y="161"/>
                        </a:lnTo>
                        <a:lnTo>
                          <a:pt x="7" y="139"/>
                        </a:lnTo>
                        <a:lnTo>
                          <a:pt x="11" y="132"/>
                        </a:lnTo>
                        <a:lnTo>
                          <a:pt x="15" y="127"/>
                        </a:lnTo>
                        <a:lnTo>
                          <a:pt x="22" y="117"/>
                        </a:lnTo>
                        <a:lnTo>
                          <a:pt x="31" y="109"/>
                        </a:lnTo>
                        <a:lnTo>
                          <a:pt x="32" y="114"/>
                        </a:lnTo>
                        <a:lnTo>
                          <a:pt x="33" y="116"/>
                        </a:lnTo>
                        <a:lnTo>
                          <a:pt x="37" y="116"/>
                        </a:lnTo>
                        <a:lnTo>
                          <a:pt x="41" y="109"/>
                        </a:lnTo>
                        <a:lnTo>
                          <a:pt x="50" y="98"/>
                        </a:lnTo>
                        <a:lnTo>
                          <a:pt x="54" y="95"/>
                        </a:lnTo>
                        <a:lnTo>
                          <a:pt x="60" y="91"/>
                        </a:lnTo>
                        <a:lnTo>
                          <a:pt x="64" y="88"/>
                        </a:lnTo>
                        <a:lnTo>
                          <a:pt x="65" y="84"/>
                        </a:lnTo>
                        <a:lnTo>
                          <a:pt x="65" y="71"/>
                        </a:lnTo>
                        <a:lnTo>
                          <a:pt x="64" y="70"/>
                        </a:lnTo>
                        <a:lnTo>
                          <a:pt x="62" y="69"/>
                        </a:lnTo>
                        <a:lnTo>
                          <a:pt x="59" y="71"/>
                        </a:lnTo>
                        <a:lnTo>
                          <a:pt x="57" y="68"/>
                        </a:lnTo>
                        <a:lnTo>
                          <a:pt x="52" y="65"/>
                        </a:lnTo>
                        <a:lnTo>
                          <a:pt x="48" y="63"/>
                        </a:lnTo>
                        <a:lnTo>
                          <a:pt x="45" y="60"/>
                        </a:lnTo>
                        <a:lnTo>
                          <a:pt x="42" y="53"/>
                        </a:lnTo>
                        <a:lnTo>
                          <a:pt x="42" y="38"/>
                        </a:lnTo>
                        <a:lnTo>
                          <a:pt x="44" y="25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4" name="Freeform 92"/>
                  <p:cNvSpPr>
                    <a:spLocks/>
                  </p:cNvSpPr>
                  <p:nvPr/>
                </p:nvSpPr>
                <p:spPr bwMode="auto">
                  <a:xfrm>
                    <a:off x="2481" y="2564"/>
                    <a:ext cx="76" cy="70"/>
                  </a:xfrm>
                  <a:custGeom>
                    <a:avLst/>
                    <a:gdLst>
                      <a:gd name="T0" fmla="*/ 4259 w 71"/>
                      <a:gd name="T1" fmla="*/ 4 h 67"/>
                      <a:gd name="T2" fmla="*/ 4734 w 71"/>
                      <a:gd name="T3" fmla="*/ 3 h 67"/>
                      <a:gd name="T4" fmla="*/ 4886 w 71"/>
                      <a:gd name="T5" fmla="*/ 0 h 67"/>
                      <a:gd name="T6" fmla="*/ 5230 w 71"/>
                      <a:gd name="T7" fmla="*/ 4 h 67"/>
                      <a:gd name="T8" fmla="*/ 5992 w 71"/>
                      <a:gd name="T9" fmla="*/ 341 h 67"/>
                      <a:gd name="T10" fmla="*/ 6245 w 71"/>
                      <a:gd name="T11" fmla="*/ 529 h 67"/>
                      <a:gd name="T12" fmla="*/ 6408 w 71"/>
                      <a:gd name="T13" fmla="*/ 636 h 67"/>
                      <a:gd name="T14" fmla="*/ 6215 w 71"/>
                      <a:gd name="T15" fmla="*/ 752 h 67"/>
                      <a:gd name="T16" fmla="*/ 5592 w 71"/>
                      <a:gd name="T17" fmla="*/ 936 h 67"/>
                      <a:gd name="T18" fmla="*/ 5424 w 71"/>
                      <a:gd name="T19" fmla="*/ 896 h 67"/>
                      <a:gd name="T20" fmla="*/ 5091 w 71"/>
                      <a:gd name="T21" fmla="*/ 896 h 67"/>
                      <a:gd name="T22" fmla="*/ 5091 w 71"/>
                      <a:gd name="T23" fmla="*/ 863 h 67"/>
                      <a:gd name="T24" fmla="*/ 4880 w 71"/>
                      <a:gd name="T25" fmla="*/ 863 h 67"/>
                      <a:gd name="T26" fmla="*/ 3979 w 71"/>
                      <a:gd name="T27" fmla="*/ 936 h 67"/>
                      <a:gd name="T28" fmla="*/ 3472 w 71"/>
                      <a:gd name="T29" fmla="*/ 902 h 67"/>
                      <a:gd name="T30" fmla="*/ 3369 w 71"/>
                      <a:gd name="T31" fmla="*/ 942 h 67"/>
                      <a:gd name="T32" fmla="*/ 3147 w 71"/>
                      <a:gd name="T33" fmla="*/ 1022 h 67"/>
                      <a:gd name="T34" fmla="*/ 3147 w 71"/>
                      <a:gd name="T35" fmla="*/ 1114 h 67"/>
                      <a:gd name="T36" fmla="*/ 2940 w 71"/>
                      <a:gd name="T37" fmla="*/ 1122 h 67"/>
                      <a:gd name="T38" fmla="*/ 2397 w 71"/>
                      <a:gd name="T39" fmla="*/ 1164 h 67"/>
                      <a:gd name="T40" fmla="*/ 2159 w 71"/>
                      <a:gd name="T41" fmla="*/ 1172 h 67"/>
                      <a:gd name="T42" fmla="*/ 1760 w 71"/>
                      <a:gd name="T43" fmla="*/ 1216 h 67"/>
                      <a:gd name="T44" fmla="*/ 1536 w 71"/>
                      <a:gd name="T45" fmla="*/ 1172 h 67"/>
                      <a:gd name="T46" fmla="*/ 1253 w 71"/>
                      <a:gd name="T47" fmla="*/ 1074 h 67"/>
                      <a:gd name="T48" fmla="*/ 1094 w 71"/>
                      <a:gd name="T49" fmla="*/ 1022 h 67"/>
                      <a:gd name="T50" fmla="*/ 955 w 71"/>
                      <a:gd name="T51" fmla="*/ 1022 h 67"/>
                      <a:gd name="T52" fmla="*/ 778 w 71"/>
                      <a:gd name="T53" fmla="*/ 1022 h 67"/>
                      <a:gd name="T54" fmla="*/ 5 w 71"/>
                      <a:gd name="T55" fmla="*/ 1028 h 67"/>
                      <a:gd name="T56" fmla="*/ 5 w 71"/>
                      <a:gd name="T57" fmla="*/ 1164 h 67"/>
                      <a:gd name="T58" fmla="*/ 5 w 71"/>
                      <a:gd name="T59" fmla="*/ 1122 h 67"/>
                      <a:gd name="T60" fmla="*/ 0 w 71"/>
                      <a:gd name="T61" fmla="*/ 1068 h 67"/>
                      <a:gd name="T62" fmla="*/ 0 w 71"/>
                      <a:gd name="T63" fmla="*/ 1022 h 67"/>
                      <a:gd name="T64" fmla="*/ 0 w 71"/>
                      <a:gd name="T65" fmla="*/ 936 h 67"/>
                      <a:gd name="T66" fmla="*/ 7 w 71"/>
                      <a:gd name="T67" fmla="*/ 725 h 67"/>
                      <a:gd name="T68" fmla="*/ 892 w 71"/>
                      <a:gd name="T69" fmla="*/ 631 h 67"/>
                      <a:gd name="T70" fmla="*/ 1253 w 71"/>
                      <a:gd name="T71" fmla="*/ 406 h 67"/>
                      <a:gd name="T72" fmla="*/ 1760 w 71"/>
                      <a:gd name="T73" fmla="*/ 286 h 67"/>
                      <a:gd name="T74" fmla="*/ 2159 w 71"/>
                      <a:gd name="T75" fmla="*/ 11 h 67"/>
                      <a:gd name="T76" fmla="*/ 2397 w 71"/>
                      <a:gd name="T77" fmla="*/ 10 h 67"/>
                      <a:gd name="T78" fmla="*/ 2648 w 71"/>
                      <a:gd name="T79" fmla="*/ 251 h 67"/>
                      <a:gd name="T80" fmla="*/ 3034 w 71"/>
                      <a:gd name="T81" fmla="*/ 262 h 67"/>
                      <a:gd name="T82" fmla="*/ 3606 w 71"/>
                      <a:gd name="T83" fmla="*/ 251 h 67"/>
                      <a:gd name="T84" fmla="*/ 3979 w 71"/>
                      <a:gd name="T85" fmla="*/ 6 h 67"/>
                      <a:gd name="T86" fmla="*/ 4259 w 71"/>
                      <a:gd name="T87" fmla="*/ 4 h 67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71"/>
                      <a:gd name="T133" fmla="*/ 0 h 67"/>
                      <a:gd name="T134" fmla="*/ 71 w 71"/>
                      <a:gd name="T135" fmla="*/ 67 h 67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71" h="67">
                        <a:moveTo>
                          <a:pt x="47" y="4"/>
                        </a:moveTo>
                        <a:lnTo>
                          <a:pt x="52" y="3"/>
                        </a:lnTo>
                        <a:lnTo>
                          <a:pt x="55" y="0"/>
                        </a:lnTo>
                        <a:lnTo>
                          <a:pt x="59" y="4"/>
                        </a:lnTo>
                        <a:lnTo>
                          <a:pt x="67" y="20"/>
                        </a:lnTo>
                        <a:lnTo>
                          <a:pt x="70" y="30"/>
                        </a:lnTo>
                        <a:lnTo>
                          <a:pt x="71" y="35"/>
                        </a:lnTo>
                        <a:lnTo>
                          <a:pt x="69" y="42"/>
                        </a:lnTo>
                        <a:lnTo>
                          <a:pt x="62" y="52"/>
                        </a:lnTo>
                        <a:lnTo>
                          <a:pt x="60" y="50"/>
                        </a:lnTo>
                        <a:lnTo>
                          <a:pt x="57" y="50"/>
                        </a:lnTo>
                        <a:lnTo>
                          <a:pt x="57" y="49"/>
                        </a:lnTo>
                        <a:lnTo>
                          <a:pt x="54" y="49"/>
                        </a:lnTo>
                        <a:lnTo>
                          <a:pt x="44" y="52"/>
                        </a:lnTo>
                        <a:lnTo>
                          <a:pt x="38" y="51"/>
                        </a:lnTo>
                        <a:lnTo>
                          <a:pt x="37" y="53"/>
                        </a:lnTo>
                        <a:lnTo>
                          <a:pt x="35" y="56"/>
                        </a:lnTo>
                        <a:lnTo>
                          <a:pt x="35" y="61"/>
                        </a:lnTo>
                        <a:lnTo>
                          <a:pt x="33" y="63"/>
                        </a:lnTo>
                        <a:lnTo>
                          <a:pt x="27" y="64"/>
                        </a:lnTo>
                        <a:lnTo>
                          <a:pt x="24" y="66"/>
                        </a:lnTo>
                        <a:lnTo>
                          <a:pt x="20" y="67"/>
                        </a:lnTo>
                        <a:lnTo>
                          <a:pt x="18" y="66"/>
                        </a:lnTo>
                        <a:lnTo>
                          <a:pt x="15" y="60"/>
                        </a:lnTo>
                        <a:lnTo>
                          <a:pt x="13" y="56"/>
                        </a:lnTo>
                        <a:lnTo>
                          <a:pt x="11" y="56"/>
                        </a:lnTo>
                        <a:lnTo>
                          <a:pt x="8" y="56"/>
                        </a:lnTo>
                        <a:lnTo>
                          <a:pt x="5" y="57"/>
                        </a:lnTo>
                        <a:lnTo>
                          <a:pt x="5" y="64"/>
                        </a:lnTo>
                        <a:lnTo>
                          <a:pt x="5" y="63"/>
                        </a:lnTo>
                        <a:lnTo>
                          <a:pt x="0" y="59"/>
                        </a:lnTo>
                        <a:lnTo>
                          <a:pt x="0" y="56"/>
                        </a:lnTo>
                        <a:lnTo>
                          <a:pt x="0" y="52"/>
                        </a:lnTo>
                        <a:lnTo>
                          <a:pt x="7" y="41"/>
                        </a:lnTo>
                        <a:lnTo>
                          <a:pt x="10" y="34"/>
                        </a:lnTo>
                        <a:lnTo>
                          <a:pt x="15" y="24"/>
                        </a:lnTo>
                        <a:lnTo>
                          <a:pt x="20" y="16"/>
                        </a:lnTo>
                        <a:lnTo>
                          <a:pt x="24" y="11"/>
                        </a:lnTo>
                        <a:lnTo>
                          <a:pt x="27" y="10"/>
                        </a:lnTo>
                        <a:lnTo>
                          <a:pt x="30" y="13"/>
                        </a:lnTo>
                        <a:lnTo>
                          <a:pt x="34" y="14"/>
                        </a:lnTo>
                        <a:lnTo>
                          <a:pt x="40" y="13"/>
                        </a:lnTo>
                        <a:lnTo>
                          <a:pt x="44" y="6"/>
                        </a:lnTo>
                        <a:lnTo>
                          <a:pt x="47" y="4"/>
                        </a:lnTo>
                        <a:close/>
                      </a:path>
                    </a:pathLst>
                  </a:custGeom>
                  <a:solidFill>
                    <a:srgbClr val="0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5" name="Freeform 93"/>
                  <p:cNvSpPr>
                    <a:spLocks/>
                  </p:cNvSpPr>
                  <p:nvPr/>
                </p:nvSpPr>
                <p:spPr bwMode="auto">
                  <a:xfrm>
                    <a:off x="2481" y="2564"/>
                    <a:ext cx="76" cy="70"/>
                  </a:xfrm>
                  <a:custGeom>
                    <a:avLst/>
                    <a:gdLst>
                      <a:gd name="T0" fmla="*/ 4259 w 71"/>
                      <a:gd name="T1" fmla="*/ 4 h 67"/>
                      <a:gd name="T2" fmla="*/ 4734 w 71"/>
                      <a:gd name="T3" fmla="*/ 3 h 67"/>
                      <a:gd name="T4" fmla="*/ 4886 w 71"/>
                      <a:gd name="T5" fmla="*/ 0 h 67"/>
                      <a:gd name="T6" fmla="*/ 5230 w 71"/>
                      <a:gd name="T7" fmla="*/ 4 h 67"/>
                      <a:gd name="T8" fmla="*/ 5992 w 71"/>
                      <a:gd name="T9" fmla="*/ 341 h 67"/>
                      <a:gd name="T10" fmla="*/ 6245 w 71"/>
                      <a:gd name="T11" fmla="*/ 529 h 67"/>
                      <a:gd name="T12" fmla="*/ 6408 w 71"/>
                      <a:gd name="T13" fmla="*/ 636 h 67"/>
                      <a:gd name="T14" fmla="*/ 6215 w 71"/>
                      <a:gd name="T15" fmla="*/ 752 h 67"/>
                      <a:gd name="T16" fmla="*/ 5592 w 71"/>
                      <a:gd name="T17" fmla="*/ 936 h 67"/>
                      <a:gd name="T18" fmla="*/ 5424 w 71"/>
                      <a:gd name="T19" fmla="*/ 896 h 67"/>
                      <a:gd name="T20" fmla="*/ 5091 w 71"/>
                      <a:gd name="T21" fmla="*/ 896 h 67"/>
                      <a:gd name="T22" fmla="*/ 5091 w 71"/>
                      <a:gd name="T23" fmla="*/ 863 h 67"/>
                      <a:gd name="T24" fmla="*/ 4880 w 71"/>
                      <a:gd name="T25" fmla="*/ 863 h 67"/>
                      <a:gd name="T26" fmla="*/ 3979 w 71"/>
                      <a:gd name="T27" fmla="*/ 936 h 67"/>
                      <a:gd name="T28" fmla="*/ 3472 w 71"/>
                      <a:gd name="T29" fmla="*/ 902 h 67"/>
                      <a:gd name="T30" fmla="*/ 3369 w 71"/>
                      <a:gd name="T31" fmla="*/ 942 h 67"/>
                      <a:gd name="T32" fmla="*/ 3147 w 71"/>
                      <a:gd name="T33" fmla="*/ 1022 h 67"/>
                      <a:gd name="T34" fmla="*/ 3147 w 71"/>
                      <a:gd name="T35" fmla="*/ 1114 h 67"/>
                      <a:gd name="T36" fmla="*/ 2940 w 71"/>
                      <a:gd name="T37" fmla="*/ 1122 h 67"/>
                      <a:gd name="T38" fmla="*/ 2397 w 71"/>
                      <a:gd name="T39" fmla="*/ 1164 h 67"/>
                      <a:gd name="T40" fmla="*/ 2159 w 71"/>
                      <a:gd name="T41" fmla="*/ 1172 h 67"/>
                      <a:gd name="T42" fmla="*/ 1760 w 71"/>
                      <a:gd name="T43" fmla="*/ 1216 h 67"/>
                      <a:gd name="T44" fmla="*/ 1536 w 71"/>
                      <a:gd name="T45" fmla="*/ 1172 h 67"/>
                      <a:gd name="T46" fmla="*/ 1253 w 71"/>
                      <a:gd name="T47" fmla="*/ 1074 h 67"/>
                      <a:gd name="T48" fmla="*/ 1094 w 71"/>
                      <a:gd name="T49" fmla="*/ 1022 h 67"/>
                      <a:gd name="T50" fmla="*/ 955 w 71"/>
                      <a:gd name="T51" fmla="*/ 1022 h 67"/>
                      <a:gd name="T52" fmla="*/ 778 w 71"/>
                      <a:gd name="T53" fmla="*/ 1022 h 67"/>
                      <a:gd name="T54" fmla="*/ 5 w 71"/>
                      <a:gd name="T55" fmla="*/ 1028 h 67"/>
                      <a:gd name="T56" fmla="*/ 5 w 71"/>
                      <a:gd name="T57" fmla="*/ 1164 h 67"/>
                      <a:gd name="T58" fmla="*/ 5 w 71"/>
                      <a:gd name="T59" fmla="*/ 1122 h 67"/>
                      <a:gd name="T60" fmla="*/ 0 w 71"/>
                      <a:gd name="T61" fmla="*/ 1068 h 67"/>
                      <a:gd name="T62" fmla="*/ 0 w 71"/>
                      <a:gd name="T63" fmla="*/ 1022 h 67"/>
                      <a:gd name="T64" fmla="*/ 0 w 71"/>
                      <a:gd name="T65" fmla="*/ 936 h 67"/>
                      <a:gd name="T66" fmla="*/ 7 w 71"/>
                      <a:gd name="T67" fmla="*/ 725 h 67"/>
                      <a:gd name="T68" fmla="*/ 892 w 71"/>
                      <a:gd name="T69" fmla="*/ 631 h 67"/>
                      <a:gd name="T70" fmla="*/ 1253 w 71"/>
                      <a:gd name="T71" fmla="*/ 406 h 67"/>
                      <a:gd name="T72" fmla="*/ 1760 w 71"/>
                      <a:gd name="T73" fmla="*/ 286 h 67"/>
                      <a:gd name="T74" fmla="*/ 2159 w 71"/>
                      <a:gd name="T75" fmla="*/ 11 h 67"/>
                      <a:gd name="T76" fmla="*/ 2397 w 71"/>
                      <a:gd name="T77" fmla="*/ 10 h 67"/>
                      <a:gd name="T78" fmla="*/ 2648 w 71"/>
                      <a:gd name="T79" fmla="*/ 251 h 67"/>
                      <a:gd name="T80" fmla="*/ 3034 w 71"/>
                      <a:gd name="T81" fmla="*/ 262 h 67"/>
                      <a:gd name="T82" fmla="*/ 3606 w 71"/>
                      <a:gd name="T83" fmla="*/ 251 h 67"/>
                      <a:gd name="T84" fmla="*/ 3979 w 71"/>
                      <a:gd name="T85" fmla="*/ 6 h 67"/>
                      <a:gd name="T86" fmla="*/ 4259 w 71"/>
                      <a:gd name="T87" fmla="*/ 4 h 67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w 71"/>
                      <a:gd name="T133" fmla="*/ 0 h 67"/>
                      <a:gd name="T134" fmla="*/ 71 w 71"/>
                      <a:gd name="T135" fmla="*/ 67 h 67"/>
                    </a:gdLst>
                    <a:ahLst/>
                    <a:cxnLst>
                      <a:cxn ang="T88">
                        <a:pos x="T0" y="T1"/>
                      </a:cxn>
                      <a:cxn ang="T89">
                        <a:pos x="T2" y="T3"/>
                      </a:cxn>
                      <a:cxn ang="T90">
                        <a:pos x="T4" y="T5"/>
                      </a:cxn>
                      <a:cxn ang="T91">
                        <a:pos x="T6" y="T7"/>
                      </a:cxn>
                      <a:cxn ang="T92">
                        <a:pos x="T8" y="T9"/>
                      </a:cxn>
                      <a:cxn ang="T93">
                        <a:pos x="T10" y="T11"/>
                      </a:cxn>
                      <a:cxn ang="T94">
                        <a:pos x="T12" y="T13"/>
                      </a:cxn>
                      <a:cxn ang="T95">
                        <a:pos x="T14" y="T15"/>
                      </a:cxn>
                      <a:cxn ang="T96">
                        <a:pos x="T16" y="T17"/>
                      </a:cxn>
                      <a:cxn ang="T97">
                        <a:pos x="T18" y="T19"/>
                      </a:cxn>
                      <a:cxn ang="T98">
                        <a:pos x="T20" y="T21"/>
                      </a:cxn>
                      <a:cxn ang="T99">
                        <a:pos x="T22" y="T23"/>
                      </a:cxn>
                      <a:cxn ang="T100">
                        <a:pos x="T24" y="T25"/>
                      </a:cxn>
                      <a:cxn ang="T101">
                        <a:pos x="T26" y="T27"/>
                      </a:cxn>
                      <a:cxn ang="T102">
                        <a:pos x="T28" y="T29"/>
                      </a:cxn>
                      <a:cxn ang="T103">
                        <a:pos x="T30" y="T31"/>
                      </a:cxn>
                      <a:cxn ang="T104">
                        <a:pos x="T32" y="T33"/>
                      </a:cxn>
                      <a:cxn ang="T105">
                        <a:pos x="T34" y="T35"/>
                      </a:cxn>
                      <a:cxn ang="T106">
                        <a:pos x="T36" y="T37"/>
                      </a:cxn>
                      <a:cxn ang="T107">
                        <a:pos x="T38" y="T39"/>
                      </a:cxn>
                      <a:cxn ang="T108">
                        <a:pos x="T40" y="T41"/>
                      </a:cxn>
                      <a:cxn ang="T109">
                        <a:pos x="T42" y="T43"/>
                      </a:cxn>
                      <a:cxn ang="T110">
                        <a:pos x="T44" y="T45"/>
                      </a:cxn>
                      <a:cxn ang="T111">
                        <a:pos x="T46" y="T47"/>
                      </a:cxn>
                      <a:cxn ang="T112">
                        <a:pos x="T48" y="T49"/>
                      </a:cxn>
                      <a:cxn ang="T113">
                        <a:pos x="T50" y="T51"/>
                      </a:cxn>
                      <a:cxn ang="T114">
                        <a:pos x="T52" y="T53"/>
                      </a:cxn>
                      <a:cxn ang="T115">
                        <a:pos x="T54" y="T55"/>
                      </a:cxn>
                      <a:cxn ang="T116">
                        <a:pos x="T56" y="T57"/>
                      </a:cxn>
                      <a:cxn ang="T117">
                        <a:pos x="T58" y="T59"/>
                      </a:cxn>
                      <a:cxn ang="T118">
                        <a:pos x="T60" y="T61"/>
                      </a:cxn>
                      <a:cxn ang="T119">
                        <a:pos x="T62" y="T63"/>
                      </a:cxn>
                      <a:cxn ang="T120">
                        <a:pos x="T64" y="T65"/>
                      </a:cxn>
                      <a:cxn ang="T121">
                        <a:pos x="T66" y="T67"/>
                      </a:cxn>
                      <a:cxn ang="T122">
                        <a:pos x="T68" y="T69"/>
                      </a:cxn>
                      <a:cxn ang="T123">
                        <a:pos x="T70" y="T71"/>
                      </a:cxn>
                      <a:cxn ang="T124">
                        <a:pos x="T72" y="T73"/>
                      </a:cxn>
                      <a:cxn ang="T125">
                        <a:pos x="T74" y="T75"/>
                      </a:cxn>
                      <a:cxn ang="T126">
                        <a:pos x="T76" y="T77"/>
                      </a:cxn>
                      <a:cxn ang="T127">
                        <a:pos x="T78" y="T79"/>
                      </a:cxn>
                      <a:cxn ang="T128">
                        <a:pos x="T80" y="T81"/>
                      </a:cxn>
                      <a:cxn ang="T129">
                        <a:pos x="T82" y="T83"/>
                      </a:cxn>
                      <a:cxn ang="T130">
                        <a:pos x="T84" y="T85"/>
                      </a:cxn>
                      <a:cxn ang="T131">
                        <a:pos x="T86" y="T87"/>
                      </a:cxn>
                    </a:cxnLst>
                    <a:rect l="T132" t="T133" r="T134" b="T135"/>
                    <a:pathLst>
                      <a:path w="71" h="67">
                        <a:moveTo>
                          <a:pt x="47" y="4"/>
                        </a:moveTo>
                        <a:lnTo>
                          <a:pt x="52" y="3"/>
                        </a:lnTo>
                        <a:lnTo>
                          <a:pt x="55" y="0"/>
                        </a:lnTo>
                        <a:lnTo>
                          <a:pt x="59" y="4"/>
                        </a:lnTo>
                        <a:lnTo>
                          <a:pt x="67" y="20"/>
                        </a:lnTo>
                        <a:lnTo>
                          <a:pt x="70" y="30"/>
                        </a:lnTo>
                        <a:lnTo>
                          <a:pt x="71" y="35"/>
                        </a:lnTo>
                        <a:lnTo>
                          <a:pt x="69" y="42"/>
                        </a:lnTo>
                        <a:lnTo>
                          <a:pt x="62" y="52"/>
                        </a:lnTo>
                        <a:lnTo>
                          <a:pt x="60" y="50"/>
                        </a:lnTo>
                        <a:lnTo>
                          <a:pt x="57" y="50"/>
                        </a:lnTo>
                        <a:lnTo>
                          <a:pt x="57" y="49"/>
                        </a:lnTo>
                        <a:lnTo>
                          <a:pt x="54" y="49"/>
                        </a:lnTo>
                        <a:lnTo>
                          <a:pt x="44" y="52"/>
                        </a:lnTo>
                        <a:lnTo>
                          <a:pt x="38" y="51"/>
                        </a:lnTo>
                        <a:lnTo>
                          <a:pt x="37" y="53"/>
                        </a:lnTo>
                        <a:lnTo>
                          <a:pt x="35" y="56"/>
                        </a:lnTo>
                        <a:lnTo>
                          <a:pt x="35" y="61"/>
                        </a:lnTo>
                        <a:lnTo>
                          <a:pt x="33" y="63"/>
                        </a:lnTo>
                        <a:lnTo>
                          <a:pt x="27" y="64"/>
                        </a:lnTo>
                        <a:lnTo>
                          <a:pt x="24" y="66"/>
                        </a:lnTo>
                        <a:lnTo>
                          <a:pt x="20" y="67"/>
                        </a:lnTo>
                        <a:lnTo>
                          <a:pt x="18" y="66"/>
                        </a:lnTo>
                        <a:lnTo>
                          <a:pt x="15" y="60"/>
                        </a:lnTo>
                        <a:lnTo>
                          <a:pt x="13" y="56"/>
                        </a:lnTo>
                        <a:lnTo>
                          <a:pt x="11" y="56"/>
                        </a:lnTo>
                        <a:lnTo>
                          <a:pt x="8" y="56"/>
                        </a:lnTo>
                        <a:lnTo>
                          <a:pt x="5" y="57"/>
                        </a:lnTo>
                        <a:lnTo>
                          <a:pt x="5" y="64"/>
                        </a:lnTo>
                        <a:lnTo>
                          <a:pt x="5" y="63"/>
                        </a:lnTo>
                        <a:lnTo>
                          <a:pt x="0" y="59"/>
                        </a:lnTo>
                        <a:lnTo>
                          <a:pt x="0" y="56"/>
                        </a:lnTo>
                        <a:lnTo>
                          <a:pt x="0" y="52"/>
                        </a:lnTo>
                        <a:lnTo>
                          <a:pt x="7" y="41"/>
                        </a:lnTo>
                        <a:lnTo>
                          <a:pt x="10" y="34"/>
                        </a:lnTo>
                        <a:lnTo>
                          <a:pt x="15" y="24"/>
                        </a:lnTo>
                        <a:lnTo>
                          <a:pt x="20" y="16"/>
                        </a:lnTo>
                        <a:lnTo>
                          <a:pt x="24" y="11"/>
                        </a:lnTo>
                        <a:lnTo>
                          <a:pt x="27" y="10"/>
                        </a:lnTo>
                        <a:lnTo>
                          <a:pt x="30" y="13"/>
                        </a:lnTo>
                        <a:lnTo>
                          <a:pt x="34" y="14"/>
                        </a:lnTo>
                        <a:lnTo>
                          <a:pt x="40" y="13"/>
                        </a:lnTo>
                        <a:lnTo>
                          <a:pt x="44" y="6"/>
                        </a:lnTo>
                        <a:lnTo>
                          <a:pt x="47" y="4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6" name="Freeform 94"/>
                  <p:cNvSpPr>
                    <a:spLocks/>
                  </p:cNvSpPr>
                  <p:nvPr/>
                </p:nvSpPr>
                <p:spPr bwMode="auto">
                  <a:xfrm>
                    <a:off x="2637" y="2904"/>
                    <a:ext cx="131" cy="310"/>
                  </a:xfrm>
                  <a:custGeom>
                    <a:avLst/>
                    <a:gdLst>
                      <a:gd name="T0" fmla="*/ 611 w 123"/>
                      <a:gd name="T1" fmla="*/ 0 h 295"/>
                      <a:gd name="T2" fmla="*/ 1754 w 123"/>
                      <a:gd name="T3" fmla="*/ 8 h 295"/>
                      <a:gd name="T4" fmla="*/ 2603 w 123"/>
                      <a:gd name="T5" fmla="*/ 5 h 295"/>
                      <a:gd name="T6" fmla="*/ 2809 w 123"/>
                      <a:gd name="T7" fmla="*/ 316 h 295"/>
                      <a:gd name="T8" fmla="*/ 3091 w 123"/>
                      <a:gd name="T9" fmla="*/ 813 h 295"/>
                      <a:gd name="T10" fmla="*/ 3632 w 123"/>
                      <a:gd name="T11" fmla="*/ 1018 h 295"/>
                      <a:gd name="T12" fmla="*/ 3632 w 123"/>
                      <a:gd name="T13" fmla="*/ 1671 h 295"/>
                      <a:gd name="T14" fmla="*/ 3348 w 123"/>
                      <a:gd name="T15" fmla="*/ 2645 h 295"/>
                      <a:gd name="T16" fmla="*/ 2992 w 123"/>
                      <a:gd name="T17" fmla="*/ 2974 h 295"/>
                      <a:gd name="T18" fmla="*/ 3850 w 123"/>
                      <a:gd name="T19" fmla="*/ 3805 h 295"/>
                      <a:gd name="T20" fmla="*/ 4100 w 123"/>
                      <a:gd name="T21" fmla="*/ 4289 h 295"/>
                      <a:gd name="T22" fmla="*/ 4512 w 123"/>
                      <a:gd name="T23" fmla="*/ 4507 h 295"/>
                      <a:gd name="T24" fmla="*/ 4388 w 123"/>
                      <a:gd name="T25" fmla="*/ 4794 h 295"/>
                      <a:gd name="T26" fmla="*/ 4805 w 123"/>
                      <a:gd name="T27" fmla="*/ 4883 h 295"/>
                      <a:gd name="T28" fmla="*/ 5276 w 123"/>
                      <a:gd name="T29" fmla="*/ 4755 h 295"/>
                      <a:gd name="T30" fmla="*/ 5902 w 123"/>
                      <a:gd name="T31" fmla="*/ 5090 h 295"/>
                      <a:gd name="T32" fmla="*/ 6079 w 123"/>
                      <a:gd name="T33" fmla="*/ 4977 h 295"/>
                      <a:gd name="T34" fmla="*/ 5276 w 123"/>
                      <a:gd name="T35" fmla="*/ 4491 h 295"/>
                      <a:gd name="T36" fmla="*/ 5204 w 123"/>
                      <a:gd name="T37" fmla="*/ 4201 h 295"/>
                      <a:gd name="T38" fmla="*/ 6586 w 123"/>
                      <a:gd name="T39" fmla="*/ 4794 h 295"/>
                      <a:gd name="T40" fmla="*/ 7738 w 123"/>
                      <a:gd name="T41" fmla="*/ 5383 h 295"/>
                      <a:gd name="T42" fmla="*/ 7594 w 123"/>
                      <a:gd name="T43" fmla="*/ 5907 h 295"/>
                      <a:gd name="T44" fmla="*/ 7594 w 123"/>
                      <a:gd name="T45" fmla="*/ 6677 h 295"/>
                      <a:gd name="T46" fmla="*/ 6821 w 123"/>
                      <a:gd name="T47" fmla="*/ 6855 h 295"/>
                      <a:gd name="T48" fmla="*/ 6138 w 123"/>
                      <a:gd name="T49" fmla="*/ 7117 h 295"/>
                      <a:gd name="T50" fmla="*/ 6138 w 123"/>
                      <a:gd name="T51" fmla="*/ 7374 h 295"/>
                      <a:gd name="T52" fmla="*/ 6404 w 123"/>
                      <a:gd name="T53" fmla="*/ 7777 h 295"/>
                      <a:gd name="T54" fmla="*/ 5708 w 123"/>
                      <a:gd name="T55" fmla="*/ 7749 h 295"/>
                      <a:gd name="T56" fmla="*/ 5708 w 123"/>
                      <a:gd name="T57" fmla="*/ 7490 h 295"/>
                      <a:gd name="T58" fmla="*/ 5032 w 123"/>
                      <a:gd name="T59" fmla="*/ 7309 h 295"/>
                      <a:gd name="T60" fmla="*/ 4388 w 123"/>
                      <a:gd name="T61" fmla="*/ 7017 h 295"/>
                      <a:gd name="T62" fmla="*/ 3850 w 123"/>
                      <a:gd name="T63" fmla="*/ 6618 h 295"/>
                      <a:gd name="T64" fmla="*/ 4120 w 123"/>
                      <a:gd name="T65" fmla="*/ 6207 h 295"/>
                      <a:gd name="T66" fmla="*/ 4512 w 123"/>
                      <a:gd name="T67" fmla="*/ 5657 h 295"/>
                      <a:gd name="T68" fmla="*/ 4120 w 123"/>
                      <a:gd name="T69" fmla="*/ 5131 h 295"/>
                      <a:gd name="T70" fmla="*/ 2256 w 123"/>
                      <a:gd name="T71" fmla="*/ 5251 h 295"/>
                      <a:gd name="T72" fmla="*/ 1301 w 123"/>
                      <a:gd name="T73" fmla="*/ 4755 h 295"/>
                      <a:gd name="T74" fmla="*/ 891 w 123"/>
                      <a:gd name="T75" fmla="*/ 4644 h 295"/>
                      <a:gd name="T76" fmla="*/ 5 w 123"/>
                      <a:gd name="T77" fmla="*/ 4507 h 295"/>
                      <a:gd name="T78" fmla="*/ 0 w 123"/>
                      <a:gd name="T79" fmla="*/ 4289 h 295"/>
                      <a:gd name="T80" fmla="*/ 693 w 123"/>
                      <a:gd name="T81" fmla="*/ 3598 h 295"/>
                      <a:gd name="T82" fmla="*/ 1011 w 123"/>
                      <a:gd name="T83" fmla="*/ 3279 h 295"/>
                      <a:gd name="T84" fmla="*/ 1783 w 123"/>
                      <a:gd name="T85" fmla="*/ 3120 h 295"/>
                      <a:gd name="T86" fmla="*/ 1301 w 123"/>
                      <a:gd name="T87" fmla="*/ 2884 h 295"/>
                      <a:gd name="T88" fmla="*/ 1301 w 123"/>
                      <a:gd name="T89" fmla="*/ 2302 h 295"/>
                      <a:gd name="T90" fmla="*/ 1572 w 123"/>
                      <a:gd name="T91" fmla="*/ 1671 h 295"/>
                      <a:gd name="T92" fmla="*/ 1899 w 123"/>
                      <a:gd name="T93" fmla="*/ 1459 h 295"/>
                      <a:gd name="T94" fmla="*/ 2256 w 123"/>
                      <a:gd name="T95" fmla="*/ 1181 h 295"/>
                      <a:gd name="T96" fmla="*/ 1674 w 123"/>
                      <a:gd name="T97" fmla="*/ 635 h 295"/>
                      <a:gd name="T98" fmla="*/ 1077 w 123"/>
                      <a:gd name="T99" fmla="*/ 301 h 295"/>
                      <a:gd name="T100" fmla="*/ 611 w 123"/>
                      <a:gd name="T101" fmla="*/ 4 h 295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123"/>
                      <a:gd name="T154" fmla="*/ 0 h 295"/>
                      <a:gd name="T155" fmla="*/ 123 w 123"/>
                      <a:gd name="T156" fmla="*/ 295 h 295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123" h="295">
                        <a:moveTo>
                          <a:pt x="9" y="4"/>
                        </a:moveTo>
                        <a:lnTo>
                          <a:pt x="9" y="1"/>
                        </a:lnTo>
                        <a:lnTo>
                          <a:pt x="9" y="0"/>
                        </a:lnTo>
                        <a:lnTo>
                          <a:pt x="17" y="4"/>
                        </a:lnTo>
                        <a:lnTo>
                          <a:pt x="25" y="4"/>
                        </a:lnTo>
                        <a:lnTo>
                          <a:pt x="27" y="8"/>
                        </a:lnTo>
                        <a:lnTo>
                          <a:pt x="28" y="8"/>
                        </a:lnTo>
                        <a:lnTo>
                          <a:pt x="37" y="5"/>
                        </a:lnTo>
                        <a:lnTo>
                          <a:pt x="40" y="5"/>
                        </a:lnTo>
                        <a:lnTo>
                          <a:pt x="42" y="8"/>
                        </a:lnTo>
                        <a:lnTo>
                          <a:pt x="43" y="8"/>
                        </a:lnTo>
                        <a:lnTo>
                          <a:pt x="44" y="11"/>
                        </a:lnTo>
                        <a:lnTo>
                          <a:pt x="43" y="17"/>
                        </a:lnTo>
                        <a:lnTo>
                          <a:pt x="43" y="22"/>
                        </a:lnTo>
                        <a:lnTo>
                          <a:pt x="48" y="30"/>
                        </a:lnTo>
                        <a:lnTo>
                          <a:pt x="50" y="33"/>
                        </a:lnTo>
                        <a:lnTo>
                          <a:pt x="54" y="34"/>
                        </a:lnTo>
                        <a:lnTo>
                          <a:pt x="57" y="39"/>
                        </a:lnTo>
                        <a:lnTo>
                          <a:pt x="57" y="43"/>
                        </a:lnTo>
                        <a:lnTo>
                          <a:pt x="55" y="48"/>
                        </a:lnTo>
                        <a:lnTo>
                          <a:pt x="57" y="63"/>
                        </a:lnTo>
                        <a:lnTo>
                          <a:pt x="59" y="88"/>
                        </a:lnTo>
                        <a:lnTo>
                          <a:pt x="55" y="97"/>
                        </a:lnTo>
                        <a:lnTo>
                          <a:pt x="52" y="100"/>
                        </a:lnTo>
                        <a:lnTo>
                          <a:pt x="48" y="106"/>
                        </a:lnTo>
                        <a:lnTo>
                          <a:pt x="47" y="109"/>
                        </a:lnTo>
                        <a:lnTo>
                          <a:pt x="47" y="113"/>
                        </a:lnTo>
                        <a:lnTo>
                          <a:pt x="55" y="128"/>
                        </a:lnTo>
                        <a:lnTo>
                          <a:pt x="59" y="144"/>
                        </a:lnTo>
                        <a:lnTo>
                          <a:pt x="60" y="144"/>
                        </a:lnTo>
                        <a:lnTo>
                          <a:pt x="60" y="152"/>
                        </a:lnTo>
                        <a:lnTo>
                          <a:pt x="63" y="159"/>
                        </a:lnTo>
                        <a:lnTo>
                          <a:pt x="64" y="162"/>
                        </a:lnTo>
                        <a:lnTo>
                          <a:pt x="69" y="166"/>
                        </a:lnTo>
                        <a:lnTo>
                          <a:pt x="70" y="169"/>
                        </a:lnTo>
                        <a:lnTo>
                          <a:pt x="70" y="170"/>
                        </a:lnTo>
                        <a:lnTo>
                          <a:pt x="69" y="176"/>
                        </a:lnTo>
                        <a:lnTo>
                          <a:pt x="69" y="179"/>
                        </a:lnTo>
                        <a:lnTo>
                          <a:pt x="69" y="182"/>
                        </a:lnTo>
                        <a:lnTo>
                          <a:pt x="70" y="186"/>
                        </a:lnTo>
                        <a:lnTo>
                          <a:pt x="72" y="186"/>
                        </a:lnTo>
                        <a:lnTo>
                          <a:pt x="75" y="186"/>
                        </a:lnTo>
                        <a:lnTo>
                          <a:pt x="78" y="186"/>
                        </a:lnTo>
                        <a:lnTo>
                          <a:pt x="81" y="180"/>
                        </a:lnTo>
                        <a:lnTo>
                          <a:pt x="82" y="180"/>
                        </a:lnTo>
                        <a:lnTo>
                          <a:pt x="85" y="186"/>
                        </a:lnTo>
                        <a:lnTo>
                          <a:pt x="88" y="186"/>
                        </a:lnTo>
                        <a:lnTo>
                          <a:pt x="92" y="192"/>
                        </a:lnTo>
                        <a:lnTo>
                          <a:pt x="93" y="193"/>
                        </a:lnTo>
                        <a:lnTo>
                          <a:pt x="95" y="192"/>
                        </a:lnTo>
                        <a:lnTo>
                          <a:pt x="95" y="188"/>
                        </a:lnTo>
                        <a:lnTo>
                          <a:pt x="88" y="172"/>
                        </a:lnTo>
                        <a:lnTo>
                          <a:pt x="86" y="170"/>
                        </a:lnTo>
                        <a:lnTo>
                          <a:pt x="82" y="169"/>
                        </a:lnTo>
                        <a:lnTo>
                          <a:pt x="81" y="167"/>
                        </a:lnTo>
                        <a:lnTo>
                          <a:pt x="81" y="164"/>
                        </a:lnTo>
                        <a:lnTo>
                          <a:pt x="81" y="159"/>
                        </a:lnTo>
                        <a:lnTo>
                          <a:pt x="86" y="165"/>
                        </a:lnTo>
                        <a:lnTo>
                          <a:pt x="92" y="170"/>
                        </a:lnTo>
                        <a:lnTo>
                          <a:pt x="103" y="182"/>
                        </a:lnTo>
                        <a:lnTo>
                          <a:pt x="108" y="189"/>
                        </a:lnTo>
                        <a:lnTo>
                          <a:pt x="118" y="198"/>
                        </a:lnTo>
                        <a:lnTo>
                          <a:pt x="121" y="203"/>
                        </a:lnTo>
                        <a:lnTo>
                          <a:pt x="123" y="212"/>
                        </a:lnTo>
                        <a:lnTo>
                          <a:pt x="121" y="217"/>
                        </a:lnTo>
                        <a:lnTo>
                          <a:pt x="118" y="223"/>
                        </a:lnTo>
                        <a:lnTo>
                          <a:pt x="121" y="232"/>
                        </a:lnTo>
                        <a:lnTo>
                          <a:pt x="118" y="238"/>
                        </a:lnTo>
                        <a:lnTo>
                          <a:pt x="118" y="253"/>
                        </a:lnTo>
                        <a:lnTo>
                          <a:pt x="117" y="256"/>
                        </a:lnTo>
                        <a:lnTo>
                          <a:pt x="112" y="258"/>
                        </a:lnTo>
                        <a:lnTo>
                          <a:pt x="107" y="259"/>
                        </a:lnTo>
                        <a:lnTo>
                          <a:pt x="98" y="263"/>
                        </a:lnTo>
                        <a:lnTo>
                          <a:pt x="96" y="266"/>
                        </a:lnTo>
                        <a:lnTo>
                          <a:pt x="96" y="269"/>
                        </a:lnTo>
                        <a:lnTo>
                          <a:pt x="95" y="273"/>
                        </a:lnTo>
                        <a:lnTo>
                          <a:pt x="95" y="278"/>
                        </a:lnTo>
                        <a:lnTo>
                          <a:pt x="96" y="280"/>
                        </a:lnTo>
                        <a:lnTo>
                          <a:pt x="100" y="284"/>
                        </a:lnTo>
                        <a:lnTo>
                          <a:pt x="98" y="288"/>
                        </a:lnTo>
                        <a:lnTo>
                          <a:pt x="100" y="295"/>
                        </a:lnTo>
                        <a:lnTo>
                          <a:pt x="98" y="295"/>
                        </a:lnTo>
                        <a:lnTo>
                          <a:pt x="90" y="295"/>
                        </a:lnTo>
                        <a:lnTo>
                          <a:pt x="89" y="294"/>
                        </a:lnTo>
                        <a:lnTo>
                          <a:pt x="92" y="289"/>
                        </a:lnTo>
                        <a:lnTo>
                          <a:pt x="92" y="287"/>
                        </a:lnTo>
                        <a:lnTo>
                          <a:pt x="89" y="284"/>
                        </a:lnTo>
                        <a:lnTo>
                          <a:pt x="85" y="282"/>
                        </a:lnTo>
                        <a:lnTo>
                          <a:pt x="82" y="281"/>
                        </a:lnTo>
                        <a:lnTo>
                          <a:pt x="79" y="277"/>
                        </a:lnTo>
                        <a:lnTo>
                          <a:pt x="72" y="271"/>
                        </a:lnTo>
                        <a:lnTo>
                          <a:pt x="70" y="268"/>
                        </a:lnTo>
                        <a:lnTo>
                          <a:pt x="69" y="266"/>
                        </a:lnTo>
                        <a:lnTo>
                          <a:pt x="66" y="263"/>
                        </a:lnTo>
                        <a:lnTo>
                          <a:pt x="62" y="253"/>
                        </a:lnTo>
                        <a:lnTo>
                          <a:pt x="60" y="251"/>
                        </a:lnTo>
                        <a:lnTo>
                          <a:pt x="62" y="243"/>
                        </a:lnTo>
                        <a:lnTo>
                          <a:pt x="66" y="240"/>
                        </a:lnTo>
                        <a:lnTo>
                          <a:pt x="65" y="234"/>
                        </a:lnTo>
                        <a:lnTo>
                          <a:pt x="70" y="230"/>
                        </a:lnTo>
                        <a:lnTo>
                          <a:pt x="72" y="225"/>
                        </a:lnTo>
                        <a:lnTo>
                          <a:pt x="70" y="213"/>
                        </a:lnTo>
                        <a:lnTo>
                          <a:pt x="70" y="206"/>
                        </a:lnTo>
                        <a:lnTo>
                          <a:pt x="67" y="199"/>
                        </a:lnTo>
                        <a:lnTo>
                          <a:pt x="65" y="195"/>
                        </a:lnTo>
                        <a:lnTo>
                          <a:pt x="63" y="195"/>
                        </a:lnTo>
                        <a:lnTo>
                          <a:pt x="41" y="196"/>
                        </a:lnTo>
                        <a:lnTo>
                          <a:pt x="35" y="199"/>
                        </a:lnTo>
                        <a:lnTo>
                          <a:pt x="33" y="198"/>
                        </a:lnTo>
                        <a:lnTo>
                          <a:pt x="26" y="191"/>
                        </a:lnTo>
                        <a:lnTo>
                          <a:pt x="21" y="180"/>
                        </a:lnTo>
                        <a:lnTo>
                          <a:pt x="17" y="179"/>
                        </a:lnTo>
                        <a:lnTo>
                          <a:pt x="16" y="177"/>
                        </a:lnTo>
                        <a:lnTo>
                          <a:pt x="15" y="176"/>
                        </a:lnTo>
                        <a:lnTo>
                          <a:pt x="14" y="175"/>
                        </a:lnTo>
                        <a:lnTo>
                          <a:pt x="7" y="175"/>
                        </a:lnTo>
                        <a:lnTo>
                          <a:pt x="5" y="170"/>
                        </a:lnTo>
                        <a:lnTo>
                          <a:pt x="0" y="170"/>
                        </a:lnTo>
                        <a:lnTo>
                          <a:pt x="0" y="164"/>
                        </a:lnTo>
                        <a:lnTo>
                          <a:pt x="0" y="162"/>
                        </a:lnTo>
                        <a:lnTo>
                          <a:pt x="5" y="155"/>
                        </a:lnTo>
                        <a:lnTo>
                          <a:pt x="9" y="147"/>
                        </a:lnTo>
                        <a:lnTo>
                          <a:pt x="11" y="136"/>
                        </a:lnTo>
                        <a:lnTo>
                          <a:pt x="12" y="126"/>
                        </a:lnTo>
                        <a:lnTo>
                          <a:pt x="12" y="125"/>
                        </a:lnTo>
                        <a:lnTo>
                          <a:pt x="17" y="124"/>
                        </a:lnTo>
                        <a:lnTo>
                          <a:pt x="21" y="122"/>
                        </a:lnTo>
                        <a:lnTo>
                          <a:pt x="27" y="121"/>
                        </a:lnTo>
                        <a:lnTo>
                          <a:pt x="28" y="118"/>
                        </a:lnTo>
                        <a:lnTo>
                          <a:pt x="27" y="114"/>
                        </a:lnTo>
                        <a:lnTo>
                          <a:pt x="24" y="113"/>
                        </a:lnTo>
                        <a:lnTo>
                          <a:pt x="21" y="109"/>
                        </a:lnTo>
                        <a:lnTo>
                          <a:pt x="21" y="107"/>
                        </a:lnTo>
                        <a:lnTo>
                          <a:pt x="21" y="97"/>
                        </a:lnTo>
                        <a:lnTo>
                          <a:pt x="21" y="87"/>
                        </a:lnTo>
                        <a:lnTo>
                          <a:pt x="21" y="81"/>
                        </a:lnTo>
                        <a:lnTo>
                          <a:pt x="25" y="70"/>
                        </a:lnTo>
                        <a:lnTo>
                          <a:pt x="24" y="63"/>
                        </a:lnTo>
                        <a:lnTo>
                          <a:pt x="25" y="58"/>
                        </a:lnTo>
                        <a:lnTo>
                          <a:pt x="27" y="55"/>
                        </a:lnTo>
                        <a:lnTo>
                          <a:pt x="30" y="55"/>
                        </a:lnTo>
                        <a:lnTo>
                          <a:pt x="35" y="52"/>
                        </a:lnTo>
                        <a:lnTo>
                          <a:pt x="35" y="49"/>
                        </a:lnTo>
                        <a:lnTo>
                          <a:pt x="35" y="45"/>
                        </a:lnTo>
                        <a:lnTo>
                          <a:pt x="32" y="43"/>
                        </a:lnTo>
                        <a:lnTo>
                          <a:pt x="30" y="30"/>
                        </a:lnTo>
                        <a:lnTo>
                          <a:pt x="26" y="25"/>
                        </a:lnTo>
                        <a:lnTo>
                          <a:pt x="24" y="19"/>
                        </a:lnTo>
                        <a:lnTo>
                          <a:pt x="21" y="15"/>
                        </a:lnTo>
                        <a:lnTo>
                          <a:pt x="18" y="10"/>
                        </a:lnTo>
                        <a:lnTo>
                          <a:pt x="11" y="10"/>
                        </a:lnTo>
                        <a:lnTo>
                          <a:pt x="11" y="5"/>
                        </a:lnTo>
                        <a:lnTo>
                          <a:pt x="9" y="4"/>
                        </a:lnTo>
                        <a:close/>
                      </a:path>
                    </a:pathLst>
                  </a:custGeom>
                  <a:solidFill>
                    <a:srgbClr val="DBE5F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7" name="Freeform 95"/>
                  <p:cNvSpPr>
                    <a:spLocks/>
                  </p:cNvSpPr>
                  <p:nvPr/>
                </p:nvSpPr>
                <p:spPr bwMode="auto">
                  <a:xfrm>
                    <a:off x="2637" y="2904"/>
                    <a:ext cx="131" cy="310"/>
                  </a:xfrm>
                  <a:custGeom>
                    <a:avLst/>
                    <a:gdLst>
                      <a:gd name="T0" fmla="*/ 611 w 123"/>
                      <a:gd name="T1" fmla="*/ 0 h 295"/>
                      <a:gd name="T2" fmla="*/ 1754 w 123"/>
                      <a:gd name="T3" fmla="*/ 8 h 295"/>
                      <a:gd name="T4" fmla="*/ 2603 w 123"/>
                      <a:gd name="T5" fmla="*/ 5 h 295"/>
                      <a:gd name="T6" fmla="*/ 2809 w 123"/>
                      <a:gd name="T7" fmla="*/ 316 h 295"/>
                      <a:gd name="T8" fmla="*/ 3091 w 123"/>
                      <a:gd name="T9" fmla="*/ 813 h 295"/>
                      <a:gd name="T10" fmla="*/ 3632 w 123"/>
                      <a:gd name="T11" fmla="*/ 1018 h 295"/>
                      <a:gd name="T12" fmla="*/ 3632 w 123"/>
                      <a:gd name="T13" fmla="*/ 1671 h 295"/>
                      <a:gd name="T14" fmla="*/ 3348 w 123"/>
                      <a:gd name="T15" fmla="*/ 2645 h 295"/>
                      <a:gd name="T16" fmla="*/ 2992 w 123"/>
                      <a:gd name="T17" fmla="*/ 2974 h 295"/>
                      <a:gd name="T18" fmla="*/ 3850 w 123"/>
                      <a:gd name="T19" fmla="*/ 3805 h 295"/>
                      <a:gd name="T20" fmla="*/ 4100 w 123"/>
                      <a:gd name="T21" fmla="*/ 4289 h 295"/>
                      <a:gd name="T22" fmla="*/ 4512 w 123"/>
                      <a:gd name="T23" fmla="*/ 4507 h 295"/>
                      <a:gd name="T24" fmla="*/ 4388 w 123"/>
                      <a:gd name="T25" fmla="*/ 4794 h 295"/>
                      <a:gd name="T26" fmla="*/ 4805 w 123"/>
                      <a:gd name="T27" fmla="*/ 4883 h 295"/>
                      <a:gd name="T28" fmla="*/ 5276 w 123"/>
                      <a:gd name="T29" fmla="*/ 4755 h 295"/>
                      <a:gd name="T30" fmla="*/ 5902 w 123"/>
                      <a:gd name="T31" fmla="*/ 5090 h 295"/>
                      <a:gd name="T32" fmla="*/ 6079 w 123"/>
                      <a:gd name="T33" fmla="*/ 4977 h 295"/>
                      <a:gd name="T34" fmla="*/ 5276 w 123"/>
                      <a:gd name="T35" fmla="*/ 4491 h 295"/>
                      <a:gd name="T36" fmla="*/ 5204 w 123"/>
                      <a:gd name="T37" fmla="*/ 4201 h 295"/>
                      <a:gd name="T38" fmla="*/ 6586 w 123"/>
                      <a:gd name="T39" fmla="*/ 4794 h 295"/>
                      <a:gd name="T40" fmla="*/ 7738 w 123"/>
                      <a:gd name="T41" fmla="*/ 5383 h 295"/>
                      <a:gd name="T42" fmla="*/ 7594 w 123"/>
                      <a:gd name="T43" fmla="*/ 5907 h 295"/>
                      <a:gd name="T44" fmla="*/ 7594 w 123"/>
                      <a:gd name="T45" fmla="*/ 6677 h 295"/>
                      <a:gd name="T46" fmla="*/ 6821 w 123"/>
                      <a:gd name="T47" fmla="*/ 6855 h 295"/>
                      <a:gd name="T48" fmla="*/ 6138 w 123"/>
                      <a:gd name="T49" fmla="*/ 7117 h 295"/>
                      <a:gd name="T50" fmla="*/ 6138 w 123"/>
                      <a:gd name="T51" fmla="*/ 7374 h 295"/>
                      <a:gd name="T52" fmla="*/ 6404 w 123"/>
                      <a:gd name="T53" fmla="*/ 7777 h 295"/>
                      <a:gd name="T54" fmla="*/ 5708 w 123"/>
                      <a:gd name="T55" fmla="*/ 7749 h 295"/>
                      <a:gd name="T56" fmla="*/ 5708 w 123"/>
                      <a:gd name="T57" fmla="*/ 7490 h 295"/>
                      <a:gd name="T58" fmla="*/ 5032 w 123"/>
                      <a:gd name="T59" fmla="*/ 7309 h 295"/>
                      <a:gd name="T60" fmla="*/ 4388 w 123"/>
                      <a:gd name="T61" fmla="*/ 7017 h 295"/>
                      <a:gd name="T62" fmla="*/ 3850 w 123"/>
                      <a:gd name="T63" fmla="*/ 6618 h 295"/>
                      <a:gd name="T64" fmla="*/ 4120 w 123"/>
                      <a:gd name="T65" fmla="*/ 6207 h 295"/>
                      <a:gd name="T66" fmla="*/ 4512 w 123"/>
                      <a:gd name="T67" fmla="*/ 5657 h 295"/>
                      <a:gd name="T68" fmla="*/ 4120 w 123"/>
                      <a:gd name="T69" fmla="*/ 5131 h 295"/>
                      <a:gd name="T70" fmla="*/ 2256 w 123"/>
                      <a:gd name="T71" fmla="*/ 5251 h 295"/>
                      <a:gd name="T72" fmla="*/ 1301 w 123"/>
                      <a:gd name="T73" fmla="*/ 4755 h 295"/>
                      <a:gd name="T74" fmla="*/ 891 w 123"/>
                      <a:gd name="T75" fmla="*/ 4644 h 295"/>
                      <a:gd name="T76" fmla="*/ 5 w 123"/>
                      <a:gd name="T77" fmla="*/ 4507 h 295"/>
                      <a:gd name="T78" fmla="*/ 0 w 123"/>
                      <a:gd name="T79" fmla="*/ 4289 h 295"/>
                      <a:gd name="T80" fmla="*/ 693 w 123"/>
                      <a:gd name="T81" fmla="*/ 3598 h 295"/>
                      <a:gd name="T82" fmla="*/ 1011 w 123"/>
                      <a:gd name="T83" fmla="*/ 3279 h 295"/>
                      <a:gd name="T84" fmla="*/ 1783 w 123"/>
                      <a:gd name="T85" fmla="*/ 3120 h 295"/>
                      <a:gd name="T86" fmla="*/ 1301 w 123"/>
                      <a:gd name="T87" fmla="*/ 2884 h 295"/>
                      <a:gd name="T88" fmla="*/ 1301 w 123"/>
                      <a:gd name="T89" fmla="*/ 2302 h 295"/>
                      <a:gd name="T90" fmla="*/ 1572 w 123"/>
                      <a:gd name="T91" fmla="*/ 1671 h 295"/>
                      <a:gd name="T92" fmla="*/ 1899 w 123"/>
                      <a:gd name="T93" fmla="*/ 1459 h 295"/>
                      <a:gd name="T94" fmla="*/ 2256 w 123"/>
                      <a:gd name="T95" fmla="*/ 1181 h 295"/>
                      <a:gd name="T96" fmla="*/ 1674 w 123"/>
                      <a:gd name="T97" fmla="*/ 635 h 295"/>
                      <a:gd name="T98" fmla="*/ 1077 w 123"/>
                      <a:gd name="T99" fmla="*/ 301 h 295"/>
                      <a:gd name="T100" fmla="*/ 611 w 123"/>
                      <a:gd name="T101" fmla="*/ 4 h 295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123"/>
                      <a:gd name="T154" fmla="*/ 0 h 295"/>
                      <a:gd name="T155" fmla="*/ 123 w 123"/>
                      <a:gd name="T156" fmla="*/ 295 h 295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123" h="295">
                        <a:moveTo>
                          <a:pt x="9" y="4"/>
                        </a:moveTo>
                        <a:lnTo>
                          <a:pt x="9" y="1"/>
                        </a:lnTo>
                        <a:lnTo>
                          <a:pt x="9" y="0"/>
                        </a:lnTo>
                        <a:lnTo>
                          <a:pt x="17" y="4"/>
                        </a:lnTo>
                        <a:lnTo>
                          <a:pt x="25" y="4"/>
                        </a:lnTo>
                        <a:lnTo>
                          <a:pt x="27" y="8"/>
                        </a:lnTo>
                        <a:lnTo>
                          <a:pt x="28" y="8"/>
                        </a:lnTo>
                        <a:lnTo>
                          <a:pt x="37" y="5"/>
                        </a:lnTo>
                        <a:lnTo>
                          <a:pt x="40" y="5"/>
                        </a:lnTo>
                        <a:lnTo>
                          <a:pt x="42" y="8"/>
                        </a:lnTo>
                        <a:lnTo>
                          <a:pt x="43" y="8"/>
                        </a:lnTo>
                        <a:lnTo>
                          <a:pt x="44" y="11"/>
                        </a:lnTo>
                        <a:lnTo>
                          <a:pt x="43" y="17"/>
                        </a:lnTo>
                        <a:lnTo>
                          <a:pt x="43" y="22"/>
                        </a:lnTo>
                        <a:lnTo>
                          <a:pt x="48" y="30"/>
                        </a:lnTo>
                        <a:lnTo>
                          <a:pt x="50" y="33"/>
                        </a:lnTo>
                        <a:lnTo>
                          <a:pt x="54" y="34"/>
                        </a:lnTo>
                        <a:lnTo>
                          <a:pt x="57" y="39"/>
                        </a:lnTo>
                        <a:lnTo>
                          <a:pt x="57" y="43"/>
                        </a:lnTo>
                        <a:lnTo>
                          <a:pt x="55" y="48"/>
                        </a:lnTo>
                        <a:lnTo>
                          <a:pt x="57" y="63"/>
                        </a:lnTo>
                        <a:lnTo>
                          <a:pt x="59" y="88"/>
                        </a:lnTo>
                        <a:lnTo>
                          <a:pt x="55" y="97"/>
                        </a:lnTo>
                        <a:lnTo>
                          <a:pt x="52" y="100"/>
                        </a:lnTo>
                        <a:lnTo>
                          <a:pt x="48" y="106"/>
                        </a:lnTo>
                        <a:lnTo>
                          <a:pt x="47" y="109"/>
                        </a:lnTo>
                        <a:lnTo>
                          <a:pt x="47" y="113"/>
                        </a:lnTo>
                        <a:lnTo>
                          <a:pt x="55" y="128"/>
                        </a:lnTo>
                        <a:lnTo>
                          <a:pt x="59" y="144"/>
                        </a:lnTo>
                        <a:lnTo>
                          <a:pt x="60" y="144"/>
                        </a:lnTo>
                        <a:lnTo>
                          <a:pt x="60" y="152"/>
                        </a:lnTo>
                        <a:lnTo>
                          <a:pt x="63" y="159"/>
                        </a:lnTo>
                        <a:lnTo>
                          <a:pt x="64" y="162"/>
                        </a:lnTo>
                        <a:lnTo>
                          <a:pt x="69" y="166"/>
                        </a:lnTo>
                        <a:lnTo>
                          <a:pt x="70" y="169"/>
                        </a:lnTo>
                        <a:lnTo>
                          <a:pt x="70" y="170"/>
                        </a:lnTo>
                        <a:lnTo>
                          <a:pt x="69" y="176"/>
                        </a:lnTo>
                        <a:lnTo>
                          <a:pt x="69" y="179"/>
                        </a:lnTo>
                        <a:lnTo>
                          <a:pt x="69" y="182"/>
                        </a:lnTo>
                        <a:lnTo>
                          <a:pt x="70" y="186"/>
                        </a:lnTo>
                        <a:lnTo>
                          <a:pt x="72" y="186"/>
                        </a:lnTo>
                        <a:lnTo>
                          <a:pt x="75" y="186"/>
                        </a:lnTo>
                        <a:lnTo>
                          <a:pt x="78" y="186"/>
                        </a:lnTo>
                        <a:lnTo>
                          <a:pt x="81" y="180"/>
                        </a:lnTo>
                        <a:lnTo>
                          <a:pt x="82" y="180"/>
                        </a:lnTo>
                        <a:lnTo>
                          <a:pt x="85" y="186"/>
                        </a:lnTo>
                        <a:lnTo>
                          <a:pt x="88" y="186"/>
                        </a:lnTo>
                        <a:lnTo>
                          <a:pt x="92" y="192"/>
                        </a:lnTo>
                        <a:lnTo>
                          <a:pt x="93" y="193"/>
                        </a:lnTo>
                        <a:lnTo>
                          <a:pt x="95" y="192"/>
                        </a:lnTo>
                        <a:lnTo>
                          <a:pt x="95" y="188"/>
                        </a:lnTo>
                        <a:lnTo>
                          <a:pt x="88" y="172"/>
                        </a:lnTo>
                        <a:lnTo>
                          <a:pt x="86" y="170"/>
                        </a:lnTo>
                        <a:lnTo>
                          <a:pt x="82" y="169"/>
                        </a:lnTo>
                        <a:lnTo>
                          <a:pt x="81" y="167"/>
                        </a:lnTo>
                        <a:lnTo>
                          <a:pt x="81" y="164"/>
                        </a:lnTo>
                        <a:lnTo>
                          <a:pt x="81" y="159"/>
                        </a:lnTo>
                        <a:lnTo>
                          <a:pt x="86" y="165"/>
                        </a:lnTo>
                        <a:lnTo>
                          <a:pt x="92" y="170"/>
                        </a:lnTo>
                        <a:lnTo>
                          <a:pt x="103" y="182"/>
                        </a:lnTo>
                        <a:lnTo>
                          <a:pt x="108" y="189"/>
                        </a:lnTo>
                        <a:lnTo>
                          <a:pt x="118" y="198"/>
                        </a:lnTo>
                        <a:lnTo>
                          <a:pt x="121" y="203"/>
                        </a:lnTo>
                        <a:lnTo>
                          <a:pt x="123" y="212"/>
                        </a:lnTo>
                        <a:lnTo>
                          <a:pt x="121" y="217"/>
                        </a:lnTo>
                        <a:lnTo>
                          <a:pt x="118" y="223"/>
                        </a:lnTo>
                        <a:lnTo>
                          <a:pt x="121" y="232"/>
                        </a:lnTo>
                        <a:lnTo>
                          <a:pt x="118" y="238"/>
                        </a:lnTo>
                        <a:lnTo>
                          <a:pt x="118" y="253"/>
                        </a:lnTo>
                        <a:lnTo>
                          <a:pt x="117" y="256"/>
                        </a:lnTo>
                        <a:lnTo>
                          <a:pt x="112" y="258"/>
                        </a:lnTo>
                        <a:lnTo>
                          <a:pt x="107" y="259"/>
                        </a:lnTo>
                        <a:lnTo>
                          <a:pt x="98" y="263"/>
                        </a:lnTo>
                        <a:lnTo>
                          <a:pt x="96" y="266"/>
                        </a:lnTo>
                        <a:lnTo>
                          <a:pt x="96" y="269"/>
                        </a:lnTo>
                        <a:lnTo>
                          <a:pt x="95" y="273"/>
                        </a:lnTo>
                        <a:lnTo>
                          <a:pt x="95" y="278"/>
                        </a:lnTo>
                        <a:lnTo>
                          <a:pt x="96" y="280"/>
                        </a:lnTo>
                        <a:lnTo>
                          <a:pt x="100" y="284"/>
                        </a:lnTo>
                        <a:lnTo>
                          <a:pt x="98" y="288"/>
                        </a:lnTo>
                        <a:lnTo>
                          <a:pt x="100" y="295"/>
                        </a:lnTo>
                        <a:lnTo>
                          <a:pt x="98" y="295"/>
                        </a:lnTo>
                        <a:lnTo>
                          <a:pt x="90" y="295"/>
                        </a:lnTo>
                        <a:lnTo>
                          <a:pt x="89" y="294"/>
                        </a:lnTo>
                        <a:lnTo>
                          <a:pt x="92" y="289"/>
                        </a:lnTo>
                        <a:lnTo>
                          <a:pt x="92" y="287"/>
                        </a:lnTo>
                        <a:lnTo>
                          <a:pt x="89" y="284"/>
                        </a:lnTo>
                        <a:lnTo>
                          <a:pt x="85" y="282"/>
                        </a:lnTo>
                        <a:lnTo>
                          <a:pt x="82" y="281"/>
                        </a:lnTo>
                        <a:lnTo>
                          <a:pt x="79" y="277"/>
                        </a:lnTo>
                        <a:lnTo>
                          <a:pt x="72" y="271"/>
                        </a:lnTo>
                        <a:lnTo>
                          <a:pt x="70" y="268"/>
                        </a:lnTo>
                        <a:lnTo>
                          <a:pt x="69" y="266"/>
                        </a:lnTo>
                        <a:lnTo>
                          <a:pt x="66" y="263"/>
                        </a:lnTo>
                        <a:lnTo>
                          <a:pt x="62" y="253"/>
                        </a:lnTo>
                        <a:lnTo>
                          <a:pt x="60" y="251"/>
                        </a:lnTo>
                        <a:lnTo>
                          <a:pt x="62" y="243"/>
                        </a:lnTo>
                        <a:lnTo>
                          <a:pt x="66" y="240"/>
                        </a:lnTo>
                        <a:lnTo>
                          <a:pt x="65" y="234"/>
                        </a:lnTo>
                        <a:lnTo>
                          <a:pt x="70" y="230"/>
                        </a:lnTo>
                        <a:lnTo>
                          <a:pt x="72" y="225"/>
                        </a:lnTo>
                        <a:lnTo>
                          <a:pt x="70" y="213"/>
                        </a:lnTo>
                        <a:lnTo>
                          <a:pt x="70" y="206"/>
                        </a:lnTo>
                        <a:lnTo>
                          <a:pt x="67" y="199"/>
                        </a:lnTo>
                        <a:lnTo>
                          <a:pt x="65" y="195"/>
                        </a:lnTo>
                        <a:lnTo>
                          <a:pt x="63" y="195"/>
                        </a:lnTo>
                        <a:lnTo>
                          <a:pt x="41" y="196"/>
                        </a:lnTo>
                        <a:lnTo>
                          <a:pt x="35" y="199"/>
                        </a:lnTo>
                        <a:lnTo>
                          <a:pt x="33" y="198"/>
                        </a:lnTo>
                        <a:lnTo>
                          <a:pt x="26" y="191"/>
                        </a:lnTo>
                        <a:lnTo>
                          <a:pt x="21" y="180"/>
                        </a:lnTo>
                        <a:lnTo>
                          <a:pt x="17" y="179"/>
                        </a:lnTo>
                        <a:lnTo>
                          <a:pt x="16" y="177"/>
                        </a:lnTo>
                        <a:lnTo>
                          <a:pt x="15" y="176"/>
                        </a:lnTo>
                        <a:lnTo>
                          <a:pt x="14" y="175"/>
                        </a:lnTo>
                        <a:lnTo>
                          <a:pt x="7" y="175"/>
                        </a:lnTo>
                        <a:lnTo>
                          <a:pt x="5" y="170"/>
                        </a:lnTo>
                        <a:lnTo>
                          <a:pt x="0" y="170"/>
                        </a:lnTo>
                        <a:lnTo>
                          <a:pt x="0" y="164"/>
                        </a:lnTo>
                        <a:lnTo>
                          <a:pt x="0" y="162"/>
                        </a:lnTo>
                        <a:lnTo>
                          <a:pt x="5" y="155"/>
                        </a:lnTo>
                        <a:lnTo>
                          <a:pt x="9" y="147"/>
                        </a:lnTo>
                        <a:lnTo>
                          <a:pt x="11" y="136"/>
                        </a:lnTo>
                        <a:lnTo>
                          <a:pt x="12" y="126"/>
                        </a:lnTo>
                        <a:lnTo>
                          <a:pt x="12" y="125"/>
                        </a:lnTo>
                        <a:lnTo>
                          <a:pt x="17" y="124"/>
                        </a:lnTo>
                        <a:lnTo>
                          <a:pt x="21" y="122"/>
                        </a:lnTo>
                        <a:lnTo>
                          <a:pt x="27" y="121"/>
                        </a:lnTo>
                        <a:lnTo>
                          <a:pt x="28" y="118"/>
                        </a:lnTo>
                        <a:lnTo>
                          <a:pt x="27" y="114"/>
                        </a:lnTo>
                        <a:lnTo>
                          <a:pt x="24" y="113"/>
                        </a:lnTo>
                        <a:lnTo>
                          <a:pt x="21" y="109"/>
                        </a:lnTo>
                        <a:lnTo>
                          <a:pt x="21" y="107"/>
                        </a:lnTo>
                        <a:lnTo>
                          <a:pt x="21" y="97"/>
                        </a:lnTo>
                        <a:lnTo>
                          <a:pt x="21" y="87"/>
                        </a:lnTo>
                        <a:lnTo>
                          <a:pt x="21" y="81"/>
                        </a:lnTo>
                        <a:lnTo>
                          <a:pt x="25" y="70"/>
                        </a:lnTo>
                        <a:lnTo>
                          <a:pt x="24" y="63"/>
                        </a:lnTo>
                        <a:lnTo>
                          <a:pt x="25" y="58"/>
                        </a:lnTo>
                        <a:lnTo>
                          <a:pt x="27" y="55"/>
                        </a:lnTo>
                        <a:lnTo>
                          <a:pt x="30" y="55"/>
                        </a:lnTo>
                        <a:lnTo>
                          <a:pt x="35" y="52"/>
                        </a:lnTo>
                        <a:lnTo>
                          <a:pt x="35" y="49"/>
                        </a:lnTo>
                        <a:lnTo>
                          <a:pt x="35" y="45"/>
                        </a:lnTo>
                        <a:lnTo>
                          <a:pt x="32" y="43"/>
                        </a:lnTo>
                        <a:lnTo>
                          <a:pt x="30" y="30"/>
                        </a:lnTo>
                        <a:lnTo>
                          <a:pt x="26" y="25"/>
                        </a:lnTo>
                        <a:lnTo>
                          <a:pt x="24" y="19"/>
                        </a:lnTo>
                        <a:lnTo>
                          <a:pt x="21" y="15"/>
                        </a:lnTo>
                        <a:lnTo>
                          <a:pt x="18" y="10"/>
                        </a:lnTo>
                        <a:lnTo>
                          <a:pt x="11" y="10"/>
                        </a:lnTo>
                        <a:lnTo>
                          <a:pt x="11" y="5"/>
                        </a:lnTo>
                        <a:lnTo>
                          <a:pt x="9" y="4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8001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8" name="Freeform 96"/>
                  <p:cNvSpPr>
                    <a:spLocks/>
                  </p:cNvSpPr>
                  <p:nvPr/>
                </p:nvSpPr>
                <p:spPr bwMode="auto">
                  <a:xfrm>
                    <a:off x="2522" y="2950"/>
                    <a:ext cx="442" cy="657"/>
                  </a:xfrm>
                  <a:custGeom>
                    <a:avLst/>
                    <a:gdLst>
                      <a:gd name="T0" fmla="*/ 35986 w 413"/>
                      <a:gd name="T1" fmla="*/ 0 h 625"/>
                      <a:gd name="T2" fmla="*/ 36445 w 413"/>
                      <a:gd name="T3" fmla="*/ 449 h 625"/>
                      <a:gd name="T4" fmla="*/ 35023 w 413"/>
                      <a:gd name="T5" fmla="*/ 1280 h 625"/>
                      <a:gd name="T6" fmla="*/ 35023 w 413"/>
                      <a:gd name="T7" fmla="*/ 2450 h 625"/>
                      <a:gd name="T8" fmla="*/ 35487 w 413"/>
                      <a:gd name="T9" fmla="*/ 3653 h 625"/>
                      <a:gd name="T10" fmla="*/ 35986 w 413"/>
                      <a:gd name="T11" fmla="*/ 3935 h 625"/>
                      <a:gd name="T12" fmla="*/ 36445 w 413"/>
                      <a:gd name="T13" fmla="*/ 4343 h 625"/>
                      <a:gd name="T14" fmla="*/ 35676 w 413"/>
                      <a:gd name="T15" fmla="*/ 4929 h 625"/>
                      <a:gd name="T16" fmla="*/ 34054 w 413"/>
                      <a:gd name="T17" fmla="*/ 5659 h 625"/>
                      <a:gd name="T18" fmla="*/ 32689 w 413"/>
                      <a:gd name="T19" fmla="*/ 6172 h 625"/>
                      <a:gd name="T20" fmla="*/ 30466 w 413"/>
                      <a:gd name="T21" fmla="*/ 6798 h 625"/>
                      <a:gd name="T22" fmla="*/ 24945 w 413"/>
                      <a:gd name="T23" fmla="*/ 7348 h 625"/>
                      <a:gd name="T24" fmla="*/ 22311 w 413"/>
                      <a:gd name="T25" fmla="*/ 8050 h 625"/>
                      <a:gd name="T26" fmla="*/ 20911 w 413"/>
                      <a:gd name="T27" fmla="*/ 8726 h 625"/>
                      <a:gd name="T28" fmla="*/ 19539 w 413"/>
                      <a:gd name="T29" fmla="*/ 8895 h 625"/>
                      <a:gd name="T30" fmla="*/ 16355 w 413"/>
                      <a:gd name="T31" fmla="*/ 9668 h 625"/>
                      <a:gd name="T32" fmla="*/ 16539 w 413"/>
                      <a:gd name="T33" fmla="*/ 10682 h 625"/>
                      <a:gd name="T34" fmla="*/ 17199 w 413"/>
                      <a:gd name="T35" fmla="*/ 11079 h 625"/>
                      <a:gd name="T36" fmla="*/ 18201 w 413"/>
                      <a:gd name="T37" fmla="*/ 12096 h 625"/>
                      <a:gd name="T38" fmla="*/ 17426 w 413"/>
                      <a:gd name="T39" fmla="*/ 14050 h 625"/>
                      <a:gd name="T40" fmla="*/ 18411 w 413"/>
                      <a:gd name="T41" fmla="*/ 13942 h 625"/>
                      <a:gd name="T42" fmla="*/ 16143 w 413"/>
                      <a:gd name="T43" fmla="*/ 14865 h 625"/>
                      <a:gd name="T44" fmla="*/ 11447 w 413"/>
                      <a:gd name="T45" fmla="*/ 15363 h 625"/>
                      <a:gd name="T46" fmla="*/ 9340 w 413"/>
                      <a:gd name="T47" fmla="*/ 15706 h 625"/>
                      <a:gd name="T48" fmla="*/ 8727 w 413"/>
                      <a:gd name="T49" fmla="*/ 16270 h 625"/>
                      <a:gd name="T50" fmla="*/ 9504 w 413"/>
                      <a:gd name="T51" fmla="*/ 16856 h 625"/>
                      <a:gd name="T52" fmla="*/ 6769 w 413"/>
                      <a:gd name="T53" fmla="*/ 16014 h 625"/>
                      <a:gd name="T54" fmla="*/ 5160 w 413"/>
                      <a:gd name="T55" fmla="*/ 13011 h 625"/>
                      <a:gd name="T56" fmla="*/ 5426 w 413"/>
                      <a:gd name="T57" fmla="*/ 12096 h 625"/>
                      <a:gd name="T58" fmla="*/ 8153 w 413"/>
                      <a:gd name="T59" fmla="*/ 10998 h 625"/>
                      <a:gd name="T60" fmla="*/ 9003 w 413"/>
                      <a:gd name="T61" fmla="*/ 9073 h 625"/>
                      <a:gd name="T62" fmla="*/ 9996 w 413"/>
                      <a:gd name="T63" fmla="*/ 8087 h 625"/>
                      <a:gd name="T64" fmla="*/ 9504 w 413"/>
                      <a:gd name="T65" fmla="*/ 6650 h 625"/>
                      <a:gd name="T66" fmla="*/ 5160 w 413"/>
                      <a:gd name="T67" fmla="*/ 5742 h 625"/>
                      <a:gd name="T68" fmla="*/ 885 w 413"/>
                      <a:gd name="T69" fmla="*/ 5659 h 625"/>
                      <a:gd name="T70" fmla="*/ 0 w 413"/>
                      <a:gd name="T71" fmla="*/ 4689 h 625"/>
                      <a:gd name="T72" fmla="*/ 11202 w 413"/>
                      <a:gd name="T73" fmla="*/ 3739 h 625"/>
                      <a:gd name="T74" fmla="*/ 13111 w 413"/>
                      <a:gd name="T75" fmla="*/ 4136 h 625"/>
                      <a:gd name="T76" fmla="*/ 15456 w 413"/>
                      <a:gd name="T77" fmla="*/ 4422 h 625"/>
                      <a:gd name="T78" fmla="*/ 15104 w 413"/>
                      <a:gd name="T79" fmla="*/ 5175 h 625"/>
                      <a:gd name="T80" fmla="*/ 15017 w 413"/>
                      <a:gd name="T81" fmla="*/ 5659 h 625"/>
                      <a:gd name="T82" fmla="*/ 15512 w 413"/>
                      <a:gd name="T83" fmla="*/ 6160 h 625"/>
                      <a:gd name="T84" fmla="*/ 17277 w 413"/>
                      <a:gd name="T85" fmla="*/ 6484 h 625"/>
                      <a:gd name="T86" fmla="*/ 17300 w 413"/>
                      <a:gd name="T87" fmla="*/ 6807 h 625"/>
                      <a:gd name="T88" fmla="*/ 18201 w 413"/>
                      <a:gd name="T89" fmla="*/ 6484 h 625"/>
                      <a:gd name="T90" fmla="*/ 17767 w 413"/>
                      <a:gd name="T91" fmla="*/ 6083 h 625"/>
                      <a:gd name="T92" fmla="*/ 19123 w 413"/>
                      <a:gd name="T93" fmla="*/ 5788 h 625"/>
                      <a:gd name="T94" fmla="*/ 19960 w 413"/>
                      <a:gd name="T95" fmla="*/ 5121 h 625"/>
                      <a:gd name="T96" fmla="*/ 19960 w 413"/>
                      <a:gd name="T97" fmla="*/ 4343 h 625"/>
                      <a:gd name="T98" fmla="*/ 17426 w 413"/>
                      <a:gd name="T99" fmla="*/ 3446 h 625"/>
                      <a:gd name="T100" fmla="*/ 16283 w 413"/>
                      <a:gd name="T101" fmla="*/ 2707 h 625"/>
                      <a:gd name="T102" fmla="*/ 16143 w 413"/>
                      <a:gd name="T103" fmla="*/ 2004 h 625"/>
                      <a:gd name="T104" fmla="*/ 19479 w 413"/>
                      <a:gd name="T105" fmla="*/ 1049 h 625"/>
                      <a:gd name="T106" fmla="*/ 20911 w 413"/>
                      <a:gd name="T107" fmla="*/ 997 h 625"/>
                      <a:gd name="T108" fmla="*/ 22379 w 413"/>
                      <a:gd name="T109" fmla="*/ 1158 h 625"/>
                      <a:gd name="T110" fmla="*/ 25995 w 413"/>
                      <a:gd name="T111" fmla="*/ 1049 h 625"/>
                      <a:gd name="T112" fmla="*/ 28467 w 413"/>
                      <a:gd name="T113" fmla="*/ 703 h 625"/>
                      <a:gd name="T114" fmla="*/ 32603 w 413"/>
                      <a:gd name="T115" fmla="*/ 548 h 62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413"/>
                      <a:gd name="T175" fmla="*/ 0 h 625"/>
                      <a:gd name="T176" fmla="*/ 413 w 413"/>
                      <a:gd name="T177" fmla="*/ 625 h 62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413" h="625">
                        <a:moveTo>
                          <a:pt x="386" y="16"/>
                        </a:moveTo>
                        <a:lnTo>
                          <a:pt x="396" y="7"/>
                        </a:lnTo>
                        <a:lnTo>
                          <a:pt x="406" y="1"/>
                        </a:lnTo>
                        <a:lnTo>
                          <a:pt x="408" y="0"/>
                        </a:lnTo>
                        <a:lnTo>
                          <a:pt x="411" y="1"/>
                        </a:lnTo>
                        <a:lnTo>
                          <a:pt x="413" y="6"/>
                        </a:lnTo>
                        <a:lnTo>
                          <a:pt x="411" y="6"/>
                        </a:lnTo>
                        <a:lnTo>
                          <a:pt x="413" y="18"/>
                        </a:lnTo>
                        <a:lnTo>
                          <a:pt x="409" y="22"/>
                        </a:lnTo>
                        <a:lnTo>
                          <a:pt x="406" y="28"/>
                        </a:lnTo>
                        <a:lnTo>
                          <a:pt x="402" y="38"/>
                        </a:lnTo>
                        <a:lnTo>
                          <a:pt x="398" y="48"/>
                        </a:lnTo>
                        <a:lnTo>
                          <a:pt x="399" y="64"/>
                        </a:lnTo>
                        <a:lnTo>
                          <a:pt x="402" y="78"/>
                        </a:lnTo>
                        <a:lnTo>
                          <a:pt x="402" y="88"/>
                        </a:lnTo>
                        <a:lnTo>
                          <a:pt x="398" y="91"/>
                        </a:lnTo>
                        <a:lnTo>
                          <a:pt x="399" y="98"/>
                        </a:lnTo>
                        <a:lnTo>
                          <a:pt x="402" y="98"/>
                        </a:lnTo>
                        <a:lnTo>
                          <a:pt x="401" y="122"/>
                        </a:lnTo>
                        <a:lnTo>
                          <a:pt x="402" y="136"/>
                        </a:lnTo>
                        <a:lnTo>
                          <a:pt x="401" y="142"/>
                        </a:lnTo>
                        <a:lnTo>
                          <a:pt x="404" y="143"/>
                        </a:lnTo>
                        <a:lnTo>
                          <a:pt x="406" y="142"/>
                        </a:lnTo>
                        <a:lnTo>
                          <a:pt x="408" y="146"/>
                        </a:lnTo>
                        <a:lnTo>
                          <a:pt x="405" y="152"/>
                        </a:lnTo>
                        <a:lnTo>
                          <a:pt x="408" y="152"/>
                        </a:lnTo>
                        <a:lnTo>
                          <a:pt x="413" y="153"/>
                        </a:lnTo>
                        <a:lnTo>
                          <a:pt x="413" y="160"/>
                        </a:lnTo>
                        <a:lnTo>
                          <a:pt x="408" y="167"/>
                        </a:lnTo>
                        <a:lnTo>
                          <a:pt x="405" y="173"/>
                        </a:lnTo>
                        <a:lnTo>
                          <a:pt x="399" y="180"/>
                        </a:lnTo>
                        <a:lnTo>
                          <a:pt x="405" y="183"/>
                        </a:lnTo>
                        <a:lnTo>
                          <a:pt x="404" y="188"/>
                        </a:lnTo>
                        <a:lnTo>
                          <a:pt x="402" y="193"/>
                        </a:lnTo>
                        <a:lnTo>
                          <a:pt x="397" y="196"/>
                        </a:lnTo>
                        <a:lnTo>
                          <a:pt x="386" y="209"/>
                        </a:lnTo>
                        <a:lnTo>
                          <a:pt x="382" y="215"/>
                        </a:lnTo>
                        <a:lnTo>
                          <a:pt x="371" y="221"/>
                        </a:lnTo>
                        <a:lnTo>
                          <a:pt x="375" y="225"/>
                        </a:lnTo>
                        <a:lnTo>
                          <a:pt x="371" y="230"/>
                        </a:lnTo>
                        <a:lnTo>
                          <a:pt x="364" y="235"/>
                        </a:lnTo>
                        <a:lnTo>
                          <a:pt x="356" y="241"/>
                        </a:lnTo>
                        <a:lnTo>
                          <a:pt x="348" y="242"/>
                        </a:lnTo>
                        <a:lnTo>
                          <a:pt x="345" y="251"/>
                        </a:lnTo>
                        <a:lnTo>
                          <a:pt x="335" y="256"/>
                        </a:lnTo>
                        <a:lnTo>
                          <a:pt x="323" y="256"/>
                        </a:lnTo>
                        <a:lnTo>
                          <a:pt x="315" y="259"/>
                        </a:lnTo>
                        <a:lnTo>
                          <a:pt x="284" y="272"/>
                        </a:lnTo>
                        <a:lnTo>
                          <a:pt x="264" y="287"/>
                        </a:lnTo>
                        <a:lnTo>
                          <a:pt x="262" y="293"/>
                        </a:lnTo>
                        <a:lnTo>
                          <a:pt x="258" y="297"/>
                        </a:lnTo>
                        <a:lnTo>
                          <a:pt x="252" y="297"/>
                        </a:lnTo>
                        <a:lnTo>
                          <a:pt x="251" y="298"/>
                        </a:lnTo>
                        <a:lnTo>
                          <a:pt x="254" y="301"/>
                        </a:lnTo>
                        <a:lnTo>
                          <a:pt x="242" y="314"/>
                        </a:lnTo>
                        <a:lnTo>
                          <a:pt x="237" y="323"/>
                        </a:lnTo>
                        <a:lnTo>
                          <a:pt x="234" y="321"/>
                        </a:lnTo>
                        <a:lnTo>
                          <a:pt x="232" y="314"/>
                        </a:lnTo>
                        <a:lnTo>
                          <a:pt x="227" y="325"/>
                        </a:lnTo>
                        <a:lnTo>
                          <a:pt x="221" y="328"/>
                        </a:lnTo>
                        <a:lnTo>
                          <a:pt x="213" y="335"/>
                        </a:lnTo>
                        <a:lnTo>
                          <a:pt x="201" y="348"/>
                        </a:lnTo>
                        <a:lnTo>
                          <a:pt x="192" y="354"/>
                        </a:lnTo>
                        <a:lnTo>
                          <a:pt x="186" y="360"/>
                        </a:lnTo>
                        <a:lnTo>
                          <a:pt x="179" y="362"/>
                        </a:lnTo>
                        <a:lnTo>
                          <a:pt x="177" y="382"/>
                        </a:lnTo>
                        <a:lnTo>
                          <a:pt x="178" y="389"/>
                        </a:lnTo>
                        <a:lnTo>
                          <a:pt x="187" y="396"/>
                        </a:lnTo>
                        <a:lnTo>
                          <a:pt x="191" y="400"/>
                        </a:lnTo>
                        <a:lnTo>
                          <a:pt x="191" y="405"/>
                        </a:lnTo>
                        <a:lnTo>
                          <a:pt x="192" y="407"/>
                        </a:lnTo>
                        <a:lnTo>
                          <a:pt x="193" y="412"/>
                        </a:lnTo>
                        <a:lnTo>
                          <a:pt x="201" y="434"/>
                        </a:lnTo>
                        <a:lnTo>
                          <a:pt x="202" y="448"/>
                        </a:lnTo>
                        <a:lnTo>
                          <a:pt x="203" y="451"/>
                        </a:lnTo>
                        <a:lnTo>
                          <a:pt x="206" y="448"/>
                        </a:lnTo>
                        <a:lnTo>
                          <a:pt x="209" y="449"/>
                        </a:lnTo>
                        <a:lnTo>
                          <a:pt x="209" y="465"/>
                        </a:lnTo>
                        <a:lnTo>
                          <a:pt x="208" y="489"/>
                        </a:lnTo>
                        <a:lnTo>
                          <a:pt x="198" y="520"/>
                        </a:lnTo>
                        <a:lnTo>
                          <a:pt x="199" y="527"/>
                        </a:lnTo>
                        <a:lnTo>
                          <a:pt x="202" y="520"/>
                        </a:lnTo>
                        <a:lnTo>
                          <a:pt x="208" y="515"/>
                        </a:lnTo>
                        <a:lnTo>
                          <a:pt x="208" y="517"/>
                        </a:lnTo>
                        <a:lnTo>
                          <a:pt x="206" y="525"/>
                        </a:lnTo>
                        <a:lnTo>
                          <a:pt x="202" y="533"/>
                        </a:lnTo>
                        <a:lnTo>
                          <a:pt x="192" y="544"/>
                        </a:lnTo>
                        <a:lnTo>
                          <a:pt x="182" y="551"/>
                        </a:lnTo>
                        <a:lnTo>
                          <a:pt x="168" y="556"/>
                        </a:lnTo>
                        <a:lnTo>
                          <a:pt x="160" y="557"/>
                        </a:lnTo>
                        <a:lnTo>
                          <a:pt x="134" y="564"/>
                        </a:lnTo>
                        <a:lnTo>
                          <a:pt x="128" y="569"/>
                        </a:lnTo>
                        <a:lnTo>
                          <a:pt x="123" y="573"/>
                        </a:lnTo>
                        <a:lnTo>
                          <a:pt x="116" y="576"/>
                        </a:lnTo>
                        <a:lnTo>
                          <a:pt x="109" y="578"/>
                        </a:lnTo>
                        <a:lnTo>
                          <a:pt x="106" y="581"/>
                        </a:lnTo>
                        <a:lnTo>
                          <a:pt x="101" y="589"/>
                        </a:lnTo>
                        <a:lnTo>
                          <a:pt x="94" y="597"/>
                        </a:lnTo>
                        <a:lnTo>
                          <a:pt x="93" y="597"/>
                        </a:lnTo>
                        <a:lnTo>
                          <a:pt x="99" y="602"/>
                        </a:lnTo>
                        <a:lnTo>
                          <a:pt x="103" y="607"/>
                        </a:lnTo>
                        <a:lnTo>
                          <a:pt x="108" y="604"/>
                        </a:lnTo>
                        <a:lnTo>
                          <a:pt x="110" y="600"/>
                        </a:lnTo>
                        <a:lnTo>
                          <a:pt x="108" y="625"/>
                        </a:lnTo>
                        <a:lnTo>
                          <a:pt x="103" y="623"/>
                        </a:lnTo>
                        <a:lnTo>
                          <a:pt x="78" y="625"/>
                        </a:lnTo>
                        <a:lnTo>
                          <a:pt x="77" y="605"/>
                        </a:lnTo>
                        <a:lnTo>
                          <a:pt x="77" y="594"/>
                        </a:lnTo>
                        <a:lnTo>
                          <a:pt x="75" y="588"/>
                        </a:lnTo>
                        <a:lnTo>
                          <a:pt x="72" y="528"/>
                        </a:lnTo>
                        <a:lnTo>
                          <a:pt x="64" y="500"/>
                        </a:lnTo>
                        <a:lnTo>
                          <a:pt x="59" y="479"/>
                        </a:lnTo>
                        <a:lnTo>
                          <a:pt x="59" y="465"/>
                        </a:lnTo>
                        <a:lnTo>
                          <a:pt x="59" y="455"/>
                        </a:lnTo>
                        <a:lnTo>
                          <a:pt x="61" y="448"/>
                        </a:lnTo>
                        <a:lnTo>
                          <a:pt x="65" y="441"/>
                        </a:lnTo>
                        <a:lnTo>
                          <a:pt x="74" y="436"/>
                        </a:lnTo>
                        <a:lnTo>
                          <a:pt x="79" y="431"/>
                        </a:lnTo>
                        <a:lnTo>
                          <a:pt x="92" y="408"/>
                        </a:lnTo>
                        <a:lnTo>
                          <a:pt x="96" y="388"/>
                        </a:lnTo>
                        <a:lnTo>
                          <a:pt x="109" y="364"/>
                        </a:lnTo>
                        <a:lnTo>
                          <a:pt x="107" y="347"/>
                        </a:lnTo>
                        <a:lnTo>
                          <a:pt x="103" y="338"/>
                        </a:lnTo>
                        <a:lnTo>
                          <a:pt x="102" y="326"/>
                        </a:lnTo>
                        <a:lnTo>
                          <a:pt x="109" y="313"/>
                        </a:lnTo>
                        <a:lnTo>
                          <a:pt x="110" y="308"/>
                        </a:lnTo>
                        <a:lnTo>
                          <a:pt x="113" y="298"/>
                        </a:lnTo>
                        <a:lnTo>
                          <a:pt x="112" y="290"/>
                        </a:lnTo>
                        <a:lnTo>
                          <a:pt x="113" y="267"/>
                        </a:lnTo>
                        <a:lnTo>
                          <a:pt x="110" y="252"/>
                        </a:lnTo>
                        <a:lnTo>
                          <a:pt x="108" y="246"/>
                        </a:lnTo>
                        <a:lnTo>
                          <a:pt x="107" y="235"/>
                        </a:lnTo>
                        <a:lnTo>
                          <a:pt x="101" y="229"/>
                        </a:lnTo>
                        <a:lnTo>
                          <a:pt x="79" y="222"/>
                        </a:lnTo>
                        <a:lnTo>
                          <a:pt x="59" y="213"/>
                        </a:lnTo>
                        <a:lnTo>
                          <a:pt x="48" y="211"/>
                        </a:lnTo>
                        <a:lnTo>
                          <a:pt x="37" y="208"/>
                        </a:lnTo>
                        <a:lnTo>
                          <a:pt x="21" y="209"/>
                        </a:lnTo>
                        <a:lnTo>
                          <a:pt x="10" y="209"/>
                        </a:lnTo>
                        <a:lnTo>
                          <a:pt x="10" y="194"/>
                        </a:lnTo>
                        <a:lnTo>
                          <a:pt x="6" y="193"/>
                        </a:lnTo>
                        <a:lnTo>
                          <a:pt x="5" y="184"/>
                        </a:lnTo>
                        <a:lnTo>
                          <a:pt x="0" y="174"/>
                        </a:lnTo>
                        <a:lnTo>
                          <a:pt x="115" y="134"/>
                        </a:lnTo>
                        <a:lnTo>
                          <a:pt x="122" y="134"/>
                        </a:lnTo>
                        <a:lnTo>
                          <a:pt x="123" y="136"/>
                        </a:lnTo>
                        <a:lnTo>
                          <a:pt x="127" y="138"/>
                        </a:lnTo>
                        <a:lnTo>
                          <a:pt x="132" y="148"/>
                        </a:lnTo>
                        <a:lnTo>
                          <a:pt x="139" y="155"/>
                        </a:lnTo>
                        <a:lnTo>
                          <a:pt x="141" y="157"/>
                        </a:lnTo>
                        <a:lnTo>
                          <a:pt x="147" y="153"/>
                        </a:lnTo>
                        <a:lnTo>
                          <a:pt x="168" y="152"/>
                        </a:lnTo>
                        <a:lnTo>
                          <a:pt x="171" y="152"/>
                        </a:lnTo>
                        <a:lnTo>
                          <a:pt x="173" y="157"/>
                        </a:lnTo>
                        <a:lnTo>
                          <a:pt x="176" y="164"/>
                        </a:lnTo>
                        <a:lnTo>
                          <a:pt x="177" y="170"/>
                        </a:lnTo>
                        <a:lnTo>
                          <a:pt x="178" y="183"/>
                        </a:lnTo>
                        <a:lnTo>
                          <a:pt x="176" y="187"/>
                        </a:lnTo>
                        <a:lnTo>
                          <a:pt x="171" y="191"/>
                        </a:lnTo>
                        <a:lnTo>
                          <a:pt x="171" y="198"/>
                        </a:lnTo>
                        <a:lnTo>
                          <a:pt x="168" y="199"/>
                        </a:lnTo>
                        <a:lnTo>
                          <a:pt x="166" y="208"/>
                        </a:lnTo>
                        <a:lnTo>
                          <a:pt x="168" y="209"/>
                        </a:lnTo>
                        <a:lnTo>
                          <a:pt x="171" y="220"/>
                        </a:lnTo>
                        <a:lnTo>
                          <a:pt x="175" y="224"/>
                        </a:lnTo>
                        <a:lnTo>
                          <a:pt x="177" y="225"/>
                        </a:lnTo>
                        <a:lnTo>
                          <a:pt x="178" y="228"/>
                        </a:lnTo>
                        <a:lnTo>
                          <a:pt x="185" y="234"/>
                        </a:lnTo>
                        <a:lnTo>
                          <a:pt x="188" y="239"/>
                        </a:lnTo>
                        <a:lnTo>
                          <a:pt x="191" y="239"/>
                        </a:lnTo>
                        <a:lnTo>
                          <a:pt x="195" y="241"/>
                        </a:lnTo>
                        <a:lnTo>
                          <a:pt x="198" y="244"/>
                        </a:lnTo>
                        <a:lnTo>
                          <a:pt x="198" y="246"/>
                        </a:lnTo>
                        <a:lnTo>
                          <a:pt x="195" y="251"/>
                        </a:lnTo>
                        <a:lnTo>
                          <a:pt x="196" y="252"/>
                        </a:lnTo>
                        <a:lnTo>
                          <a:pt x="204" y="252"/>
                        </a:lnTo>
                        <a:lnTo>
                          <a:pt x="206" y="252"/>
                        </a:lnTo>
                        <a:lnTo>
                          <a:pt x="204" y="246"/>
                        </a:lnTo>
                        <a:lnTo>
                          <a:pt x="206" y="241"/>
                        </a:lnTo>
                        <a:lnTo>
                          <a:pt x="203" y="237"/>
                        </a:lnTo>
                        <a:lnTo>
                          <a:pt x="201" y="235"/>
                        </a:lnTo>
                        <a:lnTo>
                          <a:pt x="201" y="230"/>
                        </a:lnTo>
                        <a:lnTo>
                          <a:pt x="203" y="225"/>
                        </a:lnTo>
                        <a:lnTo>
                          <a:pt x="203" y="224"/>
                        </a:lnTo>
                        <a:lnTo>
                          <a:pt x="204" y="220"/>
                        </a:lnTo>
                        <a:lnTo>
                          <a:pt x="213" y="216"/>
                        </a:lnTo>
                        <a:lnTo>
                          <a:pt x="218" y="215"/>
                        </a:lnTo>
                        <a:lnTo>
                          <a:pt x="223" y="213"/>
                        </a:lnTo>
                        <a:lnTo>
                          <a:pt x="224" y="209"/>
                        </a:lnTo>
                        <a:lnTo>
                          <a:pt x="225" y="194"/>
                        </a:lnTo>
                        <a:lnTo>
                          <a:pt x="227" y="189"/>
                        </a:lnTo>
                        <a:lnTo>
                          <a:pt x="224" y="180"/>
                        </a:lnTo>
                        <a:lnTo>
                          <a:pt x="227" y="173"/>
                        </a:lnTo>
                        <a:lnTo>
                          <a:pt x="228" y="168"/>
                        </a:lnTo>
                        <a:lnTo>
                          <a:pt x="227" y="160"/>
                        </a:lnTo>
                        <a:lnTo>
                          <a:pt x="224" y="155"/>
                        </a:lnTo>
                        <a:lnTo>
                          <a:pt x="214" y="146"/>
                        </a:lnTo>
                        <a:lnTo>
                          <a:pt x="209" y="139"/>
                        </a:lnTo>
                        <a:lnTo>
                          <a:pt x="198" y="127"/>
                        </a:lnTo>
                        <a:lnTo>
                          <a:pt x="193" y="122"/>
                        </a:lnTo>
                        <a:lnTo>
                          <a:pt x="187" y="116"/>
                        </a:lnTo>
                        <a:lnTo>
                          <a:pt x="185" y="108"/>
                        </a:lnTo>
                        <a:lnTo>
                          <a:pt x="185" y="101"/>
                        </a:lnTo>
                        <a:lnTo>
                          <a:pt x="183" y="95"/>
                        </a:lnTo>
                        <a:lnTo>
                          <a:pt x="183" y="84"/>
                        </a:lnTo>
                        <a:lnTo>
                          <a:pt x="182" y="79"/>
                        </a:lnTo>
                        <a:lnTo>
                          <a:pt x="182" y="74"/>
                        </a:lnTo>
                        <a:lnTo>
                          <a:pt x="183" y="63"/>
                        </a:lnTo>
                        <a:lnTo>
                          <a:pt x="189" y="52"/>
                        </a:lnTo>
                        <a:lnTo>
                          <a:pt x="192" y="40"/>
                        </a:lnTo>
                        <a:lnTo>
                          <a:pt x="220" y="40"/>
                        </a:lnTo>
                        <a:lnTo>
                          <a:pt x="223" y="40"/>
                        </a:lnTo>
                        <a:lnTo>
                          <a:pt x="227" y="37"/>
                        </a:lnTo>
                        <a:lnTo>
                          <a:pt x="233" y="37"/>
                        </a:lnTo>
                        <a:lnTo>
                          <a:pt x="237" y="37"/>
                        </a:lnTo>
                        <a:lnTo>
                          <a:pt x="242" y="43"/>
                        </a:lnTo>
                        <a:lnTo>
                          <a:pt x="246" y="44"/>
                        </a:lnTo>
                        <a:lnTo>
                          <a:pt x="247" y="45"/>
                        </a:lnTo>
                        <a:lnTo>
                          <a:pt x="254" y="43"/>
                        </a:lnTo>
                        <a:lnTo>
                          <a:pt x="259" y="43"/>
                        </a:lnTo>
                        <a:lnTo>
                          <a:pt x="268" y="38"/>
                        </a:lnTo>
                        <a:lnTo>
                          <a:pt x="290" y="40"/>
                        </a:lnTo>
                        <a:lnTo>
                          <a:pt x="295" y="40"/>
                        </a:lnTo>
                        <a:lnTo>
                          <a:pt x="297" y="38"/>
                        </a:lnTo>
                        <a:lnTo>
                          <a:pt x="306" y="29"/>
                        </a:lnTo>
                        <a:lnTo>
                          <a:pt x="316" y="28"/>
                        </a:lnTo>
                        <a:lnTo>
                          <a:pt x="322" y="27"/>
                        </a:lnTo>
                        <a:lnTo>
                          <a:pt x="333" y="30"/>
                        </a:lnTo>
                        <a:lnTo>
                          <a:pt x="338" y="32"/>
                        </a:lnTo>
                        <a:lnTo>
                          <a:pt x="345" y="30"/>
                        </a:lnTo>
                        <a:lnTo>
                          <a:pt x="368" y="22"/>
                        </a:lnTo>
                        <a:lnTo>
                          <a:pt x="382" y="18"/>
                        </a:lnTo>
                        <a:lnTo>
                          <a:pt x="386" y="16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99" name="Freeform 97"/>
                  <p:cNvSpPr>
                    <a:spLocks/>
                  </p:cNvSpPr>
                  <p:nvPr/>
                </p:nvSpPr>
                <p:spPr bwMode="auto">
                  <a:xfrm>
                    <a:off x="2522" y="2950"/>
                    <a:ext cx="442" cy="657"/>
                  </a:xfrm>
                  <a:custGeom>
                    <a:avLst/>
                    <a:gdLst>
                      <a:gd name="T0" fmla="*/ 35986 w 413"/>
                      <a:gd name="T1" fmla="*/ 0 h 625"/>
                      <a:gd name="T2" fmla="*/ 36445 w 413"/>
                      <a:gd name="T3" fmla="*/ 449 h 625"/>
                      <a:gd name="T4" fmla="*/ 35023 w 413"/>
                      <a:gd name="T5" fmla="*/ 1280 h 625"/>
                      <a:gd name="T6" fmla="*/ 35023 w 413"/>
                      <a:gd name="T7" fmla="*/ 2450 h 625"/>
                      <a:gd name="T8" fmla="*/ 35487 w 413"/>
                      <a:gd name="T9" fmla="*/ 3653 h 625"/>
                      <a:gd name="T10" fmla="*/ 35986 w 413"/>
                      <a:gd name="T11" fmla="*/ 3935 h 625"/>
                      <a:gd name="T12" fmla="*/ 36445 w 413"/>
                      <a:gd name="T13" fmla="*/ 4343 h 625"/>
                      <a:gd name="T14" fmla="*/ 35676 w 413"/>
                      <a:gd name="T15" fmla="*/ 4929 h 625"/>
                      <a:gd name="T16" fmla="*/ 34054 w 413"/>
                      <a:gd name="T17" fmla="*/ 5659 h 625"/>
                      <a:gd name="T18" fmla="*/ 32689 w 413"/>
                      <a:gd name="T19" fmla="*/ 6172 h 625"/>
                      <a:gd name="T20" fmla="*/ 30466 w 413"/>
                      <a:gd name="T21" fmla="*/ 6798 h 625"/>
                      <a:gd name="T22" fmla="*/ 24945 w 413"/>
                      <a:gd name="T23" fmla="*/ 7348 h 625"/>
                      <a:gd name="T24" fmla="*/ 22311 w 413"/>
                      <a:gd name="T25" fmla="*/ 8050 h 625"/>
                      <a:gd name="T26" fmla="*/ 20911 w 413"/>
                      <a:gd name="T27" fmla="*/ 8726 h 625"/>
                      <a:gd name="T28" fmla="*/ 19539 w 413"/>
                      <a:gd name="T29" fmla="*/ 8895 h 625"/>
                      <a:gd name="T30" fmla="*/ 16355 w 413"/>
                      <a:gd name="T31" fmla="*/ 9668 h 625"/>
                      <a:gd name="T32" fmla="*/ 16539 w 413"/>
                      <a:gd name="T33" fmla="*/ 10682 h 625"/>
                      <a:gd name="T34" fmla="*/ 17199 w 413"/>
                      <a:gd name="T35" fmla="*/ 11079 h 625"/>
                      <a:gd name="T36" fmla="*/ 18201 w 413"/>
                      <a:gd name="T37" fmla="*/ 12096 h 625"/>
                      <a:gd name="T38" fmla="*/ 17426 w 413"/>
                      <a:gd name="T39" fmla="*/ 14050 h 625"/>
                      <a:gd name="T40" fmla="*/ 18411 w 413"/>
                      <a:gd name="T41" fmla="*/ 13942 h 625"/>
                      <a:gd name="T42" fmla="*/ 16143 w 413"/>
                      <a:gd name="T43" fmla="*/ 14865 h 625"/>
                      <a:gd name="T44" fmla="*/ 11447 w 413"/>
                      <a:gd name="T45" fmla="*/ 15363 h 625"/>
                      <a:gd name="T46" fmla="*/ 9340 w 413"/>
                      <a:gd name="T47" fmla="*/ 15706 h 625"/>
                      <a:gd name="T48" fmla="*/ 8727 w 413"/>
                      <a:gd name="T49" fmla="*/ 16270 h 625"/>
                      <a:gd name="T50" fmla="*/ 9504 w 413"/>
                      <a:gd name="T51" fmla="*/ 16856 h 625"/>
                      <a:gd name="T52" fmla="*/ 6769 w 413"/>
                      <a:gd name="T53" fmla="*/ 16014 h 625"/>
                      <a:gd name="T54" fmla="*/ 5160 w 413"/>
                      <a:gd name="T55" fmla="*/ 13011 h 625"/>
                      <a:gd name="T56" fmla="*/ 5426 w 413"/>
                      <a:gd name="T57" fmla="*/ 12096 h 625"/>
                      <a:gd name="T58" fmla="*/ 8153 w 413"/>
                      <a:gd name="T59" fmla="*/ 10998 h 625"/>
                      <a:gd name="T60" fmla="*/ 9003 w 413"/>
                      <a:gd name="T61" fmla="*/ 9073 h 625"/>
                      <a:gd name="T62" fmla="*/ 9996 w 413"/>
                      <a:gd name="T63" fmla="*/ 8087 h 625"/>
                      <a:gd name="T64" fmla="*/ 9504 w 413"/>
                      <a:gd name="T65" fmla="*/ 6650 h 625"/>
                      <a:gd name="T66" fmla="*/ 5160 w 413"/>
                      <a:gd name="T67" fmla="*/ 5742 h 625"/>
                      <a:gd name="T68" fmla="*/ 885 w 413"/>
                      <a:gd name="T69" fmla="*/ 5659 h 625"/>
                      <a:gd name="T70" fmla="*/ 0 w 413"/>
                      <a:gd name="T71" fmla="*/ 4689 h 625"/>
                      <a:gd name="T72" fmla="*/ 11202 w 413"/>
                      <a:gd name="T73" fmla="*/ 3739 h 625"/>
                      <a:gd name="T74" fmla="*/ 13111 w 413"/>
                      <a:gd name="T75" fmla="*/ 4136 h 625"/>
                      <a:gd name="T76" fmla="*/ 15456 w 413"/>
                      <a:gd name="T77" fmla="*/ 4422 h 625"/>
                      <a:gd name="T78" fmla="*/ 15104 w 413"/>
                      <a:gd name="T79" fmla="*/ 5175 h 625"/>
                      <a:gd name="T80" fmla="*/ 15017 w 413"/>
                      <a:gd name="T81" fmla="*/ 5659 h 625"/>
                      <a:gd name="T82" fmla="*/ 15512 w 413"/>
                      <a:gd name="T83" fmla="*/ 6160 h 625"/>
                      <a:gd name="T84" fmla="*/ 17277 w 413"/>
                      <a:gd name="T85" fmla="*/ 6484 h 625"/>
                      <a:gd name="T86" fmla="*/ 17300 w 413"/>
                      <a:gd name="T87" fmla="*/ 6807 h 625"/>
                      <a:gd name="T88" fmla="*/ 18201 w 413"/>
                      <a:gd name="T89" fmla="*/ 6484 h 625"/>
                      <a:gd name="T90" fmla="*/ 17767 w 413"/>
                      <a:gd name="T91" fmla="*/ 6083 h 625"/>
                      <a:gd name="T92" fmla="*/ 19123 w 413"/>
                      <a:gd name="T93" fmla="*/ 5788 h 625"/>
                      <a:gd name="T94" fmla="*/ 19960 w 413"/>
                      <a:gd name="T95" fmla="*/ 5121 h 625"/>
                      <a:gd name="T96" fmla="*/ 19960 w 413"/>
                      <a:gd name="T97" fmla="*/ 4343 h 625"/>
                      <a:gd name="T98" fmla="*/ 17426 w 413"/>
                      <a:gd name="T99" fmla="*/ 3446 h 625"/>
                      <a:gd name="T100" fmla="*/ 16283 w 413"/>
                      <a:gd name="T101" fmla="*/ 2707 h 625"/>
                      <a:gd name="T102" fmla="*/ 16143 w 413"/>
                      <a:gd name="T103" fmla="*/ 2004 h 625"/>
                      <a:gd name="T104" fmla="*/ 19479 w 413"/>
                      <a:gd name="T105" fmla="*/ 1049 h 625"/>
                      <a:gd name="T106" fmla="*/ 20911 w 413"/>
                      <a:gd name="T107" fmla="*/ 997 h 625"/>
                      <a:gd name="T108" fmla="*/ 22379 w 413"/>
                      <a:gd name="T109" fmla="*/ 1158 h 625"/>
                      <a:gd name="T110" fmla="*/ 25995 w 413"/>
                      <a:gd name="T111" fmla="*/ 1049 h 625"/>
                      <a:gd name="T112" fmla="*/ 28467 w 413"/>
                      <a:gd name="T113" fmla="*/ 703 h 625"/>
                      <a:gd name="T114" fmla="*/ 32603 w 413"/>
                      <a:gd name="T115" fmla="*/ 548 h 62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413"/>
                      <a:gd name="T175" fmla="*/ 0 h 625"/>
                      <a:gd name="T176" fmla="*/ 413 w 413"/>
                      <a:gd name="T177" fmla="*/ 625 h 62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413" h="625">
                        <a:moveTo>
                          <a:pt x="386" y="16"/>
                        </a:moveTo>
                        <a:lnTo>
                          <a:pt x="396" y="7"/>
                        </a:lnTo>
                        <a:lnTo>
                          <a:pt x="406" y="1"/>
                        </a:lnTo>
                        <a:lnTo>
                          <a:pt x="408" y="0"/>
                        </a:lnTo>
                        <a:lnTo>
                          <a:pt x="411" y="1"/>
                        </a:lnTo>
                        <a:lnTo>
                          <a:pt x="413" y="6"/>
                        </a:lnTo>
                        <a:lnTo>
                          <a:pt x="411" y="6"/>
                        </a:lnTo>
                        <a:lnTo>
                          <a:pt x="413" y="18"/>
                        </a:lnTo>
                        <a:lnTo>
                          <a:pt x="409" y="22"/>
                        </a:lnTo>
                        <a:lnTo>
                          <a:pt x="406" y="28"/>
                        </a:lnTo>
                        <a:lnTo>
                          <a:pt x="402" y="38"/>
                        </a:lnTo>
                        <a:lnTo>
                          <a:pt x="398" y="48"/>
                        </a:lnTo>
                        <a:lnTo>
                          <a:pt x="399" y="64"/>
                        </a:lnTo>
                        <a:lnTo>
                          <a:pt x="402" y="78"/>
                        </a:lnTo>
                        <a:lnTo>
                          <a:pt x="402" y="88"/>
                        </a:lnTo>
                        <a:lnTo>
                          <a:pt x="398" y="91"/>
                        </a:lnTo>
                        <a:lnTo>
                          <a:pt x="399" y="98"/>
                        </a:lnTo>
                        <a:lnTo>
                          <a:pt x="402" y="98"/>
                        </a:lnTo>
                        <a:lnTo>
                          <a:pt x="401" y="122"/>
                        </a:lnTo>
                        <a:lnTo>
                          <a:pt x="402" y="136"/>
                        </a:lnTo>
                        <a:lnTo>
                          <a:pt x="401" y="142"/>
                        </a:lnTo>
                        <a:lnTo>
                          <a:pt x="404" y="143"/>
                        </a:lnTo>
                        <a:lnTo>
                          <a:pt x="406" y="142"/>
                        </a:lnTo>
                        <a:lnTo>
                          <a:pt x="408" y="146"/>
                        </a:lnTo>
                        <a:lnTo>
                          <a:pt x="405" y="152"/>
                        </a:lnTo>
                        <a:lnTo>
                          <a:pt x="408" y="152"/>
                        </a:lnTo>
                        <a:lnTo>
                          <a:pt x="413" y="153"/>
                        </a:lnTo>
                        <a:lnTo>
                          <a:pt x="413" y="160"/>
                        </a:lnTo>
                        <a:lnTo>
                          <a:pt x="408" y="167"/>
                        </a:lnTo>
                        <a:lnTo>
                          <a:pt x="405" y="173"/>
                        </a:lnTo>
                        <a:lnTo>
                          <a:pt x="399" y="180"/>
                        </a:lnTo>
                        <a:lnTo>
                          <a:pt x="405" y="183"/>
                        </a:lnTo>
                        <a:lnTo>
                          <a:pt x="404" y="188"/>
                        </a:lnTo>
                        <a:lnTo>
                          <a:pt x="402" y="193"/>
                        </a:lnTo>
                        <a:lnTo>
                          <a:pt x="397" y="196"/>
                        </a:lnTo>
                        <a:lnTo>
                          <a:pt x="386" y="209"/>
                        </a:lnTo>
                        <a:lnTo>
                          <a:pt x="382" y="215"/>
                        </a:lnTo>
                        <a:lnTo>
                          <a:pt x="371" y="221"/>
                        </a:lnTo>
                        <a:lnTo>
                          <a:pt x="375" y="225"/>
                        </a:lnTo>
                        <a:lnTo>
                          <a:pt x="371" y="230"/>
                        </a:lnTo>
                        <a:lnTo>
                          <a:pt x="364" y="235"/>
                        </a:lnTo>
                        <a:lnTo>
                          <a:pt x="356" y="241"/>
                        </a:lnTo>
                        <a:lnTo>
                          <a:pt x="348" y="242"/>
                        </a:lnTo>
                        <a:lnTo>
                          <a:pt x="345" y="251"/>
                        </a:lnTo>
                        <a:lnTo>
                          <a:pt x="335" y="256"/>
                        </a:lnTo>
                        <a:lnTo>
                          <a:pt x="323" y="256"/>
                        </a:lnTo>
                        <a:lnTo>
                          <a:pt x="315" y="259"/>
                        </a:lnTo>
                        <a:lnTo>
                          <a:pt x="284" y="272"/>
                        </a:lnTo>
                        <a:lnTo>
                          <a:pt x="264" y="287"/>
                        </a:lnTo>
                        <a:lnTo>
                          <a:pt x="262" y="293"/>
                        </a:lnTo>
                        <a:lnTo>
                          <a:pt x="258" y="297"/>
                        </a:lnTo>
                        <a:lnTo>
                          <a:pt x="252" y="297"/>
                        </a:lnTo>
                        <a:lnTo>
                          <a:pt x="251" y="298"/>
                        </a:lnTo>
                        <a:lnTo>
                          <a:pt x="254" y="301"/>
                        </a:lnTo>
                        <a:lnTo>
                          <a:pt x="242" y="314"/>
                        </a:lnTo>
                        <a:lnTo>
                          <a:pt x="237" y="323"/>
                        </a:lnTo>
                        <a:lnTo>
                          <a:pt x="234" y="321"/>
                        </a:lnTo>
                        <a:lnTo>
                          <a:pt x="232" y="314"/>
                        </a:lnTo>
                        <a:lnTo>
                          <a:pt x="227" y="325"/>
                        </a:lnTo>
                        <a:lnTo>
                          <a:pt x="221" y="328"/>
                        </a:lnTo>
                        <a:lnTo>
                          <a:pt x="213" y="335"/>
                        </a:lnTo>
                        <a:lnTo>
                          <a:pt x="201" y="348"/>
                        </a:lnTo>
                        <a:lnTo>
                          <a:pt x="192" y="354"/>
                        </a:lnTo>
                        <a:lnTo>
                          <a:pt x="186" y="360"/>
                        </a:lnTo>
                        <a:lnTo>
                          <a:pt x="179" y="362"/>
                        </a:lnTo>
                        <a:lnTo>
                          <a:pt x="177" y="382"/>
                        </a:lnTo>
                        <a:lnTo>
                          <a:pt x="178" y="389"/>
                        </a:lnTo>
                        <a:lnTo>
                          <a:pt x="187" y="396"/>
                        </a:lnTo>
                        <a:lnTo>
                          <a:pt x="191" y="400"/>
                        </a:lnTo>
                        <a:lnTo>
                          <a:pt x="191" y="405"/>
                        </a:lnTo>
                        <a:lnTo>
                          <a:pt x="192" y="407"/>
                        </a:lnTo>
                        <a:lnTo>
                          <a:pt x="193" y="412"/>
                        </a:lnTo>
                        <a:lnTo>
                          <a:pt x="201" y="434"/>
                        </a:lnTo>
                        <a:lnTo>
                          <a:pt x="202" y="448"/>
                        </a:lnTo>
                        <a:lnTo>
                          <a:pt x="203" y="451"/>
                        </a:lnTo>
                        <a:lnTo>
                          <a:pt x="206" y="448"/>
                        </a:lnTo>
                        <a:lnTo>
                          <a:pt x="209" y="449"/>
                        </a:lnTo>
                        <a:lnTo>
                          <a:pt x="209" y="465"/>
                        </a:lnTo>
                        <a:lnTo>
                          <a:pt x="208" y="489"/>
                        </a:lnTo>
                        <a:lnTo>
                          <a:pt x="198" y="520"/>
                        </a:lnTo>
                        <a:lnTo>
                          <a:pt x="199" y="527"/>
                        </a:lnTo>
                        <a:lnTo>
                          <a:pt x="202" y="520"/>
                        </a:lnTo>
                        <a:lnTo>
                          <a:pt x="208" y="515"/>
                        </a:lnTo>
                        <a:lnTo>
                          <a:pt x="208" y="517"/>
                        </a:lnTo>
                        <a:lnTo>
                          <a:pt x="206" y="525"/>
                        </a:lnTo>
                        <a:lnTo>
                          <a:pt x="202" y="533"/>
                        </a:lnTo>
                        <a:lnTo>
                          <a:pt x="192" y="544"/>
                        </a:lnTo>
                        <a:lnTo>
                          <a:pt x="182" y="551"/>
                        </a:lnTo>
                        <a:lnTo>
                          <a:pt x="168" y="556"/>
                        </a:lnTo>
                        <a:lnTo>
                          <a:pt x="160" y="557"/>
                        </a:lnTo>
                        <a:lnTo>
                          <a:pt x="134" y="564"/>
                        </a:lnTo>
                        <a:lnTo>
                          <a:pt x="128" y="569"/>
                        </a:lnTo>
                        <a:lnTo>
                          <a:pt x="123" y="573"/>
                        </a:lnTo>
                        <a:lnTo>
                          <a:pt x="116" y="576"/>
                        </a:lnTo>
                        <a:lnTo>
                          <a:pt x="109" y="578"/>
                        </a:lnTo>
                        <a:lnTo>
                          <a:pt x="106" y="581"/>
                        </a:lnTo>
                        <a:lnTo>
                          <a:pt x="101" y="589"/>
                        </a:lnTo>
                        <a:lnTo>
                          <a:pt x="94" y="597"/>
                        </a:lnTo>
                        <a:lnTo>
                          <a:pt x="93" y="597"/>
                        </a:lnTo>
                        <a:lnTo>
                          <a:pt x="99" y="602"/>
                        </a:lnTo>
                        <a:lnTo>
                          <a:pt x="103" y="607"/>
                        </a:lnTo>
                        <a:lnTo>
                          <a:pt x="108" y="604"/>
                        </a:lnTo>
                        <a:lnTo>
                          <a:pt x="110" y="600"/>
                        </a:lnTo>
                        <a:lnTo>
                          <a:pt x="108" y="625"/>
                        </a:lnTo>
                        <a:lnTo>
                          <a:pt x="103" y="623"/>
                        </a:lnTo>
                        <a:lnTo>
                          <a:pt x="78" y="625"/>
                        </a:lnTo>
                        <a:lnTo>
                          <a:pt x="77" y="605"/>
                        </a:lnTo>
                        <a:lnTo>
                          <a:pt x="77" y="594"/>
                        </a:lnTo>
                        <a:lnTo>
                          <a:pt x="75" y="588"/>
                        </a:lnTo>
                        <a:lnTo>
                          <a:pt x="72" y="528"/>
                        </a:lnTo>
                        <a:lnTo>
                          <a:pt x="64" y="500"/>
                        </a:lnTo>
                        <a:lnTo>
                          <a:pt x="59" y="479"/>
                        </a:lnTo>
                        <a:lnTo>
                          <a:pt x="59" y="465"/>
                        </a:lnTo>
                        <a:lnTo>
                          <a:pt x="59" y="455"/>
                        </a:lnTo>
                        <a:lnTo>
                          <a:pt x="61" y="448"/>
                        </a:lnTo>
                        <a:lnTo>
                          <a:pt x="65" y="441"/>
                        </a:lnTo>
                        <a:lnTo>
                          <a:pt x="74" y="436"/>
                        </a:lnTo>
                        <a:lnTo>
                          <a:pt x="79" y="431"/>
                        </a:lnTo>
                        <a:lnTo>
                          <a:pt x="92" y="408"/>
                        </a:lnTo>
                        <a:lnTo>
                          <a:pt x="96" y="388"/>
                        </a:lnTo>
                        <a:lnTo>
                          <a:pt x="109" y="364"/>
                        </a:lnTo>
                        <a:lnTo>
                          <a:pt x="107" y="347"/>
                        </a:lnTo>
                        <a:lnTo>
                          <a:pt x="103" y="338"/>
                        </a:lnTo>
                        <a:lnTo>
                          <a:pt x="102" y="326"/>
                        </a:lnTo>
                        <a:lnTo>
                          <a:pt x="109" y="313"/>
                        </a:lnTo>
                        <a:lnTo>
                          <a:pt x="110" y="308"/>
                        </a:lnTo>
                        <a:lnTo>
                          <a:pt x="113" y="298"/>
                        </a:lnTo>
                        <a:lnTo>
                          <a:pt x="112" y="290"/>
                        </a:lnTo>
                        <a:lnTo>
                          <a:pt x="113" y="267"/>
                        </a:lnTo>
                        <a:lnTo>
                          <a:pt x="110" y="252"/>
                        </a:lnTo>
                        <a:lnTo>
                          <a:pt x="108" y="246"/>
                        </a:lnTo>
                        <a:lnTo>
                          <a:pt x="107" y="235"/>
                        </a:lnTo>
                        <a:lnTo>
                          <a:pt x="101" y="229"/>
                        </a:lnTo>
                        <a:lnTo>
                          <a:pt x="79" y="222"/>
                        </a:lnTo>
                        <a:lnTo>
                          <a:pt x="59" y="213"/>
                        </a:lnTo>
                        <a:lnTo>
                          <a:pt x="48" y="211"/>
                        </a:lnTo>
                        <a:lnTo>
                          <a:pt x="37" y="208"/>
                        </a:lnTo>
                        <a:lnTo>
                          <a:pt x="21" y="209"/>
                        </a:lnTo>
                        <a:lnTo>
                          <a:pt x="10" y="209"/>
                        </a:lnTo>
                        <a:lnTo>
                          <a:pt x="10" y="194"/>
                        </a:lnTo>
                        <a:lnTo>
                          <a:pt x="6" y="193"/>
                        </a:lnTo>
                        <a:lnTo>
                          <a:pt x="5" y="184"/>
                        </a:lnTo>
                        <a:lnTo>
                          <a:pt x="0" y="174"/>
                        </a:lnTo>
                        <a:lnTo>
                          <a:pt x="115" y="134"/>
                        </a:lnTo>
                        <a:lnTo>
                          <a:pt x="122" y="134"/>
                        </a:lnTo>
                        <a:lnTo>
                          <a:pt x="123" y="136"/>
                        </a:lnTo>
                        <a:lnTo>
                          <a:pt x="127" y="138"/>
                        </a:lnTo>
                        <a:lnTo>
                          <a:pt x="132" y="148"/>
                        </a:lnTo>
                        <a:lnTo>
                          <a:pt x="139" y="155"/>
                        </a:lnTo>
                        <a:lnTo>
                          <a:pt x="141" y="157"/>
                        </a:lnTo>
                        <a:lnTo>
                          <a:pt x="147" y="153"/>
                        </a:lnTo>
                        <a:lnTo>
                          <a:pt x="168" y="152"/>
                        </a:lnTo>
                        <a:lnTo>
                          <a:pt x="171" y="152"/>
                        </a:lnTo>
                        <a:lnTo>
                          <a:pt x="173" y="157"/>
                        </a:lnTo>
                        <a:lnTo>
                          <a:pt x="176" y="164"/>
                        </a:lnTo>
                        <a:lnTo>
                          <a:pt x="177" y="170"/>
                        </a:lnTo>
                        <a:lnTo>
                          <a:pt x="178" y="183"/>
                        </a:lnTo>
                        <a:lnTo>
                          <a:pt x="176" y="187"/>
                        </a:lnTo>
                        <a:lnTo>
                          <a:pt x="171" y="191"/>
                        </a:lnTo>
                        <a:lnTo>
                          <a:pt x="171" y="198"/>
                        </a:lnTo>
                        <a:lnTo>
                          <a:pt x="168" y="199"/>
                        </a:lnTo>
                        <a:lnTo>
                          <a:pt x="166" y="208"/>
                        </a:lnTo>
                        <a:lnTo>
                          <a:pt x="168" y="209"/>
                        </a:lnTo>
                        <a:lnTo>
                          <a:pt x="171" y="220"/>
                        </a:lnTo>
                        <a:lnTo>
                          <a:pt x="175" y="224"/>
                        </a:lnTo>
                        <a:lnTo>
                          <a:pt x="177" y="225"/>
                        </a:lnTo>
                        <a:lnTo>
                          <a:pt x="178" y="228"/>
                        </a:lnTo>
                        <a:lnTo>
                          <a:pt x="185" y="234"/>
                        </a:lnTo>
                        <a:lnTo>
                          <a:pt x="188" y="239"/>
                        </a:lnTo>
                        <a:lnTo>
                          <a:pt x="191" y="239"/>
                        </a:lnTo>
                        <a:lnTo>
                          <a:pt x="195" y="241"/>
                        </a:lnTo>
                        <a:lnTo>
                          <a:pt x="198" y="244"/>
                        </a:lnTo>
                        <a:lnTo>
                          <a:pt x="198" y="246"/>
                        </a:lnTo>
                        <a:lnTo>
                          <a:pt x="195" y="251"/>
                        </a:lnTo>
                        <a:lnTo>
                          <a:pt x="196" y="252"/>
                        </a:lnTo>
                        <a:lnTo>
                          <a:pt x="204" y="252"/>
                        </a:lnTo>
                        <a:lnTo>
                          <a:pt x="206" y="252"/>
                        </a:lnTo>
                        <a:lnTo>
                          <a:pt x="204" y="246"/>
                        </a:lnTo>
                        <a:lnTo>
                          <a:pt x="206" y="241"/>
                        </a:lnTo>
                        <a:lnTo>
                          <a:pt x="203" y="237"/>
                        </a:lnTo>
                        <a:lnTo>
                          <a:pt x="201" y="235"/>
                        </a:lnTo>
                        <a:lnTo>
                          <a:pt x="201" y="230"/>
                        </a:lnTo>
                        <a:lnTo>
                          <a:pt x="203" y="225"/>
                        </a:lnTo>
                        <a:lnTo>
                          <a:pt x="203" y="224"/>
                        </a:lnTo>
                        <a:lnTo>
                          <a:pt x="204" y="220"/>
                        </a:lnTo>
                        <a:lnTo>
                          <a:pt x="213" y="216"/>
                        </a:lnTo>
                        <a:lnTo>
                          <a:pt x="218" y="215"/>
                        </a:lnTo>
                        <a:lnTo>
                          <a:pt x="223" y="213"/>
                        </a:lnTo>
                        <a:lnTo>
                          <a:pt x="224" y="209"/>
                        </a:lnTo>
                        <a:lnTo>
                          <a:pt x="225" y="194"/>
                        </a:lnTo>
                        <a:lnTo>
                          <a:pt x="227" y="189"/>
                        </a:lnTo>
                        <a:lnTo>
                          <a:pt x="224" y="180"/>
                        </a:lnTo>
                        <a:lnTo>
                          <a:pt x="227" y="173"/>
                        </a:lnTo>
                        <a:lnTo>
                          <a:pt x="228" y="168"/>
                        </a:lnTo>
                        <a:lnTo>
                          <a:pt x="227" y="160"/>
                        </a:lnTo>
                        <a:lnTo>
                          <a:pt x="224" y="155"/>
                        </a:lnTo>
                        <a:lnTo>
                          <a:pt x="214" y="146"/>
                        </a:lnTo>
                        <a:lnTo>
                          <a:pt x="209" y="139"/>
                        </a:lnTo>
                        <a:lnTo>
                          <a:pt x="198" y="127"/>
                        </a:lnTo>
                        <a:lnTo>
                          <a:pt x="193" y="122"/>
                        </a:lnTo>
                        <a:lnTo>
                          <a:pt x="187" y="116"/>
                        </a:lnTo>
                        <a:lnTo>
                          <a:pt x="185" y="108"/>
                        </a:lnTo>
                        <a:lnTo>
                          <a:pt x="185" y="101"/>
                        </a:lnTo>
                        <a:lnTo>
                          <a:pt x="183" y="95"/>
                        </a:lnTo>
                        <a:lnTo>
                          <a:pt x="183" y="84"/>
                        </a:lnTo>
                        <a:lnTo>
                          <a:pt x="182" y="79"/>
                        </a:lnTo>
                        <a:lnTo>
                          <a:pt x="182" y="74"/>
                        </a:lnTo>
                        <a:lnTo>
                          <a:pt x="183" y="63"/>
                        </a:lnTo>
                        <a:lnTo>
                          <a:pt x="189" y="52"/>
                        </a:lnTo>
                        <a:lnTo>
                          <a:pt x="192" y="40"/>
                        </a:lnTo>
                        <a:lnTo>
                          <a:pt x="220" y="40"/>
                        </a:lnTo>
                        <a:lnTo>
                          <a:pt x="223" y="40"/>
                        </a:lnTo>
                        <a:lnTo>
                          <a:pt x="227" y="37"/>
                        </a:lnTo>
                        <a:lnTo>
                          <a:pt x="233" y="37"/>
                        </a:lnTo>
                        <a:lnTo>
                          <a:pt x="237" y="37"/>
                        </a:lnTo>
                        <a:lnTo>
                          <a:pt x="242" y="43"/>
                        </a:lnTo>
                        <a:lnTo>
                          <a:pt x="246" y="44"/>
                        </a:lnTo>
                        <a:lnTo>
                          <a:pt x="247" y="45"/>
                        </a:lnTo>
                        <a:lnTo>
                          <a:pt x="254" y="43"/>
                        </a:lnTo>
                        <a:lnTo>
                          <a:pt x="259" y="43"/>
                        </a:lnTo>
                        <a:lnTo>
                          <a:pt x="268" y="38"/>
                        </a:lnTo>
                        <a:lnTo>
                          <a:pt x="290" y="40"/>
                        </a:lnTo>
                        <a:lnTo>
                          <a:pt x="295" y="40"/>
                        </a:lnTo>
                        <a:lnTo>
                          <a:pt x="297" y="38"/>
                        </a:lnTo>
                        <a:lnTo>
                          <a:pt x="306" y="29"/>
                        </a:lnTo>
                        <a:lnTo>
                          <a:pt x="316" y="28"/>
                        </a:lnTo>
                        <a:lnTo>
                          <a:pt x="322" y="27"/>
                        </a:lnTo>
                        <a:lnTo>
                          <a:pt x="333" y="30"/>
                        </a:lnTo>
                        <a:lnTo>
                          <a:pt x="338" y="32"/>
                        </a:lnTo>
                        <a:lnTo>
                          <a:pt x="345" y="30"/>
                        </a:lnTo>
                        <a:lnTo>
                          <a:pt x="368" y="22"/>
                        </a:lnTo>
                        <a:lnTo>
                          <a:pt x="382" y="18"/>
                        </a:lnTo>
                        <a:lnTo>
                          <a:pt x="386" y="16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0" name="Freeform 98"/>
                  <p:cNvSpPr>
                    <a:spLocks/>
                  </p:cNvSpPr>
                  <p:nvPr/>
                </p:nvSpPr>
                <p:spPr bwMode="auto">
                  <a:xfrm>
                    <a:off x="2556" y="3565"/>
                    <a:ext cx="51" cy="60"/>
                  </a:xfrm>
                  <a:custGeom>
                    <a:avLst/>
                    <a:gdLst>
                      <a:gd name="T0" fmla="*/ 5009 w 47"/>
                      <a:gd name="T1" fmla="*/ 0 h 57"/>
                      <a:gd name="T2" fmla="*/ 8247 w 47"/>
                      <a:gd name="T3" fmla="*/ 9 h 57"/>
                      <a:gd name="T4" fmla="*/ 9628 w 47"/>
                      <a:gd name="T5" fmla="*/ 4 h 57"/>
                      <a:gd name="T6" fmla="*/ 9848 w 47"/>
                      <a:gd name="T7" fmla="*/ 9 h 57"/>
                      <a:gd name="T8" fmla="*/ 9848 w 47"/>
                      <a:gd name="T9" fmla="*/ 584 h 57"/>
                      <a:gd name="T10" fmla="*/ 10447 w 47"/>
                      <a:gd name="T11" fmla="*/ 1138 h 57"/>
                      <a:gd name="T12" fmla="*/ 9145 w 47"/>
                      <a:gd name="T13" fmla="*/ 1198 h 57"/>
                      <a:gd name="T14" fmla="*/ 8177 w 47"/>
                      <a:gd name="T15" fmla="*/ 1494 h 57"/>
                      <a:gd name="T16" fmla="*/ 7158 w 47"/>
                      <a:gd name="T17" fmla="*/ 1656 h 57"/>
                      <a:gd name="T18" fmla="*/ 5009 w 47"/>
                      <a:gd name="T19" fmla="*/ 1629 h 57"/>
                      <a:gd name="T20" fmla="*/ 1517 w 47"/>
                      <a:gd name="T21" fmla="*/ 1548 h 57"/>
                      <a:gd name="T22" fmla="*/ 1 w 47"/>
                      <a:gd name="T23" fmla="*/ 1198 h 57"/>
                      <a:gd name="T24" fmla="*/ 0 w 47"/>
                      <a:gd name="T25" fmla="*/ 991 h 57"/>
                      <a:gd name="T26" fmla="*/ 3 w 47"/>
                      <a:gd name="T27" fmla="*/ 681 h 57"/>
                      <a:gd name="T28" fmla="*/ 1786 w 47"/>
                      <a:gd name="T29" fmla="*/ 369 h 57"/>
                      <a:gd name="T30" fmla="*/ 2687 w 47"/>
                      <a:gd name="T31" fmla="*/ 5 h 57"/>
                      <a:gd name="T32" fmla="*/ 5009 w 47"/>
                      <a:gd name="T33" fmla="*/ 0 h 57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47"/>
                      <a:gd name="T52" fmla="*/ 0 h 57"/>
                      <a:gd name="T53" fmla="*/ 47 w 47"/>
                      <a:gd name="T54" fmla="*/ 57 h 57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47" h="57">
                        <a:moveTo>
                          <a:pt x="23" y="0"/>
                        </a:moveTo>
                        <a:lnTo>
                          <a:pt x="38" y="9"/>
                        </a:lnTo>
                        <a:lnTo>
                          <a:pt x="43" y="4"/>
                        </a:lnTo>
                        <a:lnTo>
                          <a:pt x="45" y="9"/>
                        </a:lnTo>
                        <a:lnTo>
                          <a:pt x="45" y="21"/>
                        </a:lnTo>
                        <a:lnTo>
                          <a:pt x="47" y="39"/>
                        </a:lnTo>
                        <a:lnTo>
                          <a:pt x="42" y="41"/>
                        </a:lnTo>
                        <a:lnTo>
                          <a:pt x="37" y="51"/>
                        </a:lnTo>
                        <a:lnTo>
                          <a:pt x="33" y="57"/>
                        </a:lnTo>
                        <a:lnTo>
                          <a:pt x="23" y="55"/>
                        </a:lnTo>
                        <a:lnTo>
                          <a:pt x="6" y="52"/>
                        </a:lnTo>
                        <a:lnTo>
                          <a:pt x="1" y="41"/>
                        </a:lnTo>
                        <a:lnTo>
                          <a:pt x="0" y="34"/>
                        </a:lnTo>
                        <a:lnTo>
                          <a:pt x="3" y="24"/>
                        </a:lnTo>
                        <a:lnTo>
                          <a:pt x="8" y="12"/>
                        </a:lnTo>
                        <a:lnTo>
                          <a:pt x="13" y="5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1F497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1" name="Freeform 99"/>
                  <p:cNvSpPr>
                    <a:spLocks/>
                  </p:cNvSpPr>
                  <p:nvPr/>
                </p:nvSpPr>
                <p:spPr bwMode="auto">
                  <a:xfrm>
                    <a:off x="2556" y="3565"/>
                    <a:ext cx="51" cy="60"/>
                  </a:xfrm>
                  <a:custGeom>
                    <a:avLst/>
                    <a:gdLst>
                      <a:gd name="T0" fmla="*/ 5009 w 47"/>
                      <a:gd name="T1" fmla="*/ 0 h 57"/>
                      <a:gd name="T2" fmla="*/ 8247 w 47"/>
                      <a:gd name="T3" fmla="*/ 9 h 57"/>
                      <a:gd name="T4" fmla="*/ 9628 w 47"/>
                      <a:gd name="T5" fmla="*/ 4 h 57"/>
                      <a:gd name="T6" fmla="*/ 9848 w 47"/>
                      <a:gd name="T7" fmla="*/ 9 h 57"/>
                      <a:gd name="T8" fmla="*/ 9848 w 47"/>
                      <a:gd name="T9" fmla="*/ 584 h 57"/>
                      <a:gd name="T10" fmla="*/ 10447 w 47"/>
                      <a:gd name="T11" fmla="*/ 1138 h 57"/>
                      <a:gd name="T12" fmla="*/ 9145 w 47"/>
                      <a:gd name="T13" fmla="*/ 1198 h 57"/>
                      <a:gd name="T14" fmla="*/ 8177 w 47"/>
                      <a:gd name="T15" fmla="*/ 1494 h 57"/>
                      <a:gd name="T16" fmla="*/ 7158 w 47"/>
                      <a:gd name="T17" fmla="*/ 1656 h 57"/>
                      <a:gd name="T18" fmla="*/ 5009 w 47"/>
                      <a:gd name="T19" fmla="*/ 1629 h 57"/>
                      <a:gd name="T20" fmla="*/ 1517 w 47"/>
                      <a:gd name="T21" fmla="*/ 1548 h 57"/>
                      <a:gd name="T22" fmla="*/ 1 w 47"/>
                      <a:gd name="T23" fmla="*/ 1198 h 57"/>
                      <a:gd name="T24" fmla="*/ 0 w 47"/>
                      <a:gd name="T25" fmla="*/ 991 h 57"/>
                      <a:gd name="T26" fmla="*/ 3 w 47"/>
                      <a:gd name="T27" fmla="*/ 681 h 57"/>
                      <a:gd name="T28" fmla="*/ 1786 w 47"/>
                      <a:gd name="T29" fmla="*/ 369 h 57"/>
                      <a:gd name="T30" fmla="*/ 2687 w 47"/>
                      <a:gd name="T31" fmla="*/ 5 h 57"/>
                      <a:gd name="T32" fmla="*/ 5009 w 47"/>
                      <a:gd name="T33" fmla="*/ 0 h 57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47"/>
                      <a:gd name="T52" fmla="*/ 0 h 57"/>
                      <a:gd name="T53" fmla="*/ 47 w 47"/>
                      <a:gd name="T54" fmla="*/ 57 h 57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47" h="57">
                        <a:moveTo>
                          <a:pt x="23" y="0"/>
                        </a:moveTo>
                        <a:lnTo>
                          <a:pt x="38" y="9"/>
                        </a:lnTo>
                        <a:lnTo>
                          <a:pt x="43" y="4"/>
                        </a:lnTo>
                        <a:lnTo>
                          <a:pt x="45" y="9"/>
                        </a:lnTo>
                        <a:lnTo>
                          <a:pt x="45" y="21"/>
                        </a:lnTo>
                        <a:lnTo>
                          <a:pt x="47" y="39"/>
                        </a:lnTo>
                        <a:lnTo>
                          <a:pt x="42" y="41"/>
                        </a:lnTo>
                        <a:lnTo>
                          <a:pt x="37" y="51"/>
                        </a:lnTo>
                        <a:lnTo>
                          <a:pt x="33" y="57"/>
                        </a:lnTo>
                        <a:lnTo>
                          <a:pt x="23" y="55"/>
                        </a:lnTo>
                        <a:lnTo>
                          <a:pt x="6" y="52"/>
                        </a:lnTo>
                        <a:lnTo>
                          <a:pt x="1" y="41"/>
                        </a:lnTo>
                        <a:lnTo>
                          <a:pt x="0" y="34"/>
                        </a:lnTo>
                        <a:lnTo>
                          <a:pt x="3" y="24"/>
                        </a:lnTo>
                        <a:lnTo>
                          <a:pt x="8" y="12"/>
                        </a:lnTo>
                        <a:lnTo>
                          <a:pt x="13" y="5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2" name="Freeform 100"/>
                  <p:cNvSpPr>
                    <a:spLocks/>
                  </p:cNvSpPr>
                  <p:nvPr/>
                </p:nvSpPr>
                <p:spPr bwMode="auto">
                  <a:xfrm>
                    <a:off x="2321" y="3155"/>
                    <a:ext cx="323" cy="284"/>
                  </a:xfrm>
                  <a:custGeom>
                    <a:avLst/>
                    <a:gdLst>
                      <a:gd name="T0" fmla="*/ 16698 w 302"/>
                      <a:gd name="T1" fmla="*/ 1 h 270"/>
                      <a:gd name="T2" fmla="*/ 16768 w 302"/>
                      <a:gd name="T3" fmla="*/ 388 h 270"/>
                      <a:gd name="T4" fmla="*/ 19101 w 302"/>
                      <a:gd name="T5" fmla="*/ 369 h 270"/>
                      <a:gd name="T6" fmla="*/ 20784 w 302"/>
                      <a:gd name="T7" fmla="*/ 499 h 270"/>
                      <a:gd name="T8" fmla="*/ 24406 w 302"/>
                      <a:gd name="T9" fmla="*/ 951 h 270"/>
                      <a:gd name="T10" fmla="*/ 24994 w 302"/>
                      <a:gd name="T11" fmla="*/ 1441 h 270"/>
                      <a:gd name="T12" fmla="*/ 25428 w 302"/>
                      <a:gd name="T13" fmla="*/ 2029 h 270"/>
                      <a:gd name="T14" fmla="*/ 25428 w 302"/>
                      <a:gd name="T15" fmla="*/ 2889 h 270"/>
                      <a:gd name="T16" fmla="*/ 25158 w 302"/>
                      <a:gd name="T17" fmla="*/ 3326 h 270"/>
                      <a:gd name="T18" fmla="*/ 24534 w 302"/>
                      <a:gd name="T19" fmla="*/ 4042 h 270"/>
                      <a:gd name="T20" fmla="*/ 25158 w 302"/>
                      <a:gd name="T21" fmla="*/ 4762 h 270"/>
                      <a:gd name="T22" fmla="*/ 23640 w 302"/>
                      <a:gd name="T23" fmla="*/ 5980 h 270"/>
                      <a:gd name="T24" fmla="*/ 22103 w 302"/>
                      <a:gd name="T25" fmla="*/ 6759 h 270"/>
                      <a:gd name="T26" fmla="*/ 21031 w 302"/>
                      <a:gd name="T27" fmla="*/ 7109 h 270"/>
                      <a:gd name="T28" fmla="*/ 20784 w 302"/>
                      <a:gd name="T29" fmla="*/ 7600 h 270"/>
                      <a:gd name="T30" fmla="*/ 20756 w 302"/>
                      <a:gd name="T31" fmla="*/ 7600 h 270"/>
                      <a:gd name="T32" fmla="*/ 19433 w 302"/>
                      <a:gd name="T33" fmla="*/ 7271 h 270"/>
                      <a:gd name="T34" fmla="*/ 17753 w 302"/>
                      <a:gd name="T35" fmla="*/ 7140 h 270"/>
                      <a:gd name="T36" fmla="*/ 16073 w 302"/>
                      <a:gd name="T37" fmla="*/ 7140 h 270"/>
                      <a:gd name="T38" fmla="*/ 14051 w 302"/>
                      <a:gd name="T39" fmla="*/ 6959 h 270"/>
                      <a:gd name="T40" fmla="*/ 12844 w 302"/>
                      <a:gd name="T41" fmla="*/ 6880 h 270"/>
                      <a:gd name="T42" fmla="*/ 11467 w 302"/>
                      <a:gd name="T43" fmla="*/ 6702 h 270"/>
                      <a:gd name="T44" fmla="*/ 9908 w 302"/>
                      <a:gd name="T45" fmla="*/ 6671 h 270"/>
                      <a:gd name="T46" fmla="*/ 8892 w 302"/>
                      <a:gd name="T47" fmla="*/ 6426 h 270"/>
                      <a:gd name="T48" fmla="*/ 8290 w 302"/>
                      <a:gd name="T49" fmla="*/ 5829 h 270"/>
                      <a:gd name="T50" fmla="*/ 7660 w 302"/>
                      <a:gd name="T51" fmla="*/ 5269 h 270"/>
                      <a:gd name="T52" fmla="*/ 6335 w 302"/>
                      <a:gd name="T53" fmla="*/ 4857 h 270"/>
                      <a:gd name="T54" fmla="*/ 4539 w 302"/>
                      <a:gd name="T55" fmla="*/ 4618 h 270"/>
                      <a:gd name="T56" fmla="*/ 1965 w 302"/>
                      <a:gd name="T57" fmla="*/ 3720 h 270"/>
                      <a:gd name="T58" fmla="*/ 1494 w 302"/>
                      <a:gd name="T59" fmla="*/ 3238 h 270"/>
                      <a:gd name="T60" fmla="*/ 2 w 302"/>
                      <a:gd name="T61" fmla="*/ 2648 h 270"/>
                      <a:gd name="T62" fmla="*/ 0 w 302"/>
                      <a:gd name="T63" fmla="*/ 2391 h 270"/>
                      <a:gd name="T64" fmla="*/ 4 w 302"/>
                      <a:gd name="T65" fmla="*/ 2483 h 270"/>
                      <a:gd name="T66" fmla="*/ 2248 w 302"/>
                      <a:gd name="T67" fmla="*/ 2517 h 270"/>
                      <a:gd name="T68" fmla="*/ 3599 w 302"/>
                      <a:gd name="T69" fmla="*/ 2483 h 270"/>
                      <a:gd name="T70" fmla="*/ 4379 w 302"/>
                      <a:gd name="T71" fmla="*/ 2483 h 270"/>
                      <a:gd name="T72" fmla="*/ 4684 w 302"/>
                      <a:gd name="T73" fmla="*/ 2612 h 270"/>
                      <a:gd name="T74" fmla="*/ 5386 w 302"/>
                      <a:gd name="T75" fmla="*/ 2595 h 270"/>
                      <a:gd name="T76" fmla="*/ 6162 w 302"/>
                      <a:gd name="T77" fmla="*/ 2467 h 270"/>
                      <a:gd name="T78" fmla="*/ 6795 w 302"/>
                      <a:gd name="T79" fmla="*/ 2161 h 270"/>
                      <a:gd name="T80" fmla="*/ 7162 w 302"/>
                      <a:gd name="T81" fmla="*/ 2056 h 270"/>
                      <a:gd name="T82" fmla="*/ 7660 w 302"/>
                      <a:gd name="T83" fmla="*/ 1929 h 270"/>
                      <a:gd name="T84" fmla="*/ 8290 w 302"/>
                      <a:gd name="T85" fmla="*/ 1767 h 270"/>
                      <a:gd name="T86" fmla="*/ 8476 w 302"/>
                      <a:gd name="T87" fmla="*/ 1658 h 270"/>
                      <a:gd name="T88" fmla="*/ 9177 w 302"/>
                      <a:gd name="T89" fmla="*/ 1597 h 270"/>
                      <a:gd name="T90" fmla="*/ 9223 w 302"/>
                      <a:gd name="T91" fmla="*/ 1518 h 270"/>
                      <a:gd name="T92" fmla="*/ 9483 w 302"/>
                      <a:gd name="T93" fmla="*/ 1441 h 270"/>
                      <a:gd name="T94" fmla="*/ 9908 w 302"/>
                      <a:gd name="T95" fmla="*/ 1354 h 270"/>
                      <a:gd name="T96" fmla="*/ 10171 w 302"/>
                      <a:gd name="T97" fmla="*/ 1372 h 270"/>
                      <a:gd name="T98" fmla="*/ 10498 w 302"/>
                      <a:gd name="T99" fmla="*/ 1287 h 270"/>
                      <a:gd name="T100" fmla="*/ 10878 w 302"/>
                      <a:gd name="T101" fmla="*/ 1287 h 270"/>
                      <a:gd name="T102" fmla="*/ 11601 w 302"/>
                      <a:gd name="T103" fmla="*/ 1354 h 270"/>
                      <a:gd name="T104" fmla="*/ 12069 w 302"/>
                      <a:gd name="T105" fmla="*/ 1224 h 270"/>
                      <a:gd name="T106" fmla="*/ 11284 w 302"/>
                      <a:gd name="T107" fmla="*/ 1013 h 270"/>
                      <a:gd name="T108" fmla="*/ 11467 w 302"/>
                      <a:gd name="T109" fmla="*/ 859 h 270"/>
                      <a:gd name="T110" fmla="*/ 11467 w 302"/>
                      <a:gd name="T111" fmla="*/ 676 h 270"/>
                      <a:gd name="T112" fmla="*/ 11601 w 302"/>
                      <a:gd name="T113" fmla="*/ 388 h 270"/>
                      <a:gd name="T114" fmla="*/ 12264 w 302"/>
                      <a:gd name="T115" fmla="*/ 369 h 270"/>
                      <a:gd name="T116" fmla="*/ 12965 w 302"/>
                      <a:gd name="T117" fmla="*/ 4 h 270"/>
                      <a:gd name="T118" fmla="*/ 14766 w 302"/>
                      <a:gd name="T119" fmla="*/ 0 h 270"/>
                      <a:gd name="T120" fmla="*/ 15520 w 302"/>
                      <a:gd name="T121" fmla="*/ 1 h 270"/>
                      <a:gd name="T122" fmla="*/ 16156 w 302"/>
                      <a:gd name="T123" fmla="*/ 1 h 270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302"/>
                      <a:gd name="T187" fmla="*/ 0 h 270"/>
                      <a:gd name="T188" fmla="*/ 302 w 302"/>
                      <a:gd name="T189" fmla="*/ 270 h 270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302" h="270">
                        <a:moveTo>
                          <a:pt x="192" y="1"/>
                        </a:moveTo>
                        <a:lnTo>
                          <a:pt x="197" y="1"/>
                        </a:lnTo>
                        <a:lnTo>
                          <a:pt x="198" y="0"/>
                        </a:lnTo>
                        <a:lnTo>
                          <a:pt x="198" y="14"/>
                        </a:lnTo>
                        <a:lnTo>
                          <a:pt x="210" y="14"/>
                        </a:lnTo>
                        <a:lnTo>
                          <a:pt x="226" y="13"/>
                        </a:lnTo>
                        <a:lnTo>
                          <a:pt x="236" y="16"/>
                        </a:lnTo>
                        <a:lnTo>
                          <a:pt x="247" y="19"/>
                        </a:lnTo>
                        <a:lnTo>
                          <a:pt x="268" y="27"/>
                        </a:lnTo>
                        <a:lnTo>
                          <a:pt x="290" y="34"/>
                        </a:lnTo>
                        <a:lnTo>
                          <a:pt x="295" y="40"/>
                        </a:lnTo>
                        <a:lnTo>
                          <a:pt x="296" y="51"/>
                        </a:lnTo>
                        <a:lnTo>
                          <a:pt x="298" y="57"/>
                        </a:lnTo>
                        <a:lnTo>
                          <a:pt x="302" y="72"/>
                        </a:lnTo>
                        <a:lnTo>
                          <a:pt x="301" y="95"/>
                        </a:lnTo>
                        <a:lnTo>
                          <a:pt x="302" y="103"/>
                        </a:lnTo>
                        <a:lnTo>
                          <a:pt x="298" y="113"/>
                        </a:lnTo>
                        <a:lnTo>
                          <a:pt x="298" y="118"/>
                        </a:lnTo>
                        <a:lnTo>
                          <a:pt x="290" y="131"/>
                        </a:lnTo>
                        <a:lnTo>
                          <a:pt x="291" y="143"/>
                        </a:lnTo>
                        <a:lnTo>
                          <a:pt x="295" y="151"/>
                        </a:lnTo>
                        <a:lnTo>
                          <a:pt x="298" y="169"/>
                        </a:lnTo>
                        <a:lnTo>
                          <a:pt x="284" y="192"/>
                        </a:lnTo>
                        <a:lnTo>
                          <a:pt x="280" y="213"/>
                        </a:lnTo>
                        <a:lnTo>
                          <a:pt x="268" y="236"/>
                        </a:lnTo>
                        <a:lnTo>
                          <a:pt x="262" y="240"/>
                        </a:lnTo>
                        <a:lnTo>
                          <a:pt x="253" y="245"/>
                        </a:lnTo>
                        <a:lnTo>
                          <a:pt x="249" y="252"/>
                        </a:lnTo>
                        <a:lnTo>
                          <a:pt x="247" y="259"/>
                        </a:lnTo>
                        <a:lnTo>
                          <a:pt x="247" y="270"/>
                        </a:lnTo>
                        <a:lnTo>
                          <a:pt x="246" y="270"/>
                        </a:lnTo>
                        <a:lnTo>
                          <a:pt x="242" y="270"/>
                        </a:lnTo>
                        <a:lnTo>
                          <a:pt x="231" y="259"/>
                        </a:lnTo>
                        <a:lnTo>
                          <a:pt x="217" y="254"/>
                        </a:lnTo>
                        <a:lnTo>
                          <a:pt x="209" y="254"/>
                        </a:lnTo>
                        <a:lnTo>
                          <a:pt x="200" y="255"/>
                        </a:lnTo>
                        <a:lnTo>
                          <a:pt x="191" y="254"/>
                        </a:lnTo>
                        <a:lnTo>
                          <a:pt x="174" y="249"/>
                        </a:lnTo>
                        <a:lnTo>
                          <a:pt x="167" y="248"/>
                        </a:lnTo>
                        <a:lnTo>
                          <a:pt x="160" y="251"/>
                        </a:lnTo>
                        <a:lnTo>
                          <a:pt x="152" y="245"/>
                        </a:lnTo>
                        <a:lnTo>
                          <a:pt x="145" y="243"/>
                        </a:lnTo>
                        <a:lnTo>
                          <a:pt x="136" y="238"/>
                        </a:lnTo>
                        <a:lnTo>
                          <a:pt x="126" y="238"/>
                        </a:lnTo>
                        <a:lnTo>
                          <a:pt x="118" y="237"/>
                        </a:lnTo>
                        <a:lnTo>
                          <a:pt x="111" y="233"/>
                        </a:lnTo>
                        <a:lnTo>
                          <a:pt x="106" y="228"/>
                        </a:lnTo>
                        <a:lnTo>
                          <a:pt x="102" y="220"/>
                        </a:lnTo>
                        <a:lnTo>
                          <a:pt x="98" y="207"/>
                        </a:lnTo>
                        <a:lnTo>
                          <a:pt x="98" y="192"/>
                        </a:lnTo>
                        <a:lnTo>
                          <a:pt x="91" y="187"/>
                        </a:lnTo>
                        <a:lnTo>
                          <a:pt x="81" y="184"/>
                        </a:lnTo>
                        <a:lnTo>
                          <a:pt x="75" y="174"/>
                        </a:lnTo>
                        <a:lnTo>
                          <a:pt x="66" y="169"/>
                        </a:lnTo>
                        <a:lnTo>
                          <a:pt x="54" y="165"/>
                        </a:lnTo>
                        <a:lnTo>
                          <a:pt x="33" y="145"/>
                        </a:lnTo>
                        <a:lnTo>
                          <a:pt x="23" y="133"/>
                        </a:lnTo>
                        <a:lnTo>
                          <a:pt x="19" y="123"/>
                        </a:lnTo>
                        <a:lnTo>
                          <a:pt x="18" y="115"/>
                        </a:lnTo>
                        <a:lnTo>
                          <a:pt x="11" y="109"/>
                        </a:lnTo>
                        <a:lnTo>
                          <a:pt x="2" y="95"/>
                        </a:lnTo>
                        <a:lnTo>
                          <a:pt x="0" y="90"/>
                        </a:lnTo>
                        <a:lnTo>
                          <a:pt x="0" y="85"/>
                        </a:lnTo>
                        <a:lnTo>
                          <a:pt x="2" y="87"/>
                        </a:lnTo>
                        <a:lnTo>
                          <a:pt x="4" y="88"/>
                        </a:lnTo>
                        <a:lnTo>
                          <a:pt x="18" y="85"/>
                        </a:lnTo>
                        <a:lnTo>
                          <a:pt x="27" y="90"/>
                        </a:lnTo>
                        <a:lnTo>
                          <a:pt x="40" y="88"/>
                        </a:lnTo>
                        <a:lnTo>
                          <a:pt x="43" y="88"/>
                        </a:lnTo>
                        <a:lnTo>
                          <a:pt x="48" y="88"/>
                        </a:lnTo>
                        <a:lnTo>
                          <a:pt x="51" y="88"/>
                        </a:lnTo>
                        <a:lnTo>
                          <a:pt x="52" y="92"/>
                        </a:lnTo>
                        <a:lnTo>
                          <a:pt x="55" y="93"/>
                        </a:lnTo>
                        <a:lnTo>
                          <a:pt x="60" y="92"/>
                        </a:lnTo>
                        <a:lnTo>
                          <a:pt x="64" y="92"/>
                        </a:lnTo>
                        <a:lnTo>
                          <a:pt x="70" y="87"/>
                        </a:lnTo>
                        <a:lnTo>
                          <a:pt x="73" y="87"/>
                        </a:lnTo>
                        <a:lnTo>
                          <a:pt x="78" y="83"/>
                        </a:lnTo>
                        <a:lnTo>
                          <a:pt x="81" y="77"/>
                        </a:lnTo>
                        <a:lnTo>
                          <a:pt x="85" y="77"/>
                        </a:lnTo>
                        <a:lnTo>
                          <a:pt x="85" y="74"/>
                        </a:lnTo>
                        <a:lnTo>
                          <a:pt x="89" y="72"/>
                        </a:lnTo>
                        <a:lnTo>
                          <a:pt x="91" y="68"/>
                        </a:lnTo>
                        <a:lnTo>
                          <a:pt x="95" y="65"/>
                        </a:lnTo>
                        <a:lnTo>
                          <a:pt x="98" y="64"/>
                        </a:lnTo>
                        <a:lnTo>
                          <a:pt x="99" y="61"/>
                        </a:lnTo>
                        <a:lnTo>
                          <a:pt x="100" y="59"/>
                        </a:lnTo>
                        <a:lnTo>
                          <a:pt x="106" y="57"/>
                        </a:lnTo>
                        <a:lnTo>
                          <a:pt x="108" y="58"/>
                        </a:lnTo>
                        <a:lnTo>
                          <a:pt x="109" y="57"/>
                        </a:lnTo>
                        <a:lnTo>
                          <a:pt x="109" y="55"/>
                        </a:lnTo>
                        <a:lnTo>
                          <a:pt x="109" y="52"/>
                        </a:lnTo>
                        <a:lnTo>
                          <a:pt x="112" y="51"/>
                        </a:lnTo>
                        <a:lnTo>
                          <a:pt x="115" y="49"/>
                        </a:lnTo>
                        <a:lnTo>
                          <a:pt x="118" y="48"/>
                        </a:lnTo>
                        <a:lnTo>
                          <a:pt x="121" y="49"/>
                        </a:lnTo>
                        <a:lnTo>
                          <a:pt x="123" y="48"/>
                        </a:lnTo>
                        <a:lnTo>
                          <a:pt x="124" y="46"/>
                        </a:lnTo>
                        <a:lnTo>
                          <a:pt x="126" y="44"/>
                        </a:lnTo>
                        <a:lnTo>
                          <a:pt x="129" y="46"/>
                        </a:lnTo>
                        <a:lnTo>
                          <a:pt x="134" y="48"/>
                        </a:lnTo>
                        <a:lnTo>
                          <a:pt x="137" y="48"/>
                        </a:lnTo>
                        <a:lnTo>
                          <a:pt x="139" y="46"/>
                        </a:lnTo>
                        <a:lnTo>
                          <a:pt x="143" y="44"/>
                        </a:lnTo>
                        <a:lnTo>
                          <a:pt x="141" y="40"/>
                        </a:lnTo>
                        <a:lnTo>
                          <a:pt x="134" y="37"/>
                        </a:lnTo>
                        <a:lnTo>
                          <a:pt x="134" y="34"/>
                        </a:lnTo>
                        <a:lnTo>
                          <a:pt x="136" y="30"/>
                        </a:lnTo>
                        <a:lnTo>
                          <a:pt x="136" y="29"/>
                        </a:lnTo>
                        <a:lnTo>
                          <a:pt x="136" y="25"/>
                        </a:lnTo>
                        <a:lnTo>
                          <a:pt x="136" y="19"/>
                        </a:lnTo>
                        <a:lnTo>
                          <a:pt x="137" y="14"/>
                        </a:lnTo>
                        <a:lnTo>
                          <a:pt x="140" y="13"/>
                        </a:lnTo>
                        <a:lnTo>
                          <a:pt x="145" y="13"/>
                        </a:lnTo>
                        <a:lnTo>
                          <a:pt x="150" y="8"/>
                        </a:lnTo>
                        <a:lnTo>
                          <a:pt x="154" y="4"/>
                        </a:lnTo>
                        <a:lnTo>
                          <a:pt x="166" y="4"/>
                        </a:lnTo>
                        <a:lnTo>
                          <a:pt x="175" y="0"/>
                        </a:lnTo>
                        <a:lnTo>
                          <a:pt x="177" y="0"/>
                        </a:lnTo>
                        <a:lnTo>
                          <a:pt x="182" y="1"/>
                        </a:lnTo>
                        <a:lnTo>
                          <a:pt x="186" y="3"/>
                        </a:lnTo>
                        <a:lnTo>
                          <a:pt x="192" y="1"/>
                        </a:lnTo>
                        <a:close/>
                      </a:path>
                    </a:pathLst>
                  </a:custGeom>
                  <a:solidFill>
                    <a:srgbClr val="DBE5F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3" name="Freeform 101"/>
                  <p:cNvSpPr>
                    <a:spLocks/>
                  </p:cNvSpPr>
                  <p:nvPr/>
                </p:nvSpPr>
                <p:spPr bwMode="auto">
                  <a:xfrm>
                    <a:off x="2321" y="3155"/>
                    <a:ext cx="323" cy="284"/>
                  </a:xfrm>
                  <a:custGeom>
                    <a:avLst/>
                    <a:gdLst>
                      <a:gd name="T0" fmla="*/ 16698 w 302"/>
                      <a:gd name="T1" fmla="*/ 1 h 270"/>
                      <a:gd name="T2" fmla="*/ 16768 w 302"/>
                      <a:gd name="T3" fmla="*/ 388 h 270"/>
                      <a:gd name="T4" fmla="*/ 19101 w 302"/>
                      <a:gd name="T5" fmla="*/ 369 h 270"/>
                      <a:gd name="T6" fmla="*/ 20784 w 302"/>
                      <a:gd name="T7" fmla="*/ 499 h 270"/>
                      <a:gd name="T8" fmla="*/ 24406 w 302"/>
                      <a:gd name="T9" fmla="*/ 951 h 270"/>
                      <a:gd name="T10" fmla="*/ 24994 w 302"/>
                      <a:gd name="T11" fmla="*/ 1441 h 270"/>
                      <a:gd name="T12" fmla="*/ 25428 w 302"/>
                      <a:gd name="T13" fmla="*/ 2029 h 270"/>
                      <a:gd name="T14" fmla="*/ 25428 w 302"/>
                      <a:gd name="T15" fmla="*/ 2889 h 270"/>
                      <a:gd name="T16" fmla="*/ 25158 w 302"/>
                      <a:gd name="T17" fmla="*/ 3326 h 270"/>
                      <a:gd name="T18" fmla="*/ 24534 w 302"/>
                      <a:gd name="T19" fmla="*/ 4042 h 270"/>
                      <a:gd name="T20" fmla="*/ 25158 w 302"/>
                      <a:gd name="T21" fmla="*/ 4762 h 270"/>
                      <a:gd name="T22" fmla="*/ 23640 w 302"/>
                      <a:gd name="T23" fmla="*/ 5980 h 270"/>
                      <a:gd name="T24" fmla="*/ 22103 w 302"/>
                      <a:gd name="T25" fmla="*/ 6759 h 270"/>
                      <a:gd name="T26" fmla="*/ 21031 w 302"/>
                      <a:gd name="T27" fmla="*/ 7109 h 270"/>
                      <a:gd name="T28" fmla="*/ 20784 w 302"/>
                      <a:gd name="T29" fmla="*/ 7600 h 270"/>
                      <a:gd name="T30" fmla="*/ 20756 w 302"/>
                      <a:gd name="T31" fmla="*/ 7600 h 270"/>
                      <a:gd name="T32" fmla="*/ 19433 w 302"/>
                      <a:gd name="T33" fmla="*/ 7271 h 270"/>
                      <a:gd name="T34" fmla="*/ 17753 w 302"/>
                      <a:gd name="T35" fmla="*/ 7140 h 270"/>
                      <a:gd name="T36" fmla="*/ 16073 w 302"/>
                      <a:gd name="T37" fmla="*/ 7140 h 270"/>
                      <a:gd name="T38" fmla="*/ 14051 w 302"/>
                      <a:gd name="T39" fmla="*/ 6959 h 270"/>
                      <a:gd name="T40" fmla="*/ 12844 w 302"/>
                      <a:gd name="T41" fmla="*/ 6880 h 270"/>
                      <a:gd name="T42" fmla="*/ 11467 w 302"/>
                      <a:gd name="T43" fmla="*/ 6702 h 270"/>
                      <a:gd name="T44" fmla="*/ 9908 w 302"/>
                      <a:gd name="T45" fmla="*/ 6671 h 270"/>
                      <a:gd name="T46" fmla="*/ 8892 w 302"/>
                      <a:gd name="T47" fmla="*/ 6426 h 270"/>
                      <a:gd name="T48" fmla="*/ 8290 w 302"/>
                      <a:gd name="T49" fmla="*/ 5829 h 270"/>
                      <a:gd name="T50" fmla="*/ 7660 w 302"/>
                      <a:gd name="T51" fmla="*/ 5269 h 270"/>
                      <a:gd name="T52" fmla="*/ 6335 w 302"/>
                      <a:gd name="T53" fmla="*/ 4857 h 270"/>
                      <a:gd name="T54" fmla="*/ 4539 w 302"/>
                      <a:gd name="T55" fmla="*/ 4618 h 270"/>
                      <a:gd name="T56" fmla="*/ 1965 w 302"/>
                      <a:gd name="T57" fmla="*/ 3720 h 270"/>
                      <a:gd name="T58" fmla="*/ 1494 w 302"/>
                      <a:gd name="T59" fmla="*/ 3238 h 270"/>
                      <a:gd name="T60" fmla="*/ 2 w 302"/>
                      <a:gd name="T61" fmla="*/ 2648 h 270"/>
                      <a:gd name="T62" fmla="*/ 0 w 302"/>
                      <a:gd name="T63" fmla="*/ 2391 h 270"/>
                      <a:gd name="T64" fmla="*/ 4 w 302"/>
                      <a:gd name="T65" fmla="*/ 2483 h 270"/>
                      <a:gd name="T66" fmla="*/ 2248 w 302"/>
                      <a:gd name="T67" fmla="*/ 2517 h 270"/>
                      <a:gd name="T68" fmla="*/ 3599 w 302"/>
                      <a:gd name="T69" fmla="*/ 2483 h 270"/>
                      <a:gd name="T70" fmla="*/ 4379 w 302"/>
                      <a:gd name="T71" fmla="*/ 2483 h 270"/>
                      <a:gd name="T72" fmla="*/ 4684 w 302"/>
                      <a:gd name="T73" fmla="*/ 2612 h 270"/>
                      <a:gd name="T74" fmla="*/ 5386 w 302"/>
                      <a:gd name="T75" fmla="*/ 2595 h 270"/>
                      <a:gd name="T76" fmla="*/ 6162 w 302"/>
                      <a:gd name="T77" fmla="*/ 2467 h 270"/>
                      <a:gd name="T78" fmla="*/ 6795 w 302"/>
                      <a:gd name="T79" fmla="*/ 2161 h 270"/>
                      <a:gd name="T80" fmla="*/ 7162 w 302"/>
                      <a:gd name="T81" fmla="*/ 2056 h 270"/>
                      <a:gd name="T82" fmla="*/ 7660 w 302"/>
                      <a:gd name="T83" fmla="*/ 1929 h 270"/>
                      <a:gd name="T84" fmla="*/ 8290 w 302"/>
                      <a:gd name="T85" fmla="*/ 1767 h 270"/>
                      <a:gd name="T86" fmla="*/ 8476 w 302"/>
                      <a:gd name="T87" fmla="*/ 1658 h 270"/>
                      <a:gd name="T88" fmla="*/ 9177 w 302"/>
                      <a:gd name="T89" fmla="*/ 1597 h 270"/>
                      <a:gd name="T90" fmla="*/ 9223 w 302"/>
                      <a:gd name="T91" fmla="*/ 1518 h 270"/>
                      <a:gd name="T92" fmla="*/ 9483 w 302"/>
                      <a:gd name="T93" fmla="*/ 1441 h 270"/>
                      <a:gd name="T94" fmla="*/ 9908 w 302"/>
                      <a:gd name="T95" fmla="*/ 1354 h 270"/>
                      <a:gd name="T96" fmla="*/ 10171 w 302"/>
                      <a:gd name="T97" fmla="*/ 1372 h 270"/>
                      <a:gd name="T98" fmla="*/ 10498 w 302"/>
                      <a:gd name="T99" fmla="*/ 1287 h 270"/>
                      <a:gd name="T100" fmla="*/ 10878 w 302"/>
                      <a:gd name="T101" fmla="*/ 1287 h 270"/>
                      <a:gd name="T102" fmla="*/ 11601 w 302"/>
                      <a:gd name="T103" fmla="*/ 1354 h 270"/>
                      <a:gd name="T104" fmla="*/ 12069 w 302"/>
                      <a:gd name="T105" fmla="*/ 1224 h 270"/>
                      <a:gd name="T106" fmla="*/ 11284 w 302"/>
                      <a:gd name="T107" fmla="*/ 1013 h 270"/>
                      <a:gd name="T108" fmla="*/ 11467 w 302"/>
                      <a:gd name="T109" fmla="*/ 859 h 270"/>
                      <a:gd name="T110" fmla="*/ 11467 w 302"/>
                      <a:gd name="T111" fmla="*/ 676 h 270"/>
                      <a:gd name="T112" fmla="*/ 11601 w 302"/>
                      <a:gd name="T113" fmla="*/ 388 h 270"/>
                      <a:gd name="T114" fmla="*/ 12264 w 302"/>
                      <a:gd name="T115" fmla="*/ 369 h 270"/>
                      <a:gd name="T116" fmla="*/ 12965 w 302"/>
                      <a:gd name="T117" fmla="*/ 4 h 270"/>
                      <a:gd name="T118" fmla="*/ 14766 w 302"/>
                      <a:gd name="T119" fmla="*/ 0 h 270"/>
                      <a:gd name="T120" fmla="*/ 15520 w 302"/>
                      <a:gd name="T121" fmla="*/ 1 h 270"/>
                      <a:gd name="T122" fmla="*/ 16156 w 302"/>
                      <a:gd name="T123" fmla="*/ 1 h 270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302"/>
                      <a:gd name="T187" fmla="*/ 0 h 270"/>
                      <a:gd name="T188" fmla="*/ 302 w 302"/>
                      <a:gd name="T189" fmla="*/ 270 h 270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302" h="270">
                        <a:moveTo>
                          <a:pt x="192" y="1"/>
                        </a:moveTo>
                        <a:lnTo>
                          <a:pt x="197" y="1"/>
                        </a:lnTo>
                        <a:lnTo>
                          <a:pt x="198" y="0"/>
                        </a:lnTo>
                        <a:lnTo>
                          <a:pt x="198" y="14"/>
                        </a:lnTo>
                        <a:lnTo>
                          <a:pt x="210" y="14"/>
                        </a:lnTo>
                        <a:lnTo>
                          <a:pt x="226" y="13"/>
                        </a:lnTo>
                        <a:lnTo>
                          <a:pt x="236" y="16"/>
                        </a:lnTo>
                        <a:lnTo>
                          <a:pt x="247" y="19"/>
                        </a:lnTo>
                        <a:lnTo>
                          <a:pt x="268" y="27"/>
                        </a:lnTo>
                        <a:lnTo>
                          <a:pt x="290" y="34"/>
                        </a:lnTo>
                        <a:lnTo>
                          <a:pt x="295" y="40"/>
                        </a:lnTo>
                        <a:lnTo>
                          <a:pt x="296" y="51"/>
                        </a:lnTo>
                        <a:lnTo>
                          <a:pt x="298" y="57"/>
                        </a:lnTo>
                        <a:lnTo>
                          <a:pt x="302" y="72"/>
                        </a:lnTo>
                        <a:lnTo>
                          <a:pt x="301" y="95"/>
                        </a:lnTo>
                        <a:lnTo>
                          <a:pt x="302" y="103"/>
                        </a:lnTo>
                        <a:lnTo>
                          <a:pt x="298" y="113"/>
                        </a:lnTo>
                        <a:lnTo>
                          <a:pt x="298" y="118"/>
                        </a:lnTo>
                        <a:lnTo>
                          <a:pt x="290" y="131"/>
                        </a:lnTo>
                        <a:lnTo>
                          <a:pt x="291" y="143"/>
                        </a:lnTo>
                        <a:lnTo>
                          <a:pt x="295" y="151"/>
                        </a:lnTo>
                        <a:lnTo>
                          <a:pt x="298" y="169"/>
                        </a:lnTo>
                        <a:lnTo>
                          <a:pt x="284" y="192"/>
                        </a:lnTo>
                        <a:lnTo>
                          <a:pt x="280" y="213"/>
                        </a:lnTo>
                        <a:lnTo>
                          <a:pt x="268" y="236"/>
                        </a:lnTo>
                        <a:lnTo>
                          <a:pt x="262" y="240"/>
                        </a:lnTo>
                        <a:lnTo>
                          <a:pt x="253" y="245"/>
                        </a:lnTo>
                        <a:lnTo>
                          <a:pt x="249" y="252"/>
                        </a:lnTo>
                        <a:lnTo>
                          <a:pt x="247" y="259"/>
                        </a:lnTo>
                        <a:lnTo>
                          <a:pt x="247" y="270"/>
                        </a:lnTo>
                        <a:lnTo>
                          <a:pt x="246" y="270"/>
                        </a:lnTo>
                        <a:lnTo>
                          <a:pt x="242" y="270"/>
                        </a:lnTo>
                        <a:lnTo>
                          <a:pt x="231" y="259"/>
                        </a:lnTo>
                        <a:lnTo>
                          <a:pt x="217" y="254"/>
                        </a:lnTo>
                        <a:lnTo>
                          <a:pt x="209" y="254"/>
                        </a:lnTo>
                        <a:lnTo>
                          <a:pt x="200" y="255"/>
                        </a:lnTo>
                        <a:lnTo>
                          <a:pt x="191" y="254"/>
                        </a:lnTo>
                        <a:lnTo>
                          <a:pt x="174" y="249"/>
                        </a:lnTo>
                        <a:lnTo>
                          <a:pt x="167" y="248"/>
                        </a:lnTo>
                        <a:lnTo>
                          <a:pt x="160" y="251"/>
                        </a:lnTo>
                        <a:lnTo>
                          <a:pt x="152" y="245"/>
                        </a:lnTo>
                        <a:lnTo>
                          <a:pt x="145" y="243"/>
                        </a:lnTo>
                        <a:lnTo>
                          <a:pt x="136" y="238"/>
                        </a:lnTo>
                        <a:lnTo>
                          <a:pt x="126" y="238"/>
                        </a:lnTo>
                        <a:lnTo>
                          <a:pt x="118" y="237"/>
                        </a:lnTo>
                        <a:lnTo>
                          <a:pt x="111" y="233"/>
                        </a:lnTo>
                        <a:lnTo>
                          <a:pt x="106" y="228"/>
                        </a:lnTo>
                        <a:lnTo>
                          <a:pt x="102" y="220"/>
                        </a:lnTo>
                        <a:lnTo>
                          <a:pt x="98" y="207"/>
                        </a:lnTo>
                        <a:lnTo>
                          <a:pt x="98" y="192"/>
                        </a:lnTo>
                        <a:lnTo>
                          <a:pt x="91" y="187"/>
                        </a:lnTo>
                        <a:lnTo>
                          <a:pt x="81" y="184"/>
                        </a:lnTo>
                        <a:lnTo>
                          <a:pt x="75" y="174"/>
                        </a:lnTo>
                        <a:lnTo>
                          <a:pt x="66" y="169"/>
                        </a:lnTo>
                        <a:lnTo>
                          <a:pt x="54" y="165"/>
                        </a:lnTo>
                        <a:lnTo>
                          <a:pt x="33" y="145"/>
                        </a:lnTo>
                        <a:lnTo>
                          <a:pt x="23" y="133"/>
                        </a:lnTo>
                        <a:lnTo>
                          <a:pt x="19" y="123"/>
                        </a:lnTo>
                        <a:lnTo>
                          <a:pt x="18" y="115"/>
                        </a:lnTo>
                        <a:lnTo>
                          <a:pt x="11" y="109"/>
                        </a:lnTo>
                        <a:lnTo>
                          <a:pt x="2" y="95"/>
                        </a:lnTo>
                        <a:lnTo>
                          <a:pt x="0" y="90"/>
                        </a:lnTo>
                        <a:lnTo>
                          <a:pt x="0" y="85"/>
                        </a:lnTo>
                        <a:lnTo>
                          <a:pt x="2" y="87"/>
                        </a:lnTo>
                        <a:lnTo>
                          <a:pt x="4" y="88"/>
                        </a:lnTo>
                        <a:lnTo>
                          <a:pt x="18" y="85"/>
                        </a:lnTo>
                        <a:lnTo>
                          <a:pt x="27" y="90"/>
                        </a:lnTo>
                        <a:lnTo>
                          <a:pt x="40" y="88"/>
                        </a:lnTo>
                        <a:lnTo>
                          <a:pt x="43" y="88"/>
                        </a:lnTo>
                        <a:lnTo>
                          <a:pt x="48" y="88"/>
                        </a:lnTo>
                        <a:lnTo>
                          <a:pt x="51" y="88"/>
                        </a:lnTo>
                        <a:lnTo>
                          <a:pt x="52" y="92"/>
                        </a:lnTo>
                        <a:lnTo>
                          <a:pt x="55" y="93"/>
                        </a:lnTo>
                        <a:lnTo>
                          <a:pt x="60" y="92"/>
                        </a:lnTo>
                        <a:lnTo>
                          <a:pt x="64" y="92"/>
                        </a:lnTo>
                        <a:lnTo>
                          <a:pt x="70" y="87"/>
                        </a:lnTo>
                        <a:lnTo>
                          <a:pt x="73" y="87"/>
                        </a:lnTo>
                        <a:lnTo>
                          <a:pt x="78" y="83"/>
                        </a:lnTo>
                        <a:lnTo>
                          <a:pt x="81" y="77"/>
                        </a:lnTo>
                        <a:lnTo>
                          <a:pt x="85" y="77"/>
                        </a:lnTo>
                        <a:lnTo>
                          <a:pt x="85" y="74"/>
                        </a:lnTo>
                        <a:lnTo>
                          <a:pt x="89" y="72"/>
                        </a:lnTo>
                        <a:lnTo>
                          <a:pt x="91" y="68"/>
                        </a:lnTo>
                        <a:lnTo>
                          <a:pt x="95" y="65"/>
                        </a:lnTo>
                        <a:lnTo>
                          <a:pt x="98" y="64"/>
                        </a:lnTo>
                        <a:lnTo>
                          <a:pt x="99" y="61"/>
                        </a:lnTo>
                        <a:lnTo>
                          <a:pt x="100" y="59"/>
                        </a:lnTo>
                        <a:lnTo>
                          <a:pt x="106" y="57"/>
                        </a:lnTo>
                        <a:lnTo>
                          <a:pt x="108" y="58"/>
                        </a:lnTo>
                        <a:lnTo>
                          <a:pt x="109" y="57"/>
                        </a:lnTo>
                        <a:lnTo>
                          <a:pt x="109" y="55"/>
                        </a:lnTo>
                        <a:lnTo>
                          <a:pt x="109" y="52"/>
                        </a:lnTo>
                        <a:lnTo>
                          <a:pt x="112" y="51"/>
                        </a:lnTo>
                        <a:lnTo>
                          <a:pt x="115" y="49"/>
                        </a:lnTo>
                        <a:lnTo>
                          <a:pt x="118" y="48"/>
                        </a:lnTo>
                        <a:lnTo>
                          <a:pt x="121" y="49"/>
                        </a:lnTo>
                        <a:lnTo>
                          <a:pt x="123" y="48"/>
                        </a:lnTo>
                        <a:lnTo>
                          <a:pt x="124" y="46"/>
                        </a:lnTo>
                        <a:lnTo>
                          <a:pt x="126" y="44"/>
                        </a:lnTo>
                        <a:lnTo>
                          <a:pt x="129" y="46"/>
                        </a:lnTo>
                        <a:lnTo>
                          <a:pt x="134" y="48"/>
                        </a:lnTo>
                        <a:lnTo>
                          <a:pt x="137" y="48"/>
                        </a:lnTo>
                        <a:lnTo>
                          <a:pt x="139" y="46"/>
                        </a:lnTo>
                        <a:lnTo>
                          <a:pt x="143" y="44"/>
                        </a:lnTo>
                        <a:lnTo>
                          <a:pt x="141" y="40"/>
                        </a:lnTo>
                        <a:lnTo>
                          <a:pt x="134" y="37"/>
                        </a:lnTo>
                        <a:lnTo>
                          <a:pt x="134" y="34"/>
                        </a:lnTo>
                        <a:lnTo>
                          <a:pt x="136" y="30"/>
                        </a:lnTo>
                        <a:lnTo>
                          <a:pt x="136" y="29"/>
                        </a:lnTo>
                        <a:lnTo>
                          <a:pt x="136" y="25"/>
                        </a:lnTo>
                        <a:lnTo>
                          <a:pt x="136" y="19"/>
                        </a:lnTo>
                        <a:lnTo>
                          <a:pt x="137" y="14"/>
                        </a:lnTo>
                        <a:lnTo>
                          <a:pt x="140" y="13"/>
                        </a:lnTo>
                        <a:lnTo>
                          <a:pt x="145" y="13"/>
                        </a:lnTo>
                        <a:lnTo>
                          <a:pt x="150" y="8"/>
                        </a:lnTo>
                        <a:lnTo>
                          <a:pt x="154" y="4"/>
                        </a:lnTo>
                        <a:lnTo>
                          <a:pt x="166" y="4"/>
                        </a:lnTo>
                        <a:lnTo>
                          <a:pt x="175" y="0"/>
                        </a:lnTo>
                        <a:lnTo>
                          <a:pt x="177" y="0"/>
                        </a:lnTo>
                        <a:lnTo>
                          <a:pt x="182" y="1"/>
                        </a:lnTo>
                        <a:lnTo>
                          <a:pt x="186" y="3"/>
                        </a:lnTo>
                        <a:lnTo>
                          <a:pt x="192" y="1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4" name="Freeform 102"/>
                  <p:cNvSpPr>
                    <a:spLocks/>
                  </p:cNvSpPr>
                  <p:nvPr/>
                </p:nvSpPr>
                <p:spPr bwMode="auto">
                  <a:xfrm>
                    <a:off x="2296" y="1240"/>
                    <a:ext cx="461" cy="399"/>
                  </a:xfrm>
                  <a:custGeom>
                    <a:avLst/>
                    <a:gdLst>
                      <a:gd name="T0" fmla="*/ 33704 w 431"/>
                      <a:gd name="T1" fmla="*/ 2189 h 380"/>
                      <a:gd name="T2" fmla="*/ 32364 w 431"/>
                      <a:gd name="T3" fmla="*/ 3235 h 380"/>
                      <a:gd name="T4" fmla="*/ 32012 w 431"/>
                      <a:gd name="T5" fmla="*/ 3613 h 380"/>
                      <a:gd name="T6" fmla="*/ 30890 w 431"/>
                      <a:gd name="T7" fmla="*/ 3702 h 380"/>
                      <a:gd name="T8" fmla="*/ 29102 w 431"/>
                      <a:gd name="T9" fmla="*/ 3133 h 380"/>
                      <a:gd name="T10" fmla="*/ 28289 w 431"/>
                      <a:gd name="T11" fmla="*/ 2695 h 380"/>
                      <a:gd name="T12" fmla="*/ 27146 w 431"/>
                      <a:gd name="T13" fmla="*/ 2189 h 380"/>
                      <a:gd name="T14" fmla="*/ 26283 w 431"/>
                      <a:gd name="T15" fmla="*/ 1654 h 380"/>
                      <a:gd name="T16" fmla="*/ 25844 w 431"/>
                      <a:gd name="T17" fmla="*/ 1654 h 380"/>
                      <a:gd name="T18" fmla="*/ 25450 w 431"/>
                      <a:gd name="T19" fmla="*/ 1986 h 380"/>
                      <a:gd name="T20" fmla="*/ 26283 w 431"/>
                      <a:gd name="T21" fmla="*/ 2298 h 380"/>
                      <a:gd name="T22" fmla="*/ 26511 w 431"/>
                      <a:gd name="T23" fmla="*/ 2695 h 380"/>
                      <a:gd name="T24" fmla="*/ 28880 w 431"/>
                      <a:gd name="T25" fmla="*/ 3526 h 380"/>
                      <a:gd name="T26" fmla="*/ 29642 w 431"/>
                      <a:gd name="T27" fmla="*/ 4081 h 380"/>
                      <a:gd name="T28" fmla="*/ 30699 w 431"/>
                      <a:gd name="T29" fmla="*/ 4843 h 380"/>
                      <a:gd name="T30" fmla="*/ 31942 w 431"/>
                      <a:gd name="T31" fmla="*/ 5546 h 380"/>
                      <a:gd name="T32" fmla="*/ 33736 w 431"/>
                      <a:gd name="T33" fmla="*/ 6407 h 380"/>
                      <a:gd name="T34" fmla="*/ 35122 w 431"/>
                      <a:gd name="T35" fmla="*/ 7063 h 380"/>
                      <a:gd name="T36" fmla="*/ 36543 w 431"/>
                      <a:gd name="T37" fmla="*/ 7426 h 380"/>
                      <a:gd name="T38" fmla="*/ 35613 w 431"/>
                      <a:gd name="T39" fmla="*/ 7426 h 380"/>
                      <a:gd name="T40" fmla="*/ 35686 w 431"/>
                      <a:gd name="T41" fmla="*/ 8073 h 380"/>
                      <a:gd name="T42" fmla="*/ 34051 w 431"/>
                      <a:gd name="T43" fmla="*/ 8506 h 380"/>
                      <a:gd name="T44" fmla="*/ 30890 w 431"/>
                      <a:gd name="T45" fmla="*/ 9477 h 380"/>
                      <a:gd name="T46" fmla="*/ 22530 w 431"/>
                      <a:gd name="T47" fmla="*/ 9346 h 380"/>
                      <a:gd name="T48" fmla="*/ 22530 w 431"/>
                      <a:gd name="T49" fmla="*/ 9114 h 380"/>
                      <a:gd name="T50" fmla="*/ 20255 w 431"/>
                      <a:gd name="T51" fmla="*/ 9346 h 380"/>
                      <a:gd name="T52" fmla="*/ 10880 w 431"/>
                      <a:gd name="T53" fmla="*/ 9346 h 380"/>
                      <a:gd name="T54" fmla="*/ 1496 w 431"/>
                      <a:gd name="T55" fmla="*/ 9346 h 380"/>
                      <a:gd name="T56" fmla="*/ 1496 w 431"/>
                      <a:gd name="T57" fmla="*/ 6813 h 380"/>
                      <a:gd name="T58" fmla="*/ 1496 w 431"/>
                      <a:gd name="T59" fmla="*/ 4081 h 380"/>
                      <a:gd name="T60" fmla="*/ 5 w 431"/>
                      <a:gd name="T61" fmla="*/ 2218 h 380"/>
                      <a:gd name="T62" fmla="*/ 1 w 431"/>
                      <a:gd name="T63" fmla="*/ 1824 h 380"/>
                      <a:gd name="T64" fmla="*/ 3 w 431"/>
                      <a:gd name="T65" fmla="*/ 1399 h 380"/>
                      <a:gd name="T66" fmla="*/ 873 w 431"/>
                      <a:gd name="T67" fmla="*/ 1119 h 380"/>
                      <a:gd name="T68" fmla="*/ 5 w 431"/>
                      <a:gd name="T69" fmla="*/ 360 h 380"/>
                      <a:gd name="T70" fmla="*/ 1069 w 431"/>
                      <a:gd name="T71" fmla="*/ 0 h 380"/>
                      <a:gd name="T72" fmla="*/ 2104 w 431"/>
                      <a:gd name="T73" fmla="*/ 5 h 380"/>
                      <a:gd name="T74" fmla="*/ 5370 w 431"/>
                      <a:gd name="T75" fmla="*/ 3 h 380"/>
                      <a:gd name="T76" fmla="*/ 9200 w 431"/>
                      <a:gd name="T77" fmla="*/ 378 h 380"/>
                      <a:gd name="T78" fmla="*/ 11189 w 431"/>
                      <a:gd name="T79" fmla="*/ 532 h 380"/>
                      <a:gd name="T80" fmla="*/ 13717 w 431"/>
                      <a:gd name="T81" fmla="*/ 679 h 380"/>
                      <a:gd name="T82" fmla="*/ 15915 w 431"/>
                      <a:gd name="T83" fmla="*/ 587 h 380"/>
                      <a:gd name="T84" fmla="*/ 18583 w 431"/>
                      <a:gd name="T85" fmla="*/ 7 h 380"/>
                      <a:gd name="T86" fmla="*/ 20255 w 431"/>
                      <a:gd name="T87" fmla="*/ 5 h 380"/>
                      <a:gd name="T88" fmla="*/ 19252 w 431"/>
                      <a:gd name="T89" fmla="*/ 327 h 380"/>
                      <a:gd name="T90" fmla="*/ 20739 w 431"/>
                      <a:gd name="T91" fmla="*/ 7 h 380"/>
                      <a:gd name="T92" fmla="*/ 21763 w 431"/>
                      <a:gd name="T93" fmla="*/ 7 h 380"/>
                      <a:gd name="T94" fmla="*/ 23832 w 431"/>
                      <a:gd name="T95" fmla="*/ 3 h 380"/>
                      <a:gd name="T96" fmla="*/ 24404 w 431"/>
                      <a:gd name="T97" fmla="*/ 296 h 380"/>
                      <a:gd name="T98" fmla="*/ 25437 w 431"/>
                      <a:gd name="T99" fmla="*/ 417 h 380"/>
                      <a:gd name="T100" fmla="*/ 26833 w 431"/>
                      <a:gd name="T101" fmla="*/ 587 h 380"/>
                      <a:gd name="T102" fmla="*/ 27826 w 431"/>
                      <a:gd name="T103" fmla="*/ 483 h 380"/>
                      <a:gd name="T104" fmla="*/ 30568 w 431"/>
                      <a:gd name="T105" fmla="*/ 438 h 380"/>
                      <a:gd name="T106" fmla="*/ 31193 w 431"/>
                      <a:gd name="T107" fmla="*/ 507 h 380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431"/>
                      <a:gd name="T163" fmla="*/ 0 h 380"/>
                      <a:gd name="T164" fmla="*/ 431 w 431"/>
                      <a:gd name="T165" fmla="*/ 380 h 380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431" h="380">
                        <a:moveTo>
                          <a:pt x="371" y="24"/>
                        </a:moveTo>
                        <a:lnTo>
                          <a:pt x="384" y="60"/>
                        </a:lnTo>
                        <a:lnTo>
                          <a:pt x="396" y="87"/>
                        </a:lnTo>
                        <a:lnTo>
                          <a:pt x="390" y="99"/>
                        </a:lnTo>
                        <a:lnTo>
                          <a:pt x="387" y="113"/>
                        </a:lnTo>
                        <a:lnTo>
                          <a:pt x="381" y="129"/>
                        </a:lnTo>
                        <a:lnTo>
                          <a:pt x="379" y="134"/>
                        </a:lnTo>
                        <a:lnTo>
                          <a:pt x="379" y="139"/>
                        </a:lnTo>
                        <a:lnTo>
                          <a:pt x="379" y="144"/>
                        </a:lnTo>
                        <a:lnTo>
                          <a:pt x="376" y="145"/>
                        </a:lnTo>
                        <a:lnTo>
                          <a:pt x="371" y="147"/>
                        </a:lnTo>
                        <a:lnTo>
                          <a:pt x="365" y="147"/>
                        </a:lnTo>
                        <a:lnTo>
                          <a:pt x="359" y="144"/>
                        </a:lnTo>
                        <a:lnTo>
                          <a:pt x="351" y="134"/>
                        </a:lnTo>
                        <a:lnTo>
                          <a:pt x="343" y="126"/>
                        </a:lnTo>
                        <a:lnTo>
                          <a:pt x="336" y="117"/>
                        </a:lnTo>
                        <a:lnTo>
                          <a:pt x="334" y="114"/>
                        </a:lnTo>
                        <a:lnTo>
                          <a:pt x="333" y="107"/>
                        </a:lnTo>
                        <a:lnTo>
                          <a:pt x="330" y="101"/>
                        </a:lnTo>
                        <a:lnTo>
                          <a:pt x="323" y="92"/>
                        </a:lnTo>
                        <a:lnTo>
                          <a:pt x="320" y="87"/>
                        </a:lnTo>
                        <a:lnTo>
                          <a:pt x="314" y="82"/>
                        </a:lnTo>
                        <a:lnTo>
                          <a:pt x="312" y="69"/>
                        </a:lnTo>
                        <a:lnTo>
                          <a:pt x="310" y="66"/>
                        </a:lnTo>
                        <a:lnTo>
                          <a:pt x="308" y="63"/>
                        </a:lnTo>
                        <a:lnTo>
                          <a:pt x="307" y="62"/>
                        </a:lnTo>
                        <a:lnTo>
                          <a:pt x="304" y="66"/>
                        </a:lnTo>
                        <a:lnTo>
                          <a:pt x="305" y="68"/>
                        </a:lnTo>
                        <a:lnTo>
                          <a:pt x="302" y="71"/>
                        </a:lnTo>
                        <a:lnTo>
                          <a:pt x="301" y="79"/>
                        </a:lnTo>
                        <a:lnTo>
                          <a:pt x="302" y="82"/>
                        </a:lnTo>
                        <a:lnTo>
                          <a:pt x="308" y="87"/>
                        </a:lnTo>
                        <a:lnTo>
                          <a:pt x="310" y="91"/>
                        </a:lnTo>
                        <a:lnTo>
                          <a:pt x="311" y="94"/>
                        </a:lnTo>
                        <a:lnTo>
                          <a:pt x="311" y="101"/>
                        </a:lnTo>
                        <a:lnTo>
                          <a:pt x="312" y="107"/>
                        </a:lnTo>
                        <a:lnTo>
                          <a:pt x="323" y="123"/>
                        </a:lnTo>
                        <a:lnTo>
                          <a:pt x="334" y="136"/>
                        </a:lnTo>
                        <a:lnTo>
                          <a:pt x="341" y="140"/>
                        </a:lnTo>
                        <a:lnTo>
                          <a:pt x="345" y="142"/>
                        </a:lnTo>
                        <a:lnTo>
                          <a:pt x="345" y="157"/>
                        </a:lnTo>
                        <a:lnTo>
                          <a:pt x="349" y="162"/>
                        </a:lnTo>
                        <a:lnTo>
                          <a:pt x="356" y="170"/>
                        </a:lnTo>
                        <a:lnTo>
                          <a:pt x="361" y="186"/>
                        </a:lnTo>
                        <a:lnTo>
                          <a:pt x="362" y="193"/>
                        </a:lnTo>
                        <a:lnTo>
                          <a:pt x="365" y="199"/>
                        </a:lnTo>
                        <a:lnTo>
                          <a:pt x="374" y="212"/>
                        </a:lnTo>
                        <a:lnTo>
                          <a:pt x="377" y="222"/>
                        </a:lnTo>
                        <a:lnTo>
                          <a:pt x="384" y="231"/>
                        </a:lnTo>
                        <a:lnTo>
                          <a:pt x="393" y="249"/>
                        </a:lnTo>
                        <a:lnTo>
                          <a:pt x="397" y="256"/>
                        </a:lnTo>
                        <a:lnTo>
                          <a:pt x="400" y="259"/>
                        </a:lnTo>
                        <a:lnTo>
                          <a:pt x="409" y="275"/>
                        </a:lnTo>
                        <a:lnTo>
                          <a:pt x="414" y="282"/>
                        </a:lnTo>
                        <a:lnTo>
                          <a:pt x="425" y="291"/>
                        </a:lnTo>
                        <a:lnTo>
                          <a:pt x="427" y="292"/>
                        </a:lnTo>
                        <a:lnTo>
                          <a:pt x="431" y="297"/>
                        </a:lnTo>
                        <a:lnTo>
                          <a:pt x="431" y="298"/>
                        </a:lnTo>
                        <a:lnTo>
                          <a:pt x="422" y="295"/>
                        </a:lnTo>
                        <a:lnTo>
                          <a:pt x="420" y="297"/>
                        </a:lnTo>
                        <a:lnTo>
                          <a:pt x="420" y="298"/>
                        </a:lnTo>
                        <a:lnTo>
                          <a:pt x="420" y="304"/>
                        </a:lnTo>
                        <a:lnTo>
                          <a:pt x="422" y="320"/>
                        </a:lnTo>
                        <a:lnTo>
                          <a:pt x="424" y="328"/>
                        </a:lnTo>
                        <a:lnTo>
                          <a:pt x="409" y="342"/>
                        </a:lnTo>
                        <a:lnTo>
                          <a:pt x="400" y="338"/>
                        </a:lnTo>
                        <a:lnTo>
                          <a:pt x="391" y="358"/>
                        </a:lnTo>
                        <a:lnTo>
                          <a:pt x="371" y="363"/>
                        </a:lnTo>
                        <a:lnTo>
                          <a:pt x="365" y="379"/>
                        </a:lnTo>
                        <a:lnTo>
                          <a:pt x="346" y="380"/>
                        </a:lnTo>
                        <a:lnTo>
                          <a:pt x="333" y="371"/>
                        </a:lnTo>
                        <a:lnTo>
                          <a:pt x="265" y="371"/>
                        </a:lnTo>
                        <a:lnTo>
                          <a:pt x="269" y="363"/>
                        </a:lnTo>
                        <a:lnTo>
                          <a:pt x="266" y="364"/>
                        </a:lnTo>
                        <a:lnTo>
                          <a:pt x="265" y="363"/>
                        </a:lnTo>
                        <a:lnTo>
                          <a:pt x="263" y="363"/>
                        </a:lnTo>
                        <a:lnTo>
                          <a:pt x="257" y="371"/>
                        </a:lnTo>
                        <a:lnTo>
                          <a:pt x="238" y="371"/>
                        </a:lnTo>
                        <a:lnTo>
                          <a:pt x="200" y="371"/>
                        </a:lnTo>
                        <a:lnTo>
                          <a:pt x="164" y="371"/>
                        </a:lnTo>
                        <a:lnTo>
                          <a:pt x="128" y="371"/>
                        </a:lnTo>
                        <a:lnTo>
                          <a:pt x="91" y="371"/>
                        </a:lnTo>
                        <a:lnTo>
                          <a:pt x="55" y="371"/>
                        </a:lnTo>
                        <a:lnTo>
                          <a:pt x="18" y="371"/>
                        </a:lnTo>
                        <a:lnTo>
                          <a:pt x="18" y="346"/>
                        </a:lnTo>
                        <a:lnTo>
                          <a:pt x="18" y="310"/>
                        </a:lnTo>
                        <a:lnTo>
                          <a:pt x="18" y="272"/>
                        </a:lnTo>
                        <a:lnTo>
                          <a:pt x="18" y="236"/>
                        </a:lnTo>
                        <a:lnTo>
                          <a:pt x="18" y="199"/>
                        </a:lnTo>
                        <a:lnTo>
                          <a:pt x="18" y="162"/>
                        </a:lnTo>
                        <a:lnTo>
                          <a:pt x="18" y="126"/>
                        </a:lnTo>
                        <a:lnTo>
                          <a:pt x="18" y="99"/>
                        </a:lnTo>
                        <a:lnTo>
                          <a:pt x="5" y="88"/>
                        </a:lnTo>
                        <a:lnTo>
                          <a:pt x="7" y="81"/>
                        </a:lnTo>
                        <a:lnTo>
                          <a:pt x="7" y="78"/>
                        </a:lnTo>
                        <a:lnTo>
                          <a:pt x="1" y="72"/>
                        </a:lnTo>
                        <a:lnTo>
                          <a:pt x="0" y="60"/>
                        </a:lnTo>
                        <a:lnTo>
                          <a:pt x="0" y="58"/>
                        </a:lnTo>
                        <a:lnTo>
                          <a:pt x="3" y="55"/>
                        </a:lnTo>
                        <a:lnTo>
                          <a:pt x="8" y="51"/>
                        </a:lnTo>
                        <a:lnTo>
                          <a:pt x="10" y="51"/>
                        </a:lnTo>
                        <a:lnTo>
                          <a:pt x="10" y="45"/>
                        </a:lnTo>
                        <a:lnTo>
                          <a:pt x="8" y="35"/>
                        </a:lnTo>
                        <a:lnTo>
                          <a:pt x="7" y="18"/>
                        </a:lnTo>
                        <a:lnTo>
                          <a:pt x="5" y="14"/>
                        </a:lnTo>
                        <a:lnTo>
                          <a:pt x="5" y="12"/>
                        </a:lnTo>
                        <a:lnTo>
                          <a:pt x="11" y="7"/>
                        </a:lnTo>
                        <a:lnTo>
                          <a:pt x="13" y="0"/>
                        </a:lnTo>
                        <a:lnTo>
                          <a:pt x="18" y="0"/>
                        </a:lnTo>
                        <a:lnTo>
                          <a:pt x="20" y="3"/>
                        </a:lnTo>
                        <a:lnTo>
                          <a:pt x="25" y="5"/>
                        </a:lnTo>
                        <a:lnTo>
                          <a:pt x="39" y="2"/>
                        </a:lnTo>
                        <a:lnTo>
                          <a:pt x="48" y="2"/>
                        </a:lnTo>
                        <a:lnTo>
                          <a:pt x="63" y="3"/>
                        </a:lnTo>
                        <a:lnTo>
                          <a:pt x="87" y="7"/>
                        </a:lnTo>
                        <a:lnTo>
                          <a:pt x="100" y="11"/>
                        </a:lnTo>
                        <a:lnTo>
                          <a:pt x="108" y="15"/>
                        </a:lnTo>
                        <a:lnTo>
                          <a:pt x="120" y="17"/>
                        </a:lnTo>
                        <a:lnTo>
                          <a:pt x="125" y="19"/>
                        </a:lnTo>
                        <a:lnTo>
                          <a:pt x="131" y="22"/>
                        </a:lnTo>
                        <a:lnTo>
                          <a:pt x="142" y="22"/>
                        </a:lnTo>
                        <a:lnTo>
                          <a:pt x="151" y="24"/>
                        </a:lnTo>
                        <a:lnTo>
                          <a:pt x="161" y="27"/>
                        </a:lnTo>
                        <a:lnTo>
                          <a:pt x="169" y="31"/>
                        </a:lnTo>
                        <a:lnTo>
                          <a:pt x="179" y="30"/>
                        </a:lnTo>
                        <a:lnTo>
                          <a:pt x="189" y="24"/>
                        </a:lnTo>
                        <a:lnTo>
                          <a:pt x="200" y="17"/>
                        </a:lnTo>
                        <a:lnTo>
                          <a:pt x="212" y="12"/>
                        </a:lnTo>
                        <a:lnTo>
                          <a:pt x="219" y="7"/>
                        </a:lnTo>
                        <a:lnTo>
                          <a:pt x="228" y="7"/>
                        </a:lnTo>
                        <a:lnTo>
                          <a:pt x="235" y="5"/>
                        </a:lnTo>
                        <a:lnTo>
                          <a:pt x="238" y="5"/>
                        </a:lnTo>
                        <a:lnTo>
                          <a:pt x="237" y="7"/>
                        </a:lnTo>
                        <a:lnTo>
                          <a:pt x="228" y="10"/>
                        </a:lnTo>
                        <a:lnTo>
                          <a:pt x="227" y="12"/>
                        </a:lnTo>
                        <a:lnTo>
                          <a:pt x="228" y="12"/>
                        </a:lnTo>
                        <a:lnTo>
                          <a:pt x="242" y="10"/>
                        </a:lnTo>
                        <a:lnTo>
                          <a:pt x="245" y="7"/>
                        </a:lnTo>
                        <a:lnTo>
                          <a:pt x="248" y="3"/>
                        </a:lnTo>
                        <a:lnTo>
                          <a:pt x="254" y="7"/>
                        </a:lnTo>
                        <a:lnTo>
                          <a:pt x="256" y="7"/>
                        </a:lnTo>
                        <a:lnTo>
                          <a:pt x="273" y="7"/>
                        </a:lnTo>
                        <a:lnTo>
                          <a:pt x="275" y="7"/>
                        </a:lnTo>
                        <a:lnTo>
                          <a:pt x="282" y="3"/>
                        </a:lnTo>
                        <a:lnTo>
                          <a:pt x="283" y="5"/>
                        </a:lnTo>
                        <a:lnTo>
                          <a:pt x="285" y="9"/>
                        </a:lnTo>
                        <a:lnTo>
                          <a:pt x="288" y="10"/>
                        </a:lnTo>
                        <a:lnTo>
                          <a:pt x="290" y="12"/>
                        </a:lnTo>
                        <a:lnTo>
                          <a:pt x="293" y="14"/>
                        </a:lnTo>
                        <a:lnTo>
                          <a:pt x="300" y="17"/>
                        </a:lnTo>
                        <a:lnTo>
                          <a:pt x="303" y="21"/>
                        </a:lnTo>
                        <a:lnTo>
                          <a:pt x="307" y="24"/>
                        </a:lnTo>
                        <a:lnTo>
                          <a:pt x="316" y="24"/>
                        </a:lnTo>
                        <a:lnTo>
                          <a:pt x="321" y="24"/>
                        </a:lnTo>
                        <a:lnTo>
                          <a:pt x="323" y="21"/>
                        </a:lnTo>
                        <a:lnTo>
                          <a:pt x="327" y="20"/>
                        </a:lnTo>
                        <a:lnTo>
                          <a:pt x="329" y="24"/>
                        </a:lnTo>
                        <a:lnTo>
                          <a:pt x="346" y="22"/>
                        </a:lnTo>
                        <a:lnTo>
                          <a:pt x="359" y="18"/>
                        </a:lnTo>
                        <a:lnTo>
                          <a:pt x="367" y="12"/>
                        </a:lnTo>
                        <a:lnTo>
                          <a:pt x="368" y="18"/>
                        </a:lnTo>
                        <a:lnTo>
                          <a:pt x="369" y="21"/>
                        </a:lnTo>
                        <a:lnTo>
                          <a:pt x="371" y="2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5" name="Freeform 103"/>
                  <p:cNvSpPr>
                    <a:spLocks/>
                  </p:cNvSpPr>
                  <p:nvPr/>
                </p:nvSpPr>
                <p:spPr bwMode="auto">
                  <a:xfrm>
                    <a:off x="2296" y="1240"/>
                    <a:ext cx="461" cy="399"/>
                  </a:xfrm>
                  <a:custGeom>
                    <a:avLst/>
                    <a:gdLst>
                      <a:gd name="T0" fmla="*/ 33704 w 431"/>
                      <a:gd name="T1" fmla="*/ 2189 h 380"/>
                      <a:gd name="T2" fmla="*/ 32364 w 431"/>
                      <a:gd name="T3" fmla="*/ 3235 h 380"/>
                      <a:gd name="T4" fmla="*/ 32012 w 431"/>
                      <a:gd name="T5" fmla="*/ 3613 h 380"/>
                      <a:gd name="T6" fmla="*/ 30890 w 431"/>
                      <a:gd name="T7" fmla="*/ 3702 h 380"/>
                      <a:gd name="T8" fmla="*/ 29102 w 431"/>
                      <a:gd name="T9" fmla="*/ 3133 h 380"/>
                      <a:gd name="T10" fmla="*/ 28289 w 431"/>
                      <a:gd name="T11" fmla="*/ 2695 h 380"/>
                      <a:gd name="T12" fmla="*/ 27146 w 431"/>
                      <a:gd name="T13" fmla="*/ 2189 h 380"/>
                      <a:gd name="T14" fmla="*/ 26283 w 431"/>
                      <a:gd name="T15" fmla="*/ 1654 h 380"/>
                      <a:gd name="T16" fmla="*/ 25844 w 431"/>
                      <a:gd name="T17" fmla="*/ 1654 h 380"/>
                      <a:gd name="T18" fmla="*/ 25450 w 431"/>
                      <a:gd name="T19" fmla="*/ 1986 h 380"/>
                      <a:gd name="T20" fmla="*/ 26283 w 431"/>
                      <a:gd name="T21" fmla="*/ 2298 h 380"/>
                      <a:gd name="T22" fmla="*/ 26511 w 431"/>
                      <a:gd name="T23" fmla="*/ 2695 h 380"/>
                      <a:gd name="T24" fmla="*/ 28880 w 431"/>
                      <a:gd name="T25" fmla="*/ 3526 h 380"/>
                      <a:gd name="T26" fmla="*/ 29642 w 431"/>
                      <a:gd name="T27" fmla="*/ 4081 h 380"/>
                      <a:gd name="T28" fmla="*/ 30699 w 431"/>
                      <a:gd name="T29" fmla="*/ 4843 h 380"/>
                      <a:gd name="T30" fmla="*/ 31942 w 431"/>
                      <a:gd name="T31" fmla="*/ 5546 h 380"/>
                      <a:gd name="T32" fmla="*/ 33736 w 431"/>
                      <a:gd name="T33" fmla="*/ 6407 h 380"/>
                      <a:gd name="T34" fmla="*/ 35122 w 431"/>
                      <a:gd name="T35" fmla="*/ 7063 h 380"/>
                      <a:gd name="T36" fmla="*/ 36543 w 431"/>
                      <a:gd name="T37" fmla="*/ 7426 h 380"/>
                      <a:gd name="T38" fmla="*/ 35613 w 431"/>
                      <a:gd name="T39" fmla="*/ 7426 h 380"/>
                      <a:gd name="T40" fmla="*/ 35686 w 431"/>
                      <a:gd name="T41" fmla="*/ 8073 h 380"/>
                      <a:gd name="T42" fmla="*/ 34051 w 431"/>
                      <a:gd name="T43" fmla="*/ 8506 h 380"/>
                      <a:gd name="T44" fmla="*/ 30890 w 431"/>
                      <a:gd name="T45" fmla="*/ 9477 h 380"/>
                      <a:gd name="T46" fmla="*/ 22530 w 431"/>
                      <a:gd name="T47" fmla="*/ 9346 h 380"/>
                      <a:gd name="T48" fmla="*/ 22530 w 431"/>
                      <a:gd name="T49" fmla="*/ 9114 h 380"/>
                      <a:gd name="T50" fmla="*/ 20255 w 431"/>
                      <a:gd name="T51" fmla="*/ 9346 h 380"/>
                      <a:gd name="T52" fmla="*/ 10880 w 431"/>
                      <a:gd name="T53" fmla="*/ 9346 h 380"/>
                      <a:gd name="T54" fmla="*/ 1496 w 431"/>
                      <a:gd name="T55" fmla="*/ 9346 h 380"/>
                      <a:gd name="T56" fmla="*/ 1496 w 431"/>
                      <a:gd name="T57" fmla="*/ 6813 h 380"/>
                      <a:gd name="T58" fmla="*/ 1496 w 431"/>
                      <a:gd name="T59" fmla="*/ 4081 h 380"/>
                      <a:gd name="T60" fmla="*/ 5 w 431"/>
                      <a:gd name="T61" fmla="*/ 2218 h 380"/>
                      <a:gd name="T62" fmla="*/ 1 w 431"/>
                      <a:gd name="T63" fmla="*/ 1824 h 380"/>
                      <a:gd name="T64" fmla="*/ 3 w 431"/>
                      <a:gd name="T65" fmla="*/ 1399 h 380"/>
                      <a:gd name="T66" fmla="*/ 873 w 431"/>
                      <a:gd name="T67" fmla="*/ 1119 h 380"/>
                      <a:gd name="T68" fmla="*/ 5 w 431"/>
                      <a:gd name="T69" fmla="*/ 360 h 380"/>
                      <a:gd name="T70" fmla="*/ 1069 w 431"/>
                      <a:gd name="T71" fmla="*/ 0 h 380"/>
                      <a:gd name="T72" fmla="*/ 2104 w 431"/>
                      <a:gd name="T73" fmla="*/ 5 h 380"/>
                      <a:gd name="T74" fmla="*/ 5370 w 431"/>
                      <a:gd name="T75" fmla="*/ 3 h 380"/>
                      <a:gd name="T76" fmla="*/ 9200 w 431"/>
                      <a:gd name="T77" fmla="*/ 378 h 380"/>
                      <a:gd name="T78" fmla="*/ 11189 w 431"/>
                      <a:gd name="T79" fmla="*/ 532 h 380"/>
                      <a:gd name="T80" fmla="*/ 13717 w 431"/>
                      <a:gd name="T81" fmla="*/ 679 h 380"/>
                      <a:gd name="T82" fmla="*/ 15915 w 431"/>
                      <a:gd name="T83" fmla="*/ 587 h 380"/>
                      <a:gd name="T84" fmla="*/ 18583 w 431"/>
                      <a:gd name="T85" fmla="*/ 7 h 380"/>
                      <a:gd name="T86" fmla="*/ 20255 w 431"/>
                      <a:gd name="T87" fmla="*/ 5 h 380"/>
                      <a:gd name="T88" fmla="*/ 19252 w 431"/>
                      <a:gd name="T89" fmla="*/ 327 h 380"/>
                      <a:gd name="T90" fmla="*/ 20739 w 431"/>
                      <a:gd name="T91" fmla="*/ 7 h 380"/>
                      <a:gd name="T92" fmla="*/ 21763 w 431"/>
                      <a:gd name="T93" fmla="*/ 7 h 380"/>
                      <a:gd name="T94" fmla="*/ 23832 w 431"/>
                      <a:gd name="T95" fmla="*/ 3 h 380"/>
                      <a:gd name="T96" fmla="*/ 24404 w 431"/>
                      <a:gd name="T97" fmla="*/ 296 h 380"/>
                      <a:gd name="T98" fmla="*/ 25437 w 431"/>
                      <a:gd name="T99" fmla="*/ 417 h 380"/>
                      <a:gd name="T100" fmla="*/ 26833 w 431"/>
                      <a:gd name="T101" fmla="*/ 587 h 380"/>
                      <a:gd name="T102" fmla="*/ 27826 w 431"/>
                      <a:gd name="T103" fmla="*/ 483 h 380"/>
                      <a:gd name="T104" fmla="*/ 30568 w 431"/>
                      <a:gd name="T105" fmla="*/ 438 h 380"/>
                      <a:gd name="T106" fmla="*/ 31193 w 431"/>
                      <a:gd name="T107" fmla="*/ 507 h 380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431"/>
                      <a:gd name="T163" fmla="*/ 0 h 380"/>
                      <a:gd name="T164" fmla="*/ 431 w 431"/>
                      <a:gd name="T165" fmla="*/ 380 h 380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431" h="380">
                        <a:moveTo>
                          <a:pt x="371" y="24"/>
                        </a:moveTo>
                        <a:lnTo>
                          <a:pt x="384" y="60"/>
                        </a:lnTo>
                        <a:lnTo>
                          <a:pt x="396" y="87"/>
                        </a:lnTo>
                        <a:lnTo>
                          <a:pt x="390" y="99"/>
                        </a:lnTo>
                        <a:lnTo>
                          <a:pt x="387" y="113"/>
                        </a:lnTo>
                        <a:lnTo>
                          <a:pt x="381" y="129"/>
                        </a:lnTo>
                        <a:lnTo>
                          <a:pt x="379" y="134"/>
                        </a:lnTo>
                        <a:lnTo>
                          <a:pt x="379" y="139"/>
                        </a:lnTo>
                        <a:lnTo>
                          <a:pt x="379" y="144"/>
                        </a:lnTo>
                        <a:lnTo>
                          <a:pt x="376" y="145"/>
                        </a:lnTo>
                        <a:lnTo>
                          <a:pt x="371" y="147"/>
                        </a:lnTo>
                        <a:lnTo>
                          <a:pt x="365" y="147"/>
                        </a:lnTo>
                        <a:lnTo>
                          <a:pt x="359" y="144"/>
                        </a:lnTo>
                        <a:lnTo>
                          <a:pt x="351" y="134"/>
                        </a:lnTo>
                        <a:lnTo>
                          <a:pt x="343" y="126"/>
                        </a:lnTo>
                        <a:lnTo>
                          <a:pt x="336" y="117"/>
                        </a:lnTo>
                        <a:lnTo>
                          <a:pt x="334" y="114"/>
                        </a:lnTo>
                        <a:lnTo>
                          <a:pt x="333" y="107"/>
                        </a:lnTo>
                        <a:lnTo>
                          <a:pt x="330" y="101"/>
                        </a:lnTo>
                        <a:lnTo>
                          <a:pt x="323" y="92"/>
                        </a:lnTo>
                        <a:lnTo>
                          <a:pt x="320" y="87"/>
                        </a:lnTo>
                        <a:lnTo>
                          <a:pt x="314" y="82"/>
                        </a:lnTo>
                        <a:lnTo>
                          <a:pt x="312" y="69"/>
                        </a:lnTo>
                        <a:lnTo>
                          <a:pt x="310" y="66"/>
                        </a:lnTo>
                        <a:lnTo>
                          <a:pt x="308" y="63"/>
                        </a:lnTo>
                        <a:lnTo>
                          <a:pt x="307" y="62"/>
                        </a:lnTo>
                        <a:lnTo>
                          <a:pt x="304" y="66"/>
                        </a:lnTo>
                        <a:lnTo>
                          <a:pt x="305" y="68"/>
                        </a:lnTo>
                        <a:lnTo>
                          <a:pt x="302" y="71"/>
                        </a:lnTo>
                        <a:lnTo>
                          <a:pt x="301" y="79"/>
                        </a:lnTo>
                        <a:lnTo>
                          <a:pt x="302" y="82"/>
                        </a:lnTo>
                        <a:lnTo>
                          <a:pt x="308" y="87"/>
                        </a:lnTo>
                        <a:lnTo>
                          <a:pt x="310" y="91"/>
                        </a:lnTo>
                        <a:lnTo>
                          <a:pt x="311" y="94"/>
                        </a:lnTo>
                        <a:lnTo>
                          <a:pt x="311" y="101"/>
                        </a:lnTo>
                        <a:lnTo>
                          <a:pt x="312" y="107"/>
                        </a:lnTo>
                        <a:lnTo>
                          <a:pt x="323" y="123"/>
                        </a:lnTo>
                        <a:lnTo>
                          <a:pt x="334" y="136"/>
                        </a:lnTo>
                        <a:lnTo>
                          <a:pt x="341" y="140"/>
                        </a:lnTo>
                        <a:lnTo>
                          <a:pt x="345" y="142"/>
                        </a:lnTo>
                        <a:lnTo>
                          <a:pt x="345" y="157"/>
                        </a:lnTo>
                        <a:lnTo>
                          <a:pt x="349" y="162"/>
                        </a:lnTo>
                        <a:lnTo>
                          <a:pt x="356" y="170"/>
                        </a:lnTo>
                        <a:lnTo>
                          <a:pt x="361" y="186"/>
                        </a:lnTo>
                        <a:lnTo>
                          <a:pt x="362" y="193"/>
                        </a:lnTo>
                        <a:lnTo>
                          <a:pt x="365" y="199"/>
                        </a:lnTo>
                        <a:lnTo>
                          <a:pt x="374" y="212"/>
                        </a:lnTo>
                        <a:lnTo>
                          <a:pt x="377" y="222"/>
                        </a:lnTo>
                        <a:lnTo>
                          <a:pt x="384" y="231"/>
                        </a:lnTo>
                        <a:lnTo>
                          <a:pt x="393" y="249"/>
                        </a:lnTo>
                        <a:lnTo>
                          <a:pt x="397" y="256"/>
                        </a:lnTo>
                        <a:lnTo>
                          <a:pt x="400" y="259"/>
                        </a:lnTo>
                        <a:lnTo>
                          <a:pt x="409" y="275"/>
                        </a:lnTo>
                        <a:lnTo>
                          <a:pt x="414" y="282"/>
                        </a:lnTo>
                        <a:lnTo>
                          <a:pt x="425" y="291"/>
                        </a:lnTo>
                        <a:lnTo>
                          <a:pt x="427" y="292"/>
                        </a:lnTo>
                        <a:lnTo>
                          <a:pt x="431" y="297"/>
                        </a:lnTo>
                        <a:lnTo>
                          <a:pt x="431" y="298"/>
                        </a:lnTo>
                        <a:lnTo>
                          <a:pt x="422" y="295"/>
                        </a:lnTo>
                        <a:lnTo>
                          <a:pt x="420" y="297"/>
                        </a:lnTo>
                        <a:lnTo>
                          <a:pt x="420" y="298"/>
                        </a:lnTo>
                        <a:lnTo>
                          <a:pt x="420" y="304"/>
                        </a:lnTo>
                        <a:lnTo>
                          <a:pt x="422" y="320"/>
                        </a:lnTo>
                        <a:lnTo>
                          <a:pt x="424" y="328"/>
                        </a:lnTo>
                        <a:lnTo>
                          <a:pt x="409" y="342"/>
                        </a:lnTo>
                        <a:lnTo>
                          <a:pt x="400" y="338"/>
                        </a:lnTo>
                        <a:lnTo>
                          <a:pt x="391" y="358"/>
                        </a:lnTo>
                        <a:lnTo>
                          <a:pt x="371" y="363"/>
                        </a:lnTo>
                        <a:lnTo>
                          <a:pt x="365" y="379"/>
                        </a:lnTo>
                        <a:lnTo>
                          <a:pt x="346" y="380"/>
                        </a:lnTo>
                        <a:lnTo>
                          <a:pt x="333" y="371"/>
                        </a:lnTo>
                        <a:lnTo>
                          <a:pt x="265" y="371"/>
                        </a:lnTo>
                        <a:lnTo>
                          <a:pt x="269" y="363"/>
                        </a:lnTo>
                        <a:lnTo>
                          <a:pt x="266" y="364"/>
                        </a:lnTo>
                        <a:lnTo>
                          <a:pt x="265" y="363"/>
                        </a:lnTo>
                        <a:lnTo>
                          <a:pt x="263" y="363"/>
                        </a:lnTo>
                        <a:lnTo>
                          <a:pt x="257" y="371"/>
                        </a:lnTo>
                        <a:lnTo>
                          <a:pt x="238" y="371"/>
                        </a:lnTo>
                        <a:lnTo>
                          <a:pt x="200" y="371"/>
                        </a:lnTo>
                        <a:lnTo>
                          <a:pt x="164" y="371"/>
                        </a:lnTo>
                        <a:lnTo>
                          <a:pt x="128" y="371"/>
                        </a:lnTo>
                        <a:lnTo>
                          <a:pt x="91" y="371"/>
                        </a:lnTo>
                        <a:lnTo>
                          <a:pt x="55" y="371"/>
                        </a:lnTo>
                        <a:lnTo>
                          <a:pt x="18" y="371"/>
                        </a:lnTo>
                        <a:lnTo>
                          <a:pt x="18" y="346"/>
                        </a:lnTo>
                        <a:lnTo>
                          <a:pt x="18" y="310"/>
                        </a:lnTo>
                        <a:lnTo>
                          <a:pt x="18" y="272"/>
                        </a:lnTo>
                        <a:lnTo>
                          <a:pt x="18" y="236"/>
                        </a:lnTo>
                        <a:lnTo>
                          <a:pt x="18" y="199"/>
                        </a:lnTo>
                        <a:lnTo>
                          <a:pt x="18" y="162"/>
                        </a:lnTo>
                        <a:lnTo>
                          <a:pt x="18" y="126"/>
                        </a:lnTo>
                        <a:lnTo>
                          <a:pt x="18" y="99"/>
                        </a:lnTo>
                        <a:lnTo>
                          <a:pt x="5" y="88"/>
                        </a:lnTo>
                        <a:lnTo>
                          <a:pt x="7" y="81"/>
                        </a:lnTo>
                        <a:lnTo>
                          <a:pt x="7" y="78"/>
                        </a:lnTo>
                        <a:lnTo>
                          <a:pt x="1" y="72"/>
                        </a:lnTo>
                        <a:lnTo>
                          <a:pt x="0" y="60"/>
                        </a:lnTo>
                        <a:lnTo>
                          <a:pt x="0" y="58"/>
                        </a:lnTo>
                        <a:lnTo>
                          <a:pt x="3" y="55"/>
                        </a:lnTo>
                        <a:lnTo>
                          <a:pt x="8" y="51"/>
                        </a:lnTo>
                        <a:lnTo>
                          <a:pt x="10" y="51"/>
                        </a:lnTo>
                        <a:lnTo>
                          <a:pt x="10" y="45"/>
                        </a:lnTo>
                        <a:lnTo>
                          <a:pt x="8" y="35"/>
                        </a:lnTo>
                        <a:lnTo>
                          <a:pt x="7" y="18"/>
                        </a:lnTo>
                        <a:lnTo>
                          <a:pt x="5" y="14"/>
                        </a:lnTo>
                        <a:lnTo>
                          <a:pt x="5" y="12"/>
                        </a:lnTo>
                        <a:lnTo>
                          <a:pt x="11" y="7"/>
                        </a:lnTo>
                        <a:lnTo>
                          <a:pt x="13" y="0"/>
                        </a:lnTo>
                        <a:lnTo>
                          <a:pt x="18" y="0"/>
                        </a:lnTo>
                        <a:lnTo>
                          <a:pt x="20" y="3"/>
                        </a:lnTo>
                        <a:lnTo>
                          <a:pt x="25" y="5"/>
                        </a:lnTo>
                        <a:lnTo>
                          <a:pt x="39" y="2"/>
                        </a:lnTo>
                        <a:lnTo>
                          <a:pt x="48" y="2"/>
                        </a:lnTo>
                        <a:lnTo>
                          <a:pt x="63" y="3"/>
                        </a:lnTo>
                        <a:lnTo>
                          <a:pt x="87" y="7"/>
                        </a:lnTo>
                        <a:lnTo>
                          <a:pt x="100" y="11"/>
                        </a:lnTo>
                        <a:lnTo>
                          <a:pt x="108" y="15"/>
                        </a:lnTo>
                        <a:lnTo>
                          <a:pt x="120" y="17"/>
                        </a:lnTo>
                        <a:lnTo>
                          <a:pt x="125" y="19"/>
                        </a:lnTo>
                        <a:lnTo>
                          <a:pt x="131" y="22"/>
                        </a:lnTo>
                        <a:lnTo>
                          <a:pt x="142" y="22"/>
                        </a:lnTo>
                        <a:lnTo>
                          <a:pt x="151" y="24"/>
                        </a:lnTo>
                        <a:lnTo>
                          <a:pt x="161" y="27"/>
                        </a:lnTo>
                        <a:lnTo>
                          <a:pt x="169" y="31"/>
                        </a:lnTo>
                        <a:lnTo>
                          <a:pt x="179" y="30"/>
                        </a:lnTo>
                        <a:lnTo>
                          <a:pt x="189" y="24"/>
                        </a:lnTo>
                        <a:lnTo>
                          <a:pt x="200" y="17"/>
                        </a:lnTo>
                        <a:lnTo>
                          <a:pt x="212" y="12"/>
                        </a:lnTo>
                        <a:lnTo>
                          <a:pt x="219" y="7"/>
                        </a:lnTo>
                        <a:lnTo>
                          <a:pt x="228" y="7"/>
                        </a:lnTo>
                        <a:lnTo>
                          <a:pt x="235" y="5"/>
                        </a:lnTo>
                        <a:lnTo>
                          <a:pt x="238" y="5"/>
                        </a:lnTo>
                        <a:lnTo>
                          <a:pt x="237" y="7"/>
                        </a:lnTo>
                        <a:lnTo>
                          <a:pt x="228" y="10"/>
                        </a:lnTo>
                        <a:lnTo>
                          <a:pt x="227" y="12"/>
                        </a:lnTo>
                        <a:lnTo>
                          <a:pt x="228" y="12"/>
                        </a:lnTo>
                        <a:lnTo>
                          <a:pt x="242" y="10"/>
                        </a:lnTo>
                        <a:lnTo>
                          <a:pt x="245" y="7"/>
                        </a:lnTo>
                        <a:lnTo>
                          <a:pt x="248" y="3"/>
                        </a:lnTo>
                        <a:lnTo>
                          <a:pt x="254" y="7"/>
                        </a:lnTo>
                        <a:lnTo>
                          <a:pt x="256" y="7"/>
                        </a:lnTo>
                        <a:lnTo>
                          <a:pt x="273" y="7"/>
                        </a:lnTo>
                        <a:lnTo>
                          <a:pt x="275" y="7"/>
                        </a:lnTo>
                        <a:lnTo>
                          <a:pt x="282" y="3"/>
                        </a:lnTo>
                        <a:lnTo>
                          <a:pt x="283" y="5"/>
                        </a:lnTo>
                        <a:lnTo>
                          <a:pt x="285" y="9"/>
                        </a:lnTo>
                        <a:lnTo>
                          <a:pt x="288" y="10"/>
                        </a:lnTo>
                        <a:lnTo>
                          <a:pt x="290" y="12"/>
                        </a:lnTo>
                        <a:lnTo>
                          <a:pt x="293" y="14"/>
                        </a:lnTo>
                        <a:lnTo>
                          <a:pt x="300" y="17"/>
                        </a:lnTo>
                        <a:lnTo>
                          <a:pt x="303" y="21"/>
                        </a:lnTo>
                        <a:lnTo>
                          <a:pt x="307" y="24"/>
                        </a:lnTo>
                        <a:lnTo>
                          <a:pt x="316" y="24"/>
                        </a:lnTo>
                        <a:lnTo>
                          <a:pt x="321" y="24"/>
                        </a:lnTo>
                        <a:lnTo>
                          <a:pt x="323" y="21"/>
                        </a:lnTo>
                        <a:lnTo>
                          <a:pt x="327" y="20"/>
                        </a:lnTo>
                        <a:lnTo>
                          <a:pt x="329" y="24"/>
                        </a:lnTo>
                        <a:lnTo>
                          <a:pt x="346" y="22"/>
                        </a:lnTo>
                        <a:lnTo>
                          <a:pt x="359" y="18"/>
                        </a:lnTo>
                        <a:lnTo>
                          <a:pt x="367" y="12"/>
                        </a:lnTo>
                        <a:lnTo>
                          <a:pt x="368" y="18"/>
                        </a:lnTo>
                        <a:lnTo>
                          <a:pt x="369" y="21"/>
                        </a:lnTo>
                        <a:lnTo>
                          <a:pt x="371" y="2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6" name="Freeform 104"/>
                  <p:cNvSpPr>
                    <a:spLocks/>
                  </p:cNvSpPr>
                  <p:nvPr/>
                </p:nvSpPr>
                <p:spPr bwMode="auto">
                  <a:xfrm>
                    <a:off x="2186" y="1586"/>
                    <a:ext cx="686" cy="790"/>
                  </a:xfrm>
                  <a:custGeom>
                    <a:avLst/>
                    <a:gdLst>
                      <a:gd name="T0" fmla="*/ 47203 w 641"/>
                      <a:gd name="T1" fmla="*/ 330 h 752"/>
                      <a:gd name="T2" fmla="*/ 50137 w 641"/>
                      <a:gd name="T3" fmla="*/ 803 h 752"/>
                      <a:gd name="T4" fmla="*/ 51789 w 641"/>
                      <a:gd name="T5" fmla="*/ 1856 h 752"/>
                      <a:gd name="T6" fmla="*/ 51941 w 641"/>
                      <a:gd name="T7" fmla="*/ 3237 h 752"/>
                      <a:gd name="T8" fmla="*/ 53433 w 641"/>
                      <a:gd name="T9" fmla="*/ 4368 h 752"/>
                      <a:gd name="T10" fmla="*/ 55390 w 641"/>
                      <a:gd name="T11" fmla="*/ 4821 h 752"/>
                      <a:gd name="T12" fmla="*/ 56468 w 641"/>
                      <a:gd name="T13" fmla="*/ 5046 h 752"/>
                      <a:gd name="T14" fmla="*/ 54501 w 641"/>
                      <a:gd name="T15" fmla="*/ 5590 h 752"/>
                      <a:gd name="T16" fmla="*/ 51577 w 641"/>
                      <a:gd name="T17" fmla="*/ 5982 h 752"/>
                      <a:gd name="T18" fmla="*/ 50676 w 641"/>
                      <a:gd name="T19" fmla="*/ 7008 h 752"/>
                      <a:gd name="T20" fmla="*/ 49485 w 641"/>
                      <a:gd name="T21" fmla="*/ 8536 h 752"/>
                      <a:gd name="T22" fmla="*/ 48194 w 641"/>
                      <a:gd name="T23" fmla="*/ 10249 h 752"/>
                      <a:gd name="T24" fmla="*/ 44726 w 641"/>
                      <a:gd name="T25" fmla="*/ 11639 h 752"/>
                      <a:gd name="T26" fmla="*/ 42810 w 641"/>
                      <a:gd name="T27" fmla="*/ 12239 h 752"/>
                      <a:gd name="T28" fmla="*/ 42065 w 641"/>
                      <a:gd name="T29" fmla="*/ 12758 h 752"/>
                      <a:gd name="T30" fmla="*/ 41792 w 641"/>
                      <a:gd name="T31" fmla="*/ 14206 h 752"/>
                      <a:gd name="T32" fmla="*/ 39089 w 641"/>
                      <a:gd name="T33" fmla="*/ 14587 h 752"/>
                      <a:gd name="T34" fmla="*/ 37977 w 641"/>
                      <a:gd name="T35" fmla="*/ 15199 h 752"/>
                      <a:gd name="T36" fmla="*/ 39595 w 641"/>
                      <a:gd name="T37" fmla="*/ 15324 h 752"/>
                      <a:gd name="T38" fmla="*/ 41344 w 641"/>
                      <a:gd name="T39" fmla="*/ 15871 h 752"/>
                      <a:gd name="T40" fmla="*/ 43919 w 641"/>
                      <a:gd name="T41" fmla="*/ 16505 h 752"/>
                      <a:gd name="T42" fmla="*/ 45815 w 641"/>
                      <a:gd name="T43" fmla="*/ 17532 h 752"/>
                      <a:gd name="T44" fmla="*/ 47589 w 641"/>
                      <a:gd name="T45" fmla="*/ 18079 h 752"/>
                      <a:gd name="T46" fmla="*/ 43638 w 641"/>
                      <a:gd name="T47" fmla="*/ 18512 h 752"/>
                      <a:gd name="T48" fmla="*/ 41111 w 641"/>
                      <a:gd name="T49" fmla="*/ 18945 h 752"/>
                      <a:gd name="T50" fmla="*/ 37378 w 641"/>
                      <a:gd name="T51" fmla="*/ 19320 h 752"/>
                      <a:gd name="T52" fmla="*/ 34129 w 641"/>
                      <a:gd name="T53" fmla="*/ 19335 h 752"/>
                      <a:gd name="T54" fmla="*/ 31339 w 641"/>
                      <a:gd name="T55" fmla="*/ 19342 h 752"/>
                      <a:gd name="T56" fmla="*/ 29594 w 641"/>
                      <a:gd name="T57" fmla="*/ 19102 h 752"/>
                      <a:gd name="T58" fmla="*/ 25632 w 641"/>
                      <a:gd name="T59" fmla="*/ 18588 h 752"/>
                      <a:gd name="T60" fmla="*/ 22561 w 641"/>
                      <a:gd name="T61" fmla="*/ 18730 h 752"/>
                      <a:gd name="T62" fmla="*/ 19752 w 641"/>
                      <a:gd name="T63" fmla="*/ 18079 h 752"/>
                      <a:gd name="T64" fmla="*/ 18456 w 641"/>
                      <a:gd name="T65" fmla="*/ 17369 h 752"/>
                      <a:gd name="T66" fmla="*/ 15453 w 641"/>
                      <a:gd name="T67" fmla="*/ 16604 h 752"/>
                      <a:gd name="T68" fmla="*/ 13725 w 641"/>
                      <a:gd name="T69" fmla="*/ 15967 h 752"/>
                      <a:gd name="T70" fmla="*/ 11355 w 641"/>
                      <a:gd name="T71" fmla="*/ 15108 h 752"/>
                      <a:gd name="T72" fmla="*/ 8656 w 641"/>
                      <a:gd name="T73" fmla="*/ 14791 h 752"/>
                      <a:gd name="T74" fmla="*/ 6165 w 641"/>
                      <a:gd name="T75" fmla="*/ 14373 h 752"/>
                      <a:gd name="T76" fmla="*/ 5906 w 641"/>
                      <a:gd name="T77" fmla="*/ 13323 h 752"/>
                      <a:gd name="T78" fmla="*/ 2801 w 641"/>
                      <a:gd name="T79" fmla="*/ 12053 h 752"/>
                      <a:gd name="T80" fmla="*/ 2998 w 641"/>
                      <a:gd name="T81" fmla="*/ 11560 h 752"/>
                      <a:gd name="T82" fmla="*/ 1421 w 641"/>
                      <a:gd name="T83" fmla="*/ 10570 h 752"/>
                      <a:gd name="T84" fmla="*/ 0 w 641"/>
                      <a:gd name="T85" fmla="*/ 10367 h 752"/>
                      <a:gd name="T86" fmla="*/ 773 w 641"/>
                      <a:gd name="T87" fmla="*/ 9654 h 752"/>
                      <a:gd name="T88" fmla="*/ 1241 w 641"/>
                      <a:gd name="T89" fmla="*/ 9096 h 752"/>
                      <a:gd name="T90" fmla="*/ 1421 w 641"/>
                      <a:gd name="T91" fmla="*/ 8554 h 752"/>
                      <a:gd name="T92" fmla="*/ 3474 w 641"/>
                      <a:gd name="T93" fmla="*/ 7576 h 752"/>
                      <a:gd name="T94" fmla="*/ 4877 w 641"/>
                      <a:gd name="T95" fmla="*/ 7286 h 752"/>
                      <a:gd name="T96" fmla="*/ 7327 w 641"/>
                      <a:gd name="T97" fmla="*/ 5477 h 752"/>
                      <a:gd name="T98" fmla="*/ 10697 w 641"/>
                      <a:gd name="T99" fmla="*/ 2993 h 752"/>
                      <a:gd name="T100" fmla="*/ 17199 w 641"/>
                      <a:gd name="T101" fmla="*/ 1080 h 752"/>
                      <a:gd name="T102" fmla="*/ 29981 w 641"/>
                      <a:gd name="T103" fmla="*/ 1080 h 752"/>
                      <a:gd name="T104" fmla="*/ 32595 w 641"/>
                      <a:gd name="T105" fmla="*/ 928 h 752"/>
                      <a:gd name="T106" fmla="*/ 39595 w 641"/>
                      <a:gd name="T107" fmla="*/ 1360 h 752"/>
                      <a:gd name="T108" fmla="*/ 44246 w 641"/>
                      <a:gd name="T109" fmla="*/ 299 h 752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41"/>
                      <a:gd name="T166" fmla="*/ 0 h 752"/>
                      <a:gd name="T167" fmla="*/ 641 w 641"/>
                      <a:gd name="T168" fmla="*/ 752 h 752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41" h="752">
                        <a:moveTo>
                          <a:pt x="503" y="10"/>
                        </a:moveTo>
                        <a:lnTo>
                          <a:pt x="513" y="13"/>
                        </a:lnTo>
                        <a:lnTo>
                          <a:pt x="528" y="0"/>
                        </a:lnTo>
                        <a:lnTo>
                          <a:pt x="537" y="12"/>
                        </a:lnTo>
                        <a:lnTo>
                          <a:pt x="547" y="15"/>
                        </a:lnTo>
                        <a:lnTo>
                          <a:pt x="555" y="20"/>
                        </a:lnTo>
                        <a:lnTo>
                          <a:pt x="563" y="29"/>
                        </a:lnTo>
                        <a:lnTo>
                          <a:pt x="569" y="31"/>
                        </a:lnTo>
                        <a:lnTo>
                          <a:pt x="576" y="43"/>
                        </a:lnTo>
                        <a:lnTo>
                          <a:pt x="578" y="53"/>
                        </a:lnTo>
                        <a:lnTo>
                          <a:pt x="579" y="61"/>
                        </a:lnTo>
                        <a:lnTo>
                          <a:pt x="589" y="72"/>
                        </a:lnTo>
                        <a:lnTo>
                          <a:pt x="592" y="77"/>
                        </a:lnTo>
                        <a:lnTo>
                          <a:pt x="589" y="77"/>
                        </a:lnTo>
                        <a:lnTo>
                          <a:pt x="591" y="103"/>
                        </a:lnTo>
                        <a:lnTo>
                          <a:pt x="591" y="125"/>
                        </a:lnTo>
                        <a:lnTo>
                          <a:pt x="593" y="141"/>
                        </a:lnTo>
                        <a:lnTo>
                          <a:pt x="598" y="161"/>
                        </a:lnTo>
                        <a:lnTo>
                          <a:pt x="601" y="166"/>
                        </a:lnTo>
                        <a:lnTo>
                          <a:pt x="606" y="169"/>
                        </a:lnTo>
                        <a:lnTo>
                          <a:pt x="616" y="173"/>
                        </a:lnTo>
                        <a:lnTo>
                          <a:pt x="620" y="175"/>
                        </a:lnTo>
                        <a:lnTo>
                          <a:pt x="625" y="178"/>
                        </a:lnTo>
                        <a:lnTo>
                          <a:pt x="629" y="187"/>
                        </a:lnTo>
                        <a:lnTo>
                          <a:pt x="632" y="185"/>
                        </a:lnTo>
                        <a:lnTo>
                          <a:pt x="634" y="187"/>
                        </a:lnTo>
                        <a:lnTo>
                          <a:pt x="637" y="187"/>
                        </a:lnTo>
                        <a:lnTo>
                          <a:pt x="641" y="194"/>
                        </a:lnTo>
                        <a:lnTo>
                          <a:pt x="639" y="201"/>
                        </a:lnTo>
                        <a:lnTo>
                          <a:pt x="633" y="210"/>
                        </a:lnTo>
                        <a:lnTo>
                          <a:pt x="624" y="214"/>
                        </a:lnTo>
                        <a:lnTo>
                          <a:pt x="618" y="216"/>
                        </a:lnTo>
                        <a:lnTo>
                          <a:pt x="604" y="222"/>
                        </a:lnTo>
                        <a:lnTo>
                          <a:pt x="599" y="227"/>
                        </a:lnTo>
                        <a:lnTo>
                          <a:pt x="594" y="230"/>
                        </a:lnTo>
                        <a:lnTo>
                          <a:pt x="585" y="232"/>
                        </a:lnTo>
                        <a:lnTo>
                          <a:pt x="582" y="237"/>
                        </a:lnTo>
                        <a:lnTo>
                          <a:pt x="579" y="252"/>
                        </a:lnTo>
                        <a:lnTo>
                          <a:pt x="579" y="257"/>
                        </a:lnTo>
                        <a:lnTo>
                          <a:pt x="576" y="271"/>
                        </a:lnTo>
                        <a:lnTo>
                          <a:pt x="570" y="294"/>
                        </a:lnTo>
                        <a:lnTo>
                          <a:pt x="566" y="305"/>
                        </a:lnTo>
                        <a:lnTo>
                          <a:pt x="563" y="315"/>
                        </a:lnTo>
                        <a:lnTo>
                          <a:pt x="563" y="330"/>
                        </a:lnTo>
                        <a:lnTo>
                          <a:pt x="565" y="340"/>
                        </a:lnTo>
                        <a:lnTo>
                          <a:pt x="565" y="352"/>
                        </a:lnTo>
                        <a:lnTo>
                          <a:pt x="553" y="391"/>
                        </a:lnTo>
                        <a:lnTo>
                          <a:pt x="547" y="396"/>
                        </a:lnTo>
                        <a:lnTo>
                          <a:pt x="541" y="398"/>
                        </a:lnTo>
                        <a:lnTo>
                          <a:pt x="534" y="405"/>
                        </a:lnTo>
                        <a:lnTo>
                          <a:pt x="510" y="439"/>
                        </a:lnTo>
                        <a:lnTo>
                          <a:pt x="507" y="449"/>
                        </a:lnTo>
                        <a:lnTo>
                          <a:pt x="502" y="466"/>
                        </a:lnTo>
                        <a:lnTo>
                          <a:pt x="500" y="470"/>
                        </a:lnTo>
                        <a:lnTo>
                          <a:pt x="492" y="470"/>
                        </a:lnTo>
                        <a:lnTo>
                          <a:pt x="486" y="473"/>
                        </a:lnTo>
                        <a:lnTo>
                          <a:pt x="482" y="482"/>
                        </a:lnTo>
                        <a:lnTo>
                          <a:pt x="480" y="487"/>
                        </a:lnTo>
                        <a:lnTo>
                          <a:pt x="477" y="485"/>
                        </a:lnTo>
                        <a:lnTo>
                          <a:pt x="477" y="493"/>
                        </a:lnTo>
                        <a:lnTo>
                          <a:pt x="479" y="498"/>
                        </a:lnTo>
                        <a:lnTo>
                          <a:pt x="477" y="506"/>
                        </a:lnTo>
                        <a:lnTo>
                          <a:pt x="474" y="516"/>
                        </a:lnTo>
                        <a:lnTo>
                          <a:pt x="474" y="549"/>
                        </a:lnTo>
                        <a:lnTo>
                          <a:pt x="473" y="559"/>
                        </a:lnTo>
                        <a:lnTo>
                          <a:pt x="469" y="563"/>
                        </a:lnTo>
                        <a:lnTo>
                          <a:pt x="460" y="566"/>
                        </a:lnTo>
                        <a:lnTo>
                          <a:pt x="444" y="564"/>
                        </a:lnTo>
                        <a:lnTo>
                          <a:pt x="437" y="566"/>
                        </a:lnTo>
                        <a:lnTo>
                          <a:pt x="437" y="578"/>
                        </a:lnTo>
                        <a:lnTo>
                          <a:pt x="432" y="581"/>
                        </a:lnTo>
                        <a:lnTo>
                          <a:pt x="431" y="586"/>
                        </a:lnTo>
                        <a:lnTo>
                          <a:pt x="434" y="590"/>
                        </a:lnTo>
                        <a:lnTo>
                          <a:pt x="438" y="590"/>
                        </a:lnTo>
                        <a:lnTo>
                          <a:pt x="444" y="593"/>
                        </a:lnTo>
                        <a:lnTo>
                          <a:pt x="450" y="593"/>
                        </a:lnTo>
                        <a:lnTo>
                          <a:pt x="458" y="595"/>
                        </a:lnTo>
                        <a:lnTo>
                          <a:pt x="464" y="598"/>
                        </a:lnTo>
                        <a:lnTo>
                          <a:pt x="469" y="605"/>
                        </a:lnTo>
                        <a:lnTo>
                          <a:pt x="470" y="612"/>
                        </a:lnTo>
                        <a:lnTo>
                          <a:pt x="475" y="619"/>
                        </a:lnTo>
                        <a:lnTo>
                          <a:pt x="480" y="623"/>
                        </a:lnTo>
                        <a:lnTo>
                          <a:pt x="496" y="634"/>
                        </a:lnTo>
                        <a:lnTo>
                          <a:pt x="499" y="639"/>
                        </a:lnTo>
                        <a:lnTo>
                          <a:pt x="502" y="650"/>
                        </a:lnTo>
                        <a:lnTo>
                          <a:pt x="510" y="669"/>
                        </a:lnTo>
                        <a:lnTo>
                          <a:pt x="513" y="675"/>
                        </a:lnTo>
                        <a:lnTo>
                          <a:pt x="520" y="679"/>
                        </a:lnTo>
                        <a:lnTo>
                          <a:pt x="536" y="682"/>
                        </a:lnTo>
                        <a:lnTo>
                          <a:pt x="540" y="685"/>
                        </a:lnTo>
                        <a:lnTo>
                          <a:pt x="541" y="691"/>
                        </a:lnTo>
                        <a:lnTo>
                          <a:pt x="540" y="698"/>
                        </a:lnTo>
                        <a:lnTo>
                          <a:pt x="539" y="714"/>
                        </a:lnTo>
                        <a:lnTo>
                          <a:pt x="525" y="715"/>
                        </a:lnTo>
                        <a:lnTo>
                          <a:pt x="515" y="715"/>
                        </a:lnTo>
                        <a:lnTo>
                          <a:pt x="495" y="714"/>
                        </a:lnTo>
                        <a:lnTo>
                          <a:pt x="486" y="714"/>
                        </a:lnTo>
                        <a:lnTo>
                          <a:pt x="479" y="718"/>
                        </a:lnTo>
                        <a:lnTo>
                          <a:pt x="467" y="733"/>
                        </a:lnTo>
                        <a:lnTo>
                          <a:pt x="467" y="731"/>
                        </a:lnTo>
                        <a:lnTo>
                          <a:pt x="467" y="733"/>
                        </a:lnTo>
                        <a:lnTo>
                          <a:pt x="448" y="744"/>
                        </a:lnTo>
                        <a:lnTo>
                          <a:pt x="435" y="744"/>
                        </a:lnTo>
                        <a:lnTo>
                          <a:pt x="424" y="744"/>
                        </a:lnTo>
                        <a:lnTo>
                          <a:pt x="414" y="748"/>
                        </a:lnTo>
                        <a:lnTo>
                          <a:pt x="404" y="749"/>
                        </a:lnTo>
                        <a:lnTo>
                          <a:pt x="393" y="752"/>
                        </a:lnTo>
                        <a:lnTo>
                          <a:pt x="388" y="746"/>
                        </a:lnTo>
                        <a:lnTo>
                          <a:pt x="379" y="748"/>
                        </a:lnTo>
                        <a:lnTo>
                          <a:pt x="373" y="748"/>
                        </a:lnTo>
                        <a:lnTo>
                          <a:pt x="365" y="746"/>
                        </a:lnTo>
                        <a:lnTo>
                          <a:pt x="355" y="748"/>
                        </a:lnTo>
                        <a:lnTo>
                          <a:pt x="350" y="751"/>
                        </a:lnTo>
                        <a:lnTo>
                          <a:pt x="346" y="751"/>
                        </a:lnTo>
                        <a:lnTo>
                          <a:pt x="341" y="748"/>
                        </a:lnTo>
                        <a:lnTo>
                          <a:pt x="335" y="740"/>
                        </a:lnTo>
                        <a:lnTo>
                          <a:pt x="326" y="736"/>
                        </a:lnTo>
                        <a:lnTo>
                          <a:pt x="308" y="717"/>
                        </a:lnTo>
                        <a:lnTo>
                          <a:pt x="301" y="711"/>
                        </a:lnTo>
                        <a:lnTo>
                          <a:pt x="292" y="720"/>
                        </a:lnTo>
                        <a:lnTo>
                          <a:pt x="283" y="721"/>
                        </a:lnTo>
                        <a:lnTo>
                          <a:pt x="265" y="716"/>
                        </a:lnTo>
                        <a:lnTo>
                          <a:pt x="260" y="722"/>
                        </a:lnTo>
                        <a:lnTo>
                          <a:pt x="256" y="724"/>
                        </a:lnTo>
                        <a:lnTo>
                          <a:pt x="240" y="717"/>
                        </a:lnTo>
                        <a:lnTo>
                          <a:pt x="237" y="710"/>
                        </a:lnTo>
                        <a:lnTo>
                          <a:pt x="232" y="705"/>
                        </a:lnTo>
                        <a:lnTo>
                          <a:pt x="224" y="698"/>
                        </a:lnTo>
                        <a:lnTo>
                          <a:pt x="218" y="691"/>
                        </a:lnTo>
                        <a:lnTo>
                          <a:pt x="215" y="685"/>
                        </a:lnTo>
                        <a:lnTo>
                          <a:pt x="214" y="679"/>
                        </a:lnTo>
                        <a:lnTo>
                          <a:pt x="209" y="672"/>
                        </a:lnTo>
                        <a:lnTo>
                          <a:pt x="189" y="658"/>
                        </a:lnTo>
                        <a:lnTo>
                          <a:pt x="182" y="655"/>
                        </a:lnTo>
                        <a:lnTo>
                          <a:pt x="180" y="648"/>
                        </a:lnTo>
                        <a:lnTo>
                          <a:pt x="176" y="641"/>
                        </a:lnTo>
                        <a:lnTo>
                          <a:pt x="174" y="634"/>
                        </a:lnTo>
                        <a:lnTo>
                          <a:pt x="170" y="628"/>
                        </a:lnTo>
                        <a:lnTo>
                          <a:pt x="163" y="623"/>
                        </a:lnTo>
                        <a:lnTo>
                          <a:pt x="156" y="616"/>
                        </a:lnTo>
                        <a:lnTo>
                          <a:pt x="142" y="607"/>
                        </a:lnTo>
                        <a:lnTo>
                          <a:pt x="130" y="598"/>
                        </a:lnTo>
                        <a:lnTo>
                          <a:pt x="126" y="590"/>
                        </a:lnTo>
                        <a:lnTo>
                          <a:pt x="128" y="583"/>
                        </a:lnTo>
                        <a:lnTo>
                          <a:pt x="126" y="580"/>
                        </a:lnTo>
                        <a:lnTo>
                          <a:pt x="120" y="575"/>
                        </a:lnTo>
                        <a:lnTo>
                          <a:pt x="115" y="571"/>
                        </a:lnTo>
                        <a:lnTo>
                          <a:pt x="98" y="571"/>
                        </a:lnTo>
                        <a:lnTo>
                          <a:pt x="90" y="566"/>
                        </a:lnTo>
                        <a:lnTo>
                          <a:pt x="87" y="557"/>
                        </a:lnTo>
                        <a:lnTo>
                          <a:pt x="78" y="555"/>
                        </a:lnTo>
                        <a:lnTo>
                          <a:pt x="70" y="554"/>
                        </a:lnTo>
                        <a:lnTo>
                          <a:pt x="63" y="547"/>
                        </a:lnTo>
                        <a:lnTo>
                          <a:pt x="60" y="537"/>
                        </a:lnTo>
                        <a:lnTo>
                          <a:pt x="63" y="525"/>
                        </a:lnTo>
                        <a:lnTo>
                          <a:pt x="67" y="514"/>
                        </a:lnTo>
                        <a:lnTo>
                          <a:pt x="63" y="503"/>
                        </a:lnTo>
                        <a:lnTo>
                          <a:pt x="51" y="487"/>
                        </a:lnTo>
                        <a:lnTo>
                          <a:pt x="40" y="475"/>
                        </a:lnTo>
                        <a:lnTo>
                          <a:pt x="32" y="465"/>
                        </a:lnTo>
                        <a:lnTo>
                          <a:pt x="39" y="461"/>
                        </a:lnTo>
                        <a:lnTo>
                          <a:pt x="37" y="456"/>
                        </a:lnTo>
                        <a:lnTo>
                          <a:pt x="36" y="450"/>
                        </a:lnTo>
                        <a:lnTo>
                          <a:pt x="34" y="446"/>
                        </a:lnTo>
                        <a:lnTo>
                          <a:pt x="29" y="444"/>
                        </a:lnTo>
                        <a:lnTo>
                          <a:pt x="29" y="443"/>
                        </a:lnTo>
                        <a:lnTo>
                          <a:pt x="20" y="419"/>
                        </a:lnTo>
                        <a:lnTo>
                          <a:pt x="17" y="408"/>
                        </a:lnTo>
                        <a:lnTo>
                          <a:pt x="19" y="398"/>
                        </a:lnTo>
                        <a:lnTo>
                          <a:pt x="7" y="399"/>
                        </a:lnTo>
                        <a:lnTo>
                          <a:pt x="3" y="401"/>
                        </a:lnTo>
                        <a:lnTo>
                          <a:pt x="0" y="401"/>
                        </a:lnTo>
                        <a:lnTo>
                          <a:pt x="0" y="389"/>
                        </a:lnTo>
                        <a:lnTo>
                          <a:pt x="1" y="386"/>
                        </a:lnTo>
                        <a:lnTo>
                          <a:pt x="5" y="379"/>
                        </a:lnTo>
                        <a:lnTo>
                          <a:pt x="8" y="372"/>
                        </a:lnTo>
                        <a:lnTo>
                          <a:pt x="8" y="363"/>
                        </a:lnTo>
                        <a:lnTo>
                          <a:pt x="8" y="355"/>
                        </a:lnTo>
                        <a:lnTo>
                          <a:pt x="10" y="353"/>
                        </a:lnTo>
                        <a:lnTo>
                          <a:pt x="15" y="349"/>
                        </a:lnTo>
                        <a:lnTo>
                          <a:pt x="17" y="348"/>
                        </a:lnTo>
                        <a:lnTo>
                          <a:pt x="19" y="346"/>
                        </a:lnTo>
                        <a:lnTo>
                          <a:pt x="17" y="339"/>
                        </a:lnTo>
                        <a:lnTo>
                          <a:pt x="17" y="331"/>
                        </a:lnTo>
                        <a:lnTo>
                          <a:pt x="29" y="319"/>
                        </a:lnTo>
                        <a:lnTo>
                          <a:pt x="36" y="307"/>
                        </a:lnTo>
                        <a:lnTo>
                          <a:pt x="40" y="300"/>
                        </a:lnTo>
                        <a:lnTo>
                          <a:pt x="40" y="292"/>
                        </a:lnTo>
                        <a:lnTo>
                          <a:pt x="42" y="286"/>
                        </a:lnTo>
                        <a:lnTo>
                          <a:pt x="43" y="284"/>
                        </a:lnTo>
                        <a:lnTo>
                          <a:pt x="51" y="284"/>
                        </a:lnTo>
                        <a:lnTo>
                          <a:pt x="56" y="283"/>
                        </a:lnTo>
                        <a:lnTo>
                          <a:pt x="78" y="283"/>
                        </a:lnTo>
                        <a:lnTo>
                          <a:pt x="82" y="282"/>
                        </a:lnTo>
                        <a:lnTo>
                          <a:pt x="83" y="248"/>
                        </a:lnTo>
                        <a:lnTo>
                          <a:pt x="83" y="212"/>
                        </a:lnTo>
                        <a:lnTo>
                          <a:pt x="83" y="175"/>
                        </a:lnTo>
                        <a:lnTo>
                          <a:pt x="83" y="138"/>
                        </a:lnTo>
                        <a:lnTo>
                          <a:pt x="83" y="116"/>
                        </a:lnTo>
                        <a:lnTo>
                          <a:pt x="121" y="116"/>
                        </a:lnTo>
                        <a:lnTo>
                          <a:pt x="121" y="77"/>
                        </a:lnTo>
                        <a:lnTo>
                          <a:pt x="121" y="43"/>
                        </a:lnTo>
                        <a:lnTo>
                          <a:pt x="158" y="43"/>
                        </a:lnTo>
                        <a:lnTo>
                          <a:pt x="194" y="43"/>
                        </a:lnTo>
                        <a:lnTo>
                          <a:pt x="231" y="43"/>
                        </a:lnTo>
                        <a:lnTo>
                          <a:pt x="268" y="43"/>
                        </a:lnTo>
                        <a:lnTo>
                          <a:pt x="304" y="43"/>
                        </a:lnTo>
                        <a:lnTo>
                          <a:pt x="341" y="43"/>
                        </a:lnTo>
                        <a:lnTo>
                          <a:pt x="361" y="43"/>
                        </a:lnTo>
                        <a:lnTo>
                          <a:pt x="366" y="34"/>
                        </a:lnTo>
                        <a:lnTo>
                          <a:pt x="368" y="34"/>
                        </a:lnTo>
                        <a:lnTo>
                          <a:pt x="369" y="36"/>
                        </a:lnTo>
                        <a:lnTo>
                          <a:pt x="372" y="34"/>
                        </a:lnTo>
                        <a:lnTo>
                          <a:pt x="368" y="43"/>
                        </a:lnTo>
                        <a:lnTo>
                          <a:pt x="436" y="43"/>
                        </a:lnTo>
                        <a:lnTo>
                          <a:pt x="450" y="52"/>
                        </a:lnTo>
                        <a:lnTo>
                          <a:pt x="469" y="51"/>
                        </a:lnTo>
                        <a:lnTo>
                          <a:pt x="474" y="34"/>
                        </a:lnTo>
                        <a:lnTo>
                          <a:pt x="495" y="29"/>
                        </a:lnTo>
                        <a:lnTo>
                          <a:pt x="503" y="10"/>
                        </a:lnTo>
                        <a:close/>
                      </a:path>
                    </a:pathLst>
                  </a:custGeom>
                  <a:solidFill>
                    <a:srgbClr val="9CBC5A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7" name="Freeform 105"/>
                  <p:cNvSpPr>
                    <a:spLocks/>
                  </p:cNvSpPr>
                  <p:nvPr/>
                </p:nvSpPr>
                <p:spPr bwMode="auto">
                  <a:xfrm>
                    <a:off x="2186" y="1586"/>
                    <a:ext cx="686" cy="790"/>
                  </a:xfrm>
                  <a:custGeom>
                    <a:avLst/>
                    <a:gdLst>
                      <a:gd name="T0" fmla="*/ 47203 w 641"/>
                      <a:gd name="T1" fmla="*/ 330 h 752"/>
                      <a:gd name="T2" fmla="*/ 50137 w 641"/>
                      <a:gd name="T3" fmla="*/ 803 h 752"/>
                      <a:gd name="T4" fmla="*/ 51789 w 641"/>
                      <a:gd name="T5" fmla="*/ 1856 h 752"/>
                      <a:gd name="T6" fmla="*/ 51941 w 641"/>
                      <a:gd name="T7" fmla="*/ 3237 h 752"/>
                      <a:gd name="T8" fmla="*/ 53433 w 641"/>
                      <a:gd name="T9" fmla="*/ 4368 h 752"/>
                      <a:gd name="T10" fmla="*/ 55390 w 641"/>
                      <a:gd name="T11" fmla="*/ 4821 h 752"/>
                      <a:gd name="T12" fmla="*/ 56468 w 641"/>
                      <a:gd name="T13" fmla="*/ 5046 h 752"/>
                      <a:gd name="T14" fmla="*/ 54501 w 641"/>
                      <a:gd name="T15" fmla="*/ 5590 h 752"/>
                      <a:gd name="T16" fmla="*/ 51577 w 641"/>
                      <a:gd name="T17" fmla="*/ 5982 h 752"/>
                      <a:gd name="T18" fmla="*/ 50676 w 641"/>
                      <a:gd name="T19" fmla="*/ 7008 h 752"/>
                      <a:gd name="T20" fmla="*/ 49485 w 641"/>
                      <a:gd name="T21" fmla="*/ 8536 h 752"/>
                      <a:gd name="T22" fmla="*/ 48194 w 641"/>
                      <a:gd name="T23" fmla="*/ 10249 h 752"/>
                      <a:gd name="T24" fmla="*/ 44726 w 641"/>
                      <a:gd name="T25" fmla="*/ 11639 h 752"/>
                      <a:gd name="T26" fmla="*/ 42810 w 641"/>
                      <a:gd name="T27" fmla="*/ 12239 h 752"/>
                      <a:gd name="T28" fmla="*/ 42065 w 641"/>
                      <a:gd name="T29" fmla="*/ 12758 h 752"/>
                      <a:gd name="T30" fmla="*/ 41792 w 641"/>
                      <a:gd name="T31" fmla="*/ 14206 h 752"/>
                      <a:gd name="T32" fmla="*/ 39089 w 641"/>
                      <a:gd name="T33" fmla="*/ 14587 h 752"/>
                      <a:gd name="T34" fmla="*/ 37977 w 641"/>
                      <a:gd name="T35" fmla="*/ 15199 h 752"/>
                      <a:gd name="T36" fmla="*/ 39595 w 641"/>
                      <a:gd name="T37" fmla="*/ 15324 h 752"/>
                      <a:gd name="T38" fmla="*/ 41344 w 641"/>
                      <a:gd name="T39" fmla="*/ 15871 h 752"/>
                      <a:gd name="T40" fmla="*/ 43919 w 641"/>
                      <a:gd name="T41" fmla="*/ 16505 h 752"/>
                      <a:gd name="T42" fmla="*/ 45815 w 641"/>
                      <a:gd name="T43" fmla="*/ 17532 h 752"/>
                      <a:gd name="T44" fmla="*/ 47589 w 641"/>
                      <a:gd name="T45" fmla="*/ 18079 h 752"/>
                      <a:gd name="T46" fmla="*/ 43638 w 641"/>
                      <a:gd name="T47" fmla="*/ 18512 h 752"/>
                      <a:gd name="T48" fmla="*/ 41111 w 641"/>
                      <a:gd name="T49" fmla="*/ 18945 h 752"/>
                      <a:gd name="T50" fmla="*/ 37378 w 641"/>
                      <a:gd name="T51" fmla="*/ 19320 h 752"/>
                      <a:gd name="T52" fmla="*/ 34129 w 641"/>
                      <a:gd name="T53" fmla="*/ 19335 h 752"/>
                      <a:gd name="T54" fmla="*/ 31339 w 641"/>
                      <a:gd name="T55" fmla="*/ 19342 h 752"/>
                      <a:gd name="T56" fmla="*/ 29594 w 641"/>
                      <a:gd name="T57" fmla="*/ 19102 h 752"/>
                      <a:gd name="T58" fmla="*/ 25632 w 641"/>
                      <a:gd name="T59" fmla="*/ 18588 h 752"/>
                      <a:gd name="T60" fmla="*/ 22561 w 641"/>
                      <a:gd name="T61" fmla="*/ 18730 h 752"/>
                      <a:gd name="T62" fmla="*/ 19752 w 641"/>
                      <a:gd name="T63" fmla="*/ 18079 h 752"/>
                      <a:gd name="T64" fmla="*/ 18456 w 641"/>
                      <a:gd name="T65" fmla="*/ 17369 h 752"/>
                      <a:gd name="T66" fmla="*/ 15453 w 641"/>
                      <a:gd name="T67" fmla="*/ 16604 h 752"/>
                      <a:gd name="T68" fmla="*/ 13725 w 641"/>
                      <a:gd name="T69" fmla="*/ 15967 h 752"/>
                      <a:gd name="T70" fmla="*/ 11355 w 641"/>
                      <a:gd name="T71" fmla="*/ 15108 h 752"/>
                      <a:gd name="T72" fmla="*/ 8656 w 641"/>
                      <a:gd name="T73" fmla="*/ 14791 h 752"/>
                      <a:gd name="T74" fmla="*/ 6165 w 641"/>
                      <a:gd name="T75" fmla="*/ 14373 h 752"/>
                      <a:gd name="T76" fmla="*/ 5906 w 641"/>
                      <a:gd name="T77" fmla="*/ 13323 h 752"/>
                      <a:gd name="T78" fmla="*/ 2801 w 641"/>
                      <a:gd name="T79" fmla="*/ 12053 h 752"/>
                      <a:gd name="T80" fmla="*/ 2998 w 641"/>
                      <a:gd name="T81" fmla="*/ 11560 h 752"/>
                      <a:gd name="T82" fmla="*/ 1421 w 641"/>
                      <a:gd name="T83" fmla="*/ 10570 h 752"/>
                      <a:gd name="T84" fmla="*/ 0 w 641"/>
                      <a:gd name="T85" fmla="*/ 10367 h 752"/>
                      <a:gd name="T86" fmla="*/ 773 w 641"/>
                      <a:gd name="T87" fmla="*/ 9654 h 752"/>
                      <a:gd name="T88" fmla="*/ 1241 w 641"/>
                      <a:gd name="T89" fmla="*/ 9096 h 752"/>
                      <a:gd name="T90" fmla="*/ 1421 w 641"/>
                      <a:gd name="T91" fmla="*/ 8554 h 752"/>
                      <a:gd name="T92" fmla="*/ 3474 w 641"/>
                      <a:gd name="T93" fmla="*/ 7576 h 752"/>
                      <a:gd name="T94" fmla="*/ 4877 w 641"/>
                      <a:gd name="T95" fmla="*/ 7286 h 752"/>
                      <a:gd name="T96" fmla="*/ 7327 w 641"/>
                      <a:gd name="T97" fmla="*/ 5477 h 752"/>
                      <a:gd name="T98" fmla="*/ 10697 w 641"/>
                      <a:gd name="T99" fmla="*/ 2993 h 752"/>
                      <a:gd name="T100" fmla="*/ 17199 w 641"/>
                      <a:gd name="T101" fmla="*/ 1080 h 752"/>
                      <a:gd name="T102" fmla="*/ 29981 w 641"/>
                      <a:gd name="T103" fmla="*/ 1080 h 752"/>
                      <a:gd name="T104" fmla="*/ 32595 w 641"/>
                      <a:gd name="T105" fmla="*/ 928 h 752"/>
                      <a:gd name="T106" fmla="*/ 39595 w 641"/>
                      <a:gd name="T107" fmla="*/ 1360 h 752"/>
                      <a:gd name="T108" fmla="*/ 44246 w 641"/>
                      <a:gd name="T109" fmla="*/ 299 h 752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41"/>
                      <a:gd name="T166" fmla="*/ 0 h 752"/>
                      <a:gd name="T167" fmla="*/ 641 w 641"/>
                      <a:gd name="T168" fmla="*/ 752 h 752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41" h="752">
                        <a:moveTo>
                          <a:pt x="503" y="10"/>
                        </a:moveTo>
                        <a:lnTo>
                          <a:pt x="513" y="13"/>
                        </a:lnTo>
                        <a:lnTo>
                          <a:pt x="528" y="0"/>
                        </a:lnTo>
                        <a:lnTo>
                          <a:pt x="537" y="12"/>
                        </a:lnTo>
                        <a:lnTo>
                          <a:pt x="547" y="15"/>
                        </a:lnTo>
                        <a:lnTo>
                          <a:pt x="555" y="20"/>
                        </a:lnTo>
                        <a:lnTo>
                          <a:pt x="563" y="29"/>
                        </a:lnTo>
                        <a:lnTo>
                          <a:pt x="569" y="31"/>
                        </a:lnTo>
                        <a:lnTo>
                          <a:pt x="576" y="43"/>
                        </a:lnTo>
                        <a:lnTo>
                          <a:pt x="578" y="53"/>
                        </a:lnTo>
                        <a:lnTo>
                          <a:pt x="579" y="61"/>
                        </a:lnTo>
                        <a:lnTo>
                          <a:pt x="589" y="72"/>
                        </a:lnTo>
                        <a:lnTo>
                          <a:pt x="592" y="77"/>
                        </a:lnTo>
                        <a:lnTo>
                          <a:pt x="589" y="77"/>
                        </a:lnTo>
                        <a:lnTo>
                          <a:pt x="591" y="103"/>
                        </a:lnTo>
                        <a:lnTo>
                          <a:pt x="591" y="125"/>
                        </a:lnTo>
                        <a:lnTo>
                          <a:pt x="593" y="141"/>
                        </a:lnTo>
                        <a:lnTo>
                          <a:pt x="598" y="161"/>
                        </a:lnTo>
                        <a:lnTo>
                          <a:pt x="601" y="166"/>
                        </a:lnTo>
                        <a:lnTo>
                          <a:pt x="606" y="169"/>
                        </a:lnTo>
                        <a:lnTo>
                          <a:pt x="616" y="173"/>
                        </a:lnTo>
                        <a:lnTo>
                          <a:pt x="620" y="175"/>
                        </a:lnTo>
                        <a:lnTo>
                          <a:pt x="625" y="178"/>
                        </a:lnTo>
                        <a:lnTo>
                          <a:pt x="629" y="187"/>
                        </a:lnTo>
                        <a:lnTo>
                          <a:pt x="632" y="185"/>
                        </a:lnTo>
                        <a:lnTo>
                          <a:pt x="634" y="187"/>
                        </a:lnTo>
                        <a:lnTo>
                          <a:pt x="637" y="187"/>
                        </a:lnTo>
                        <a:lnTo>
                          <a:pt x="641" y="194"/>
                        </a:lnTo>
                        <a:lnTo>
                          <a:pt x="639" y="201"/>
                        </a:lnTo>
                        <a:lnTo>
                          <a:pt x="633" y="210"/>
                        </a:lnTo>
                        <a:lnTo>
                          <a:pt x="624" y="214"/>
                        </a:lnTo>
                        <a:lnTo>
                          <a:pt x="618" y="216"/>
                        </a:lnTo>
                        <a:lnTo>
                          <a:pt x="604" y="222"/>
                        </a:lnTo>
                        <a:lnTo>
                          <a:pt x="599" y="227"/>
                        </a:lnTo>
                        <a:lnTo>
                          <a:pt x="594" y="230"/>
                        </a:lnTo>
                        <a:lnTo>
                          <a:pt x="585" y="232"/>
                        </a:lnTo>
                        <a:lnTo>
                          <a:pt x="582" y="237"/>
                        </a:lnTo>
                        <a:lnTo>
                          <a:pt x="579" y="252"/>
                        </a:lnTo>
                        <a:lnTo>
                          <a:pt x="579" y="257"/>
                        </a:lnTo>
                        <a:lnTo>
                          <a:pt x="576" y="271"/>
                        </a:lnTo>
                        <a:lnTo>
                          <a:pt x="570" y="294"/>
                        </a:lnTo>
                        <a:lnTo>
                          <a:pt x="566" y="305"/>
                        </a:lnTo>
                        <a:lnTo>
                          <a:pt x="563" y="315"/>
                        </a:lnTo>
                        <a:lnTo>
                          <a:pt x="563" y="330"/>
                        </a:lnTo>
                        <a:lnTo>
                          <a:pt x="565" y="340"/>
                        </a:lnTo>
                        <a:lnTo>
                          <a:pt x="565" y="352"/>
                        </a:lnTo>
                        <a:lnTo>
                          <a:pt x="553" y="391"/>
                        </a:lnTo>
                        <a:lnTo>
                          <a:pt x="547" y="396"/>
                        </a:lnTo>
                        <a:lnTo>
                          <a:pt x="541" y="398"/>
                        </a:lnTo>
                        <a:lnTo>
                          <a:pt x="534" y="405"/>
                        </a:lnTo>
                        <a:lnTo>
                          <a:pt x="510" y="439"/>
                        </a:lnTo>
                        <a:lnTo>
                          <a:pt x="507" y="449"/>
                        </a:lnTo>
                        <a:lnTo>
                          <a:pt x="502" y="466"/>
                        </a:lnTo>
                        <a:lnTo>
                          <a:pt x="500" y="470"/>
                        </a:lnTo>
                        <a:lnTo>
                          <a:pt x="492" y="470"/>
                        </a:lnTo>
                        <a:lnTo>
                          <a:pt x="486" y="473"/>
                        </a:lnTo>
                        <a:lnTo>
                          <a:pt x="482" y="482"/>
                        </a:lnTo>
                        <a:lnTo>
                          <a:pt x="480" y="487"/>
                        </a:lnTo>
                        <a:lnTo>
                          <a:pt x="477" y="485"/>
                        </a:lnTo>
                        <a:lnTo>
                          <a:pt x="477" y="493"/>
                        </a:lnTo>
                        <a:lnTo>
                          <a:pt x="479" y="498"/>
                        </a:lnTo>
                        <a:lnTo>
                          <a:pt x="477" y="506"/>
                        </a:lnTo>
                        <a:lnTo>
                          <a:pt x="474" y="516"/>
                        </a:lnTo>
                        <a:lnTo>
                          <a:pt x="474" y="549"/>
                        </a:lnTo>
                        <a:lnTo>
                          <a:pt x="473" y="559"/>
                        </a:lnTo>
                        <a:lnTo>
                          <a:pt x="469" y="563"/>
                        </a:lnTo>
                        <a:lnTo>
                          <a:pt x="460" y="566"/>
                        </a:lnTo>
                        <a:lnTo>
                          <a:pt x="444" y="564"/>
                        </a:lnTo>
                        <a:lnTo>
                          <a:pt x="437" y="566"/>
                        </a:lnTo>
                        <a:lnTo>
                          <a:pt x="437" y="578"/>
                        </a:lnTo>
                        <a:lnTo>
                          <a:pt x="432" y="581"/>
                        </a:lnTo>
                        <a:lnTo>
                          <a:pt x="431" y="586"/>
                        </a:lnTo>
                        <a:lnTo>
                          <a:pt x="434" y="590"/>
                        </a:lnTo>
                        <a:lnTo>
                          <a:pt x="438" y="590"/>
                        </a:lnTo>
                        <a:lnTo>
                          <a:pt x="444" y="593"/>
                        </a:lnTo>
                        <a:lnTo>
                          <a:pt x="450" y="593"/>
                        </a:lnTo>
                        <a:lnTo>
                          <a:pt x="458" y="595"/>
                        </a:lnTo>
                        <a:lnTo>
                          <a:pt x="464" y="598"/>
                        </a:lnTo>
                        <a:lnTo>
                          <a:pt x="469" y="605"/>
                        </a:lnTo>
                        <a:lnTo>
                          <a:pt x="470" y="612"/>
                        </a:lnTo>
                        <a:lnTo>
                          <a:pt x="475" y="619"/>
                        </a:lnTo>
                        <a:lnTo>
                          <a:pt x="480" y="623"/>
                        </a:lnTo>
                        <a:lnTo>
                          <a:pt x="496" y="634"/>
                        </a:lnTo>
                        <a:lnTo>
                          <a:pt x="499" y="639"/>
                        </a:lnTo>
                        <a:lnTo>
                          <a:pt x="502" y="650"/>
                        </a:lnTo>
                        <a:lnTo>
                          <a:pt x="510" y="669"/>
                        </a:lnTo>
                        <a:lnTo>
                          <a:pt x="513" y="675"/>
                        </a:lnTo>
                        <a:lnTo>
                          <a:pt x="520" y="679"/>
                        </a:lnTo>
                        <a:lnTo>
                          <a:pt x="536" y="682"/>
                        </a:lnTo>
                        <a:lnTo>
                          <a:pt x="540" y="685"/>
                        </a:lnTo>
                        <a:lnTo>
                          <a:pt x="541" y="691"/>
                        </a:lnTo>
                        <a:lnTo>
                          <a:pt x="540" y="698"/>
                        </a:lnTo>
                        <a:lnTo>
                          <a:pt x="539" y="714"/>
                        </a:lnTo>
                        <a:lnTo>
                          <a:pt x="525" y="715"/>
                        </a:lnTo>
                        <a:lnTo>
                          <a:pt x="515" y="715"/>
                        </a:lnTo>
                        <a:lnTo>
                          <a:pt x="495" y="714"/>
                        </a:lnTo>
                        <a:lnTo>
                          <a:pt x="486" y="714"/>
                        </a:lnTo>
                        <a:lnTo>
                          <a:pt x="479" y="718"/>
                        </a:lnTo>
                        <a:lnTo>
                          <a:pt x="467" y="733"/>
                        </a:lnTo>
                        <a:lnTo>
                          <a:pt x="467" y="731"/>
                        </a:lnTo>
                        <a:lnTo>
                          <a:pt x="467" y="733"/>
                        </a:lnTo>
                        <a:lnTo>
                          <a:pt x="448" y="744"/>
                        </a:lnTo>
                        <a:lnTo>
                          <a:pt x="435" y="744"/>
                        </a:lnTo>
                        <a:lnTo>
                          <a:pt x="424" y="744"/>
                        </a:lnTo>
                        <a:lnTo>
                          <a:pt x="414" y="748"/>
                        </a:lnTo>
                        <a:lnTo>
                          <a:pt x="404" y="749"/>
                        </a:lnTo>
                        <a:lnTo>
                          <a:pt x="393" y="752"/>
                        </a:lnTo>
                        <a:lnTo>
                          <a:pt x="388" y="746"/>
                        </a:lnTo>
                        <a:lnTo>
                          <a:pt x="379" y="748"/>
                        </a:lnTo>
                        <a:lnTo>
                          <a:pt x="373" y="748"/>
                        </a:lnTo>
                        <a:lnTo>
                          <a:pt x="365" y="746"/>
                        </a:lnTo>
                        <a:lnTo>
                          <a:pt x="355" y="748"/>
                        </a:lnTo>
                        <a:lnTo>
                          <a:pt x="350" y="751"/>
                        </a:lnTo>
                        <a:lnTo>
                          <a:pt x="346" y="751"/>
                        </a:lnTo>
                        <a:lnTo>
                          <a:pt x="341" y="748"/>
                        </a:lnTo>
                        <a:lnTo>
                          <a:pt x="335" y="740"/>
                        </a:lnTo>
                        <a:lnTo>
                          <a:pt x="326" y="736"/>
                        </a:lnTo>
                        <a:lnTo>
                          <a:pt x="308" y="717"/>
                        </a:lnTo>
                        <a:lnTo>
                          <a:pt x="301" y="711"/>
                        </a:lnTo>
                        <a:lnTo>
                          <a:pt x="292" y="720"/>
                        </a:lnTo>
                        <a:lnTo>
                          <a:pt x="283" y="721"/>
                        </a:lnTo>
                        <a:lnTo>
                          <a:pt x="265" y="716"/>
                        </a:lnTo>
                        <a:lnTo>
                          <a:pt x="260" y="722"/>
                        </a:lnTo>
                        <a:lnTo>
                          <a:pt x="256" y="724"/>
                        </a:lnTo>
                        <a:lnTo>
                          <a:pt x="240" y="717"/>
                        </a:lnTo>
                        <a:lnTo>
                          <a:pt x="237" y="710"/>
                        </a:lnTo>
                        <a:lnTo>
                          <a:pt x="232" y="705"/>
                        </a:lnTo>
                        <a:lnTo>
                          <a:pt x="224" y="698"/>
                        </a:lnTo>
                        <a:lnTo>
                          <a:pt x="218" y="691"/>
                        </a:lnTo>
                        <a:lnTo>
                          <a:pt x="215" y="685"/>
                        </a:lnTo>
                        <a:lnTo>
                          <a:pt x="214" y="679"/>
                        </a:lnTo>
                        <a:lnTo>
                          <a:pt x="209" y="672"/>
                        </a:lnTo>
                        <a:lnTo>
                          <a:pt x="189" y="658"/>
                        </a:lnTo>
                        <a:lnTo>
                          <a:pt x="182" y="655"/>
                        </a:lnTo>
                        <a:lnTo>
                          <a:pt x="180" y="648"/>
                        </a:lnTo>
                        <a:lnTo>
                          <a:pt x="176" y="641"/>
                        </a:lnTo>
                        <a:lnTo>
                          <a:pt x="174" y="634"/>
                        </a:lnTo>
                        <a:lnTo>
                          <a:pt x="170" y="628"/>
                        </a:lnTo>
                        <a:lnTo>
                          <a:pt x="163" y="623"/>
                        </a:lnTo>
                        <a:lnTo>
                          <a:pt x="156" y="616"/>
                        </a:lnTo>
                        <a:lnTo>
                          <a:pt x="142" y="607"/>
                        </a:lnTo>
                        <a:lnTo>
                          <a:pt x="130" y="598"/>
                        </a:lnTo>
                        <a:lnTo>
                          <a:pt x="126" y="590"/>
                        </a:lnTo>
                        <a:lnTo>
                          <a:pt x="128" y="583"/>
                        </a:lnTo>
                        <a:lnTo>
                          <a:pt x="126" y="580"/>
                        </a:lnTo>
                        <a:lnTo>
                          <a:pt x="120" y="575"/>
                        </a:lnTo>
                        <a:lnTo>
                          <a:pt x="115" y="571"/>
                        </a:lnTo>
                        <a:lnTo>
                          <a:pt x="98" y="571"/>
                        </a:lnTo>
                        <a:lnTo>
                          <a:pt x="90" y="566"/>
                        </a:lnTo>
                        <a:lnTo>
                          <a:pt x="87" y="557"/>
                        </a:lnTo>
                        <a:lnTo>
                          <a:pt x="78" y="555"/>
                        </a:lnTo>
                        <a:lnTo>
                          <a:pt x="70" y="554"/>
                        </a:lnTo>
                        <a:lnTo>
                          <a:pt x="63" y="547"/>
                        </a:lnTo>
                        <a:lnTo>
                          <a:pt x="60" y="537"/>
                        </a:lnTo>
                        <a:lnTo>
                          <a:pt x="63" y="525"/>
                        </a:lnTo>
                        <a:lnTo>
                          <a:pt x="67" y="514"/>
                        </a:lnTo>
                        <a:lnTo>
                          <a:pt x="63" y="503"/>
                        </a:lnTo>
                        <a:lnTo>
                          <a:pt x="51" y="487"/>
                        </a:lnTo>
                        <a:lnTo>
                          <a:pt x="40" y="475"/>
                        </a:lnTo>
                        <a:lnTo>
                          <a:pt x="32" y="465"/>
                        </a:lnTo>
                        <a:lnTo>
                          <a:pt x="39" y="461"/>
                        </a:lnTo>
                        <a:lnTo>
                          <a:pt x="37" y="456"/>
                        </a:lnTo>
                        <a:lnTo>
                          <a:pt x="36" y="450"/>
                        </a:lnTo>
                        <a:lnTo>
                          <a:pt x="34" y="446"/>
                        </a:lnTo>
                        <a:lnTo>
                          <a:pt x="29" y="444"/>
                        </a:lnTo>
                        <a:lnTo>
                          <a:pt x="29" y="443"/>
                        </a:lnTo>
                        <a:lnTo>
                          <a:pt x="20" y="419"/>
                        </a:lnTo>
                        <a:lnTo>
                          <a:pt x="17" y="408"/>
                        </a:lnTo>
                        <a:lnTo>
                          <a:pt x="19" y="398"/>
                        </a:lnTo>
                        <a:lnTo>
                          <a:pt x="7" y="399"/>
                        </a:lnTo>
                        <a:lnTo>
                          <a:pt x="3" y="401"/>
                        </a:lnTo>
                        <a:lnTo>
                          <a:pt x="0" y="401"/>
                        </a:lnTo>
                        <a:lnTo>
                          <a:pt x="0" y="389"/>
                        </a:lnTo>
                        <a:lnTo>
                          <a:pt x="1" y="386"/>
                        </a:lnTo>
                        <a:lnTo>
                          <a:pt x="5" y="379"/>
                        </a:lnTo>
                        <a:lnTo>
                          <a:pt x="8" y="372"/>
                        </a:lnTo>
                        <a:lnTo>
                          <a:pt x="8" y="363"/>
                        </a:lnTo>
                        <a:lnTo>
                          <a:pt x="8" y="355"/>
                        </a:lnTo>
                        <a:lnTo>
                          <a:pt x="10" y="353"/>
                        </a:lnTo>
                        <a:lnTo>
                          <a:pt x="15" y="349"/>
                        </a:lnTo>
                        <a:lnTo>
                          <a:pt x="17" y="348"/>
                        </a:lnTo>
                        <a:lnTo>
                          <a:pt x="19" y="346"/>
                        </a:lnTo>
                        <a:lnTo>
                          <a:pt x="17" y="339"/>
                        </a:lnTo>
                        <a:lnTo>
                          <a:pt x="17" y="331"/>
                        </a:lnTo>
                        <a:lnTo>
                          <a:pt x="29" y="319"/>
                        </a:lnTo>
                        <a:lnTo>
                          <a:pt x="36" y="307"/>
                        </a:lnTo>
                        <a:lnTo>
                          <a:pt x="40" y="300"/>
                        </a:lnTo>
                        <a:lnTo>
                          <a:pt x="40" y="292"/>
                        </a:lnTo>
                        <a:lnTo>
                          <a:pt x="42" y="286"/>
                        </a:lnTo>
                        <a:lnTo>
                          <a:pt x="43" y="284"/>
                        </a:lnTo>
                        <a:lnTo>
                          <a:pt x="51" y="284"/>
                        </a:lnTo>
                        <a:lnTo>
                          <a:pt x="56" y="283"/>
                        </a:lnTo>
                        <a:lnTo>
                          <a:pt x="78" y="283"/>
                        </a:lnTo>
                        <a:lnTo>
                          <a:pt x="82" y="282"/>
                        </a:lnTo>
                        <a:lnTo>
                          <a:pt x="83" y="248"/>
                        </a:lnTo>
                        <a:lnTo>
                          <a:pt x="83" y="212"/>
                        </a:lnTo>
                        <a:lnTo>
                          <a:pt x="83" y="175"/>
                        </a:lnTo>
                        <a:lnTo>
                          <a:pt x="83" y="138"/>
                        </a:lnTo>
                        <a:lnTo>
                          <a:pt x="83" y="116"/>
                        </a:lnTo>
                        <a:lnTo>
                          <a:pt x="121" y="116"/>
                        </a:lnTo>
                        <a:lnTo>
                          <a:pt x="121" y="77"/>
                        </a:lnTo>
                        <a:lnTo>
                          <a:pt x="121" y="43"/>
                        </a:lnTo>
                        <a:lnTo>
                          <a:pt x="158" y="43"/>
                        </a:lnTo>
                        <a:lnTo>
                          <a:pt x="194" y="43"/>
                        </a:lnTo>
                        <a:lnTo>
                          <a:pt x="231" y="43"/>
                        </a:lnTo>
                        <a:lnTo>
                          <a:pt x="268" y="43"/>
                        </a:lnTo>
                        <a:lnTo>
                          <a:pt x="304" y="43"/>
                        </a:lnTo>
                        <a:lnTo>
                          <a:pt x="341" y="43"/>
                        </a:lnTo>
                        <a:lnTo>
                          <a:pt x="361" y="43"/>
                        </a:lnTo>
                        <a:lnTo>
                          <a:pt x="366" y="34"/>
                        </a:lnTo>
                        <a:lnTo>
                          <a:pt x="368" y="34"/>
                        </a:lnTo>
                        <a:lnTo>
                          <a:pt x="369" y="36"/>
                        </a:lnTo>
                        <a:lnTo>
                          <a:pt x="372" y="34"/>
                        </a:lnTo>
                        <a:lnTo>
                          <a:pt x="368" y="43"/>
                        </a:lnTo>
                        <a:lnTo>
                          <a:pt x="436" y="43"/>
                        </a:lnTo>
                        <a:lnTo>
                          <a:pt x="450" y="52"/>
                        </a:lnTo>
                        <a:lnTo>
                          <a:pt x="469" y="51"/>
                        </a:lnTo>
                        <a:lnTo>
                          <a:pt x="474" y="34"/>
                        </a:lnTo>
                        <a:lnTo>
                          <a:pt x="495" y="29"/>
                        </a:lnTo>
                        <a:lnTo>
                          <a:pt x="503" y="1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8" name="Freeform 106"/>
                  <p:cNvSpPr>
                    <a:spLocks/>
                  </p:cNvSpPr>
                  <p:nvPr/>
                </p:nvSpPr>
                <p:spPr bwMode="auto">
                  <a:xfrm>
                    <a:off x="1657" y="1178"/>
                    <a:ext cx="658" cy="553"/>
                  </a:xfrm>
                  <a:custGeom>
                    <a:avLst/>
                    <a:gdLst>
                      <a:gd name="T0" fmla="*/ 7273 w 615"/>
                      <a:gd name="T1" fmla="*/ 0 h 526"/>
                      <a:gd name="T2" fmla="*/ 10244 w 615"/>
                      <a:gd name="T3" fmla="*/ 369 h 526"/>
                      <a:gd name="T4" fmla="*/ 13800 w 615"/>
                      <a:gd name="T5" fmla="*/ 318 h 526"/>
                      <a:gd name="T6" fmla="*/ 16280 w 615"/>
                      <a:gd name="T7" fmla="*/ 451 h 526"/>
                      <a:gd name="T8" fmla="*/ 18797 w 615"/>
                      <a:gd name="T9" fmla="*/ 744 h 526"/>
                      <a:gd name="T10" fmla="*/ 20135 w 615"/>
                      <a:gd name="T11" fmla="*/ 1160 h 526"/>
                      <a:gd name="T12" fmla="*/ 21811 w 615"/>
                      <a:gd name="T13" fmla="*/ 1909 h 526"/>
                      <a:gd name="T14" fmla="*/ 25354 w 615"/>
                      <a:gd name="T15" fmla="*/ 2024 h 526"/>
                      <a:gd name="T16" fmla="*/ 28950 w 615"/>
                      <a:gd name="T17" fmla="*/ 2452 h 526"/>
                      <a:gd name="T18" fmla="*/ 30204 w 615"/>
                      <a:gd name="T19" fmla="*/ 2655 h 526"/>
                      <a:gd name="T20" fmla="*/ 33140 w 615"/>
                      <a:gd name="T21" fmla="*/ 3006 h 526"/>
                      <a:gd name="T22" fmla="*/ 35547 w 615"/>
                      <a:gd name="T23" fmla="*/ 2600 h 526"/>
                      <a:gd name="T24" fmla="*/ 36104 w 615"/>
                      <a:gd name="T25" fmla="*/ 2117 h 526"/>
                      <a:gd name="T26" fmla="*/ 35572 w 615"/>
                      <a:gd name="T27" fmla="*/ 1576 h 526"/>
                      <a:gd name="T28" fmla="*/ 36545 w 615"/>
                      <a:gd name="T29" fmla="*/ 903 h 526"/>
                      <a:gd name="T30" fmla="*/ 39100 w 615"/>
                      <a:gd name="T31" fmla="*/ 388 h 526"/>
                      <a:gd name="T32" fmla="*/ 42734 w 615"/>
                      <a:gd name="T33" fmla="*/ 302 h 526"/>
                      <a:gd name="T34" fmla="*/ 45409 w 615"/>
                      <a:gd name="T35" fmla="*/ 451 h 526"/>
                      <a:gd name="T36" fmla="*/ 46101 w 615"/>
                      <a:gd name="T37" fmla="*/ 744 h 526"/>
                      <a:gd name="T38" fmla="*/ 46613 w 615"/>
                      <a:gd name="T39" fmla="*/ 998 h 526"/>
                      <a:gd name="T40" fmla="*/ 48249 w 615"/>
                      <a:gd name="T41" fmla="*/ 1004 h 526"/>
                      <a:gd name="T42" fmla="*/ 49711 w 615"/>
                      <a:gd name="T43" fmla="*/ 1220 h 526"/>
                      <a:gd name="T44" fmla="*/ 52844 w 615"/>
                      <a:gd name="T45" fmla="*/ 1356 h 526"/>
                      <a:gd name="T46" fmla="*/ 52797 w 615"/>
                      <a:gd name="T47" fmla="*/ 1576 h 526"/>
                      <a:gd name="T48" fmla="*/ 51981 w 615"/>
                      <a:gd name="T49" fmla="*/ 1966 h 526"/>
                      <a:gd name="T50" fmla="*/ 52339 w 615"/>
                      <a:gd name="T51" fmla="*/ 2849 h 526"/>
                      <a:gd name="T52" fmla="*/ 51801 w 615"/>
                      <a:gd name="T53" fmla="*/ 3072 h 526"/>
                      <a:gd name="T54" fmla="*/ 51770 w 615"/>
                      <a:gd name="T55" fmla="*/ 3515 h 526"/>
                      <a:gd name="T56" fmla="*/ 51981 w 615"/>
                      <a:gd name="T57" fmla="*/ 4021 h 526"/>
                      <a:gd name="T58" fmla="*/ 53187 w 615"/>
                      <a:gd name="T59" fmla="*/ 6039 h 526"/>
                      <a:gd name="T60" fmla="*/ 53187 w 615"/>
                      <a:gd name="T61" fmla="*/ 9038 h 526"/>
                      <a:gd name="T62" fmla="*/ 53187 w 615"/>
                      <a:gd name="T63" fmla="*/ 11677 h 526"/>
                      <a:gd name="T64" fmla="*/ 49872 w 615"/>
                      <a:gd name="T65" fmla="*/ 13747 h 526"/>
                      <a:gd name="T66" fmla="*/ 46462 w 615"/>
                      <a:gd name="T67" fmla="*/ 13846 h 526"/>
                      <a:gd name="T68" fmla="*/ 37830 w 615"/>
                      <a:gd name="T69" fmla="*/ 12475 h 526"/>
                      <a:gd name="T70" fmla="*/ 29354 w 615"/>
                      <a:gd name="T71" fmla="*/ 11244 h 526"/>
                      <a:gd name="T72" fmla="*/ 23008 w 615"/>
                      <a:gd name="T73" fmla="*/ 10212 h 526"/>
                      <a:gd name="T74" fmla="*/ 18385 w 615"/>
                      <a:gd name="T75" fmla="*/ 10695 h 526"/>
                      <a:gd name="T76" fmla="*/ 17044 w 615"/>
                      <a:gd name="T77" fmla="*/ 10269 h 526"/>
                      <a:gd name="T78" fmla="*/ 15993 w 615"/>
                      <a:gd name="T79" fmla="*/ 10068 h 526"/>
                      <a:gd name="T80" fmla="*/ 9031 w 615"/>
                      <a:gd name="T81" fmla="*/ 10049 h 526"/>
                      <a:gd name="T82" fmla="*/ 8441 w 615"/>
                      <a:gd name="T83" fmla="*/ 9997 h 526"/>
                      <a:gd name="T84" fmla="*/ 5118 w 615"/>
                      <a:gd name="T85" fmla="*/ 9038 h 526"/>
                      <a:gd name="T86" fmla="*/ 2589 w 615"/>
                      <a:gd name="T87" fmla="*/ 8663 h 526"/>
                      <a:gd name="T88" fmla="*/ 1726 w 615"/>
                      <a:gd name="T89" fmla="*/ 7838 h 526"/>
                      <a:gd name="T90" fmla="*/ 4 w 615"/>
                      <a:gd name="T91" fmla="*/ 7084 h 526"/>
                      <a:gd name="T92" fmla="*/ 1613 w 615"/>
                      <a:gd name="T93" fmla="*/ 6039 h 526"/>
                      <a:gd name="T94" fmla="*/ 1613 w 615"/>
                      <a:gd name="T95" fmla="*/ 5246 h 526"/>
                      <a:gd name="T96" fmla="*/ 1231 w 615"/>
                      <a:gd name="T97" fmla="*/ 4021 h 526"/>
                      <a:gd name="T98" fmla="*/ 0 w 615"/>
                      <a:gd name="T99" fmla="*/ 3149 h 526"/>
                      <a:gd name="T100" fmla="*/ 1409 w 615"/>
                      <a:gd name="T101" fmla="*/ 2934 h 526"/>
                      <a:gd name="T102" fmla="*/ 3171 w 615"/>
                      <a:gd name="T103" fmla="*/ 2525 h 526"/>
                      <a:gd name="T104" fmla="*/ 2786 w 615"/>
                      <a:gd name="T105" fmla="*/ 1727 h 526"/>
                      <a:gd name="T106" fmla="*/ 4471 w 615"/>
                      <a:gd name="T107" fmla="*/ 1418 h 526"/>
                      <a:gd name="T108" fmla="*/ 6891 w 615"/>
                      <a:gd name="T109" fmla="*/ 822 h 52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15"/>
                      <a:gd name="T166" fmla="*/ 0 h 526"/>
                      <a:gd name="T167" fmla="*/ 615 w 615"/>
                      <a:gd name="T168" fmla="*/ 526 h 526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15" h="526">
                        <a:moveTo>
                          <a:pt x="84" y="24"/>
                        </a:moveTo>
                        <a:lnTo>
                          <a:pt x="83" y="2"/>
                        </a:lnTo>
                        <a:lnTo>
                          <a:pt x="84" y="0"/>
                        </a:lnTo>
                        <a:lnTo>
                          <a:pt x="90" y="2"/>
                        </a:lnTo>
                        <a:lnTo>
                          <a:pt x="100" y="7"/>
                        </a:lnTo>
                        <a:lnTo>
                          <a:pt x="119" y="14"/>
                        </a:lnTo>
                        <a:lnTo>
                          <a:pt x="134" y="14"/>
                        </a:lnTo>
                        <a:lnTo>
                          <a:pt x="148" y="10"/>
                        </a:lnTo>
                        <a:lnTo>
                          <a:pt x="158" y="11"/>
                        </a:lnTo>
                        <a:lnTo>
                          <a:pt x="166" y="15"/>
                        </a:lnTo>
                        <a:lnTo>
                          <a:pt x="177" y="15"/>
                        </a:lnTo>
                        <a:lnTo>
                          <a:pt x="188" y="18"/>
                        </a:lnTo>
                        <a:lnTo>
                          <a:pt x="194" y="21"/>
                        </a:lnTo>
                        <a:lnTo>
                          <a:pt x="208" y="27"/>
                        </a:lnTo>
                        <a:lnTo>
                          <a:pt x="218" y="28"/>
                        </a:lnTo>
                        <a:lnTo>
                          <a:pt x="227" y="31"/>
                        </a:lnTo>
                        <a:lnTo>
                          <a:pt x="232" y="35"/>
                        </a:lnTo>
                        <a:lnTo>
                          <a:pt x="234" y="43"/>
                        </a:lnTo>
                        <a:lnTo>
                          <a:pt x="235" y="50"/>
                        </a:lnTo>
                        <a:lnTo>
                          <a:pt x="242" y="59"/>
                        </a:lnTo>
                        <a:lnTo>
                          <a:pt x="252" y="69"/>
                        </a:lnTo>
                        <a:lnTo>
                          <a:pt x="261" y="73"/>
                        </a:lnTo>
                        <a:lnTo>
                          <a:pt x="267" y="74"/>
                        </a:lnTo>
                        <a:lnTo>
                          <a:pt x="293" y="75"/>
                        </a:lnTo>
                        <a:lnTo>
                          <a:pt x="304" y="78"/>
                        </a:lnTo>
                        <a:lnTo>
                          <a:pt x="324" y="84"/>
                        </a:lnTo>
                        <a:lnTo>
                          <a:pt x="334" y="89"/>
                        </a:lnTo>
                        <a:lnTo>
                          <a:pt x="339" y="91"/>
                        </a:lnTo>
                        <a:lnTo>
                          <a:pt x="347" y="94"/>
                        </a:lnTo>
                        <a:lnTo>
                          <a:pt x="350" y="98"/>
                        </a:lnTo>
                        <a:lnTo>
                          <a:pt x="363" y="107"/>
                        </a:lnTo>
                        <a:lnTo>
                          <a:pt x="373" y="110"/>
                        </a:lnTo>
                        <a:lnTo>
                          <a:pt x="382" y="110"/>
                        </a:lnTo>
                        <a:lnTo>
                          <a:pt x="395" y="106"/>
                        </a:lnTo>
                        <a:lnTo>
                          <a:pt x="403" y="103"/>
                        </a:lnTo>
                        <a:lnTo>
                          <a:pt x="410" y="96"/>
                        </a:lnTo>
                        <a:lnTo>
                          <a:pt x="414" y="89"/>
                        </a:lnTo>
                        <a:lnTo>
                          <a:pt x="418" y="83"/>
                        </a:lnTo>
                        <a:lnTo>
                          <a:pt x="418" y="78"/>
                        </a:lnTo>
                        <a:lnTo>
                          <a:pt x="415" y="71"/>
                        </a:lnTo>
                        <a:lnTo>
                          <a:pt x="415" y="65"/>
                        </a:lnTo>
                        <a:lnTo>
                          <a:pt x="411" y="59"/>
                        </a:lnTo>
                        <a:lnTo>
                          <a:pt x="411" y="50"/>
                        </a:lnTo>
                        <a:lnTo>
                          <a:pt x="413" y="42"/>
                        </a:lnTo>
                        <a:lnTo>
                          <a:pt x="422" y="33"/>
                        </a:lnTo>
                        <a:lnTo>
                          <a:pt x="428" y="28"/>
                        </a:lnTo>
                        <a:lnTo>
                          <a:pt x="441" y="19"/>
                        </a:lnTo>
                        <a:lnTo>
                          <a:pt x="452" y="15"/>
                        </a:lnTo>
                        <a:lnTo>
                          <a:pt x="464" y="14"/>
                        </a:lnTo>
                        <a:lnTo>
                          <a:pt x="473" y="10"/>
                        </a:lnTo>
                        <a:lnTo>
                          <a:pt x="494" y="10"/>
                        </a:lnTo>
                        <a:lnTo>
                          <a:pt x="515" y="16"/>
                        </a:lnTo>
                        <a:lnTo>
                          <a:pt x="520" y="18"/>
                        </a:lnTo>
                        <a:lnTo>
                          <a:pt x="525" y="18"/>
                        </a:lnTo>
                        <a:lnTo>
                          <a:pt x="532" y="21"/>
                        </a:lnTo>
                        <a:lnTo>
                          <a:pt x="532" y="27"/>
                        </a:lnTo>
                        <a:lnTo>
                          <a:pt x="531" y="28"/>
                        </a:lnTo>
                        <a:lnTo>
                          <a:pt x="530" y="28"/>
                        </a:lnTo>
                        <a:lnTo>
                          <a:pt x="531" y="31"/>
                        </a:lnTo>
                        <a:lnTo>
                          <a:pt x="539" y="37"/>
                        </a:lnTo>
                        <a:lnTo>
                          <a:pt x="542" y="38"/>
                        </a:lnTo>
                        <a:lnTo>
                          <a:pt x="545" y="37"/>
                        </a:lnTo>
                        <a:lnTo>
                          <a:pt x="556" y="38"/>
                        </a:lnTo>
                        <a:lnTo>
                          <a:pt x="562" y="40"/>
                        </a:lnTo>
                        <a:lnTo>
                          <a:pt x="565" y="41"/>
                        </a:lnTo>
                        <a:lnTo>
                          <a:pt x="575" y="45"/>
                        </a:lnTo>
                        <a:lnTo>
                          <a:pt x="587" y="47"/>
                        </a:lnTo>
                        <a:lnTo>
                          <a:pt x="604" y="47"/>
                        </a:lnTo>
                        <a:lnTo>
                          <a:pt x="610" y="50"/>
                        </a:lnTo>
                        <a:lnTo>
                          <a:pt x="613" y="58"/>
                        </a:lnTo>
                        <a:lnTo>
                          <a:pt x="615" y="58"/>
                        </a:lnTo>
                        <a:lnTo>
                          <a:pt x="609" y="59"/>
                        </a:lnTo>
                        <a:lnTo>
                          <a:pt x="607" y="65"/>
                        </a:lnTo>
                        <a:lnTo>
                          <a:pt x="601" y="71"/>
                        </a:lnTo>
                        <a:lnTo>
                          <a:pt x="601" y="72"/>
                        </a:lnTo>
                        <a:lnTo>
                          <a:pt x="604" y="76"/>
                        </a:lnTo>
                        <a:lnTo>
                          <a:pt x="604" y="94"/>
                        </a:lnTo>
                        <a:lnTo>
                          <a:pt x="606" y="104"/>
                        </a:lnTo>
                        <a:lnTo>
                          <a:pt x="606" y="109"/>
                        </a:lnTo>
                        <a:lnTo>
                          <a:pt x="604" y="110"/>
                        </a:lnTo>
                        <a:lnTo>
                          <a:pt x="599" y="113"/>
                        </a:lnTo>
                        <a:lnTo>
                          <a:pt x="595" y="116"/>
                        </a:lnTo>
                        <a:lnTo>
                          <a:pt x="595" y="119"/>
                        </a:lnTo>
                        <a:lnTo>
                          <a:pt x="597" y="130"/>
                        </a:lnTo>
                        <a:lnTo>
                          <a:pt x="603" y="137"/>
                        </a:lnTo>
                        <a:lnTo>
                          <a:pt x="604" y="139"/>
                        </a:lnTo>
                        <a:lnTo>
                          <a:pt x="601" y="147"/>
                        </a:lnTo>
                        <a:lnTo>
                          <a:pt x="615" y="158"/>
                        </a:lnTo>
                        <a:lnTo>
                          <a:pt x="615" y="185"/>
                        </a:lnTo>
                        <a:lnTo>
                          <a:pt x="615" y="221"/>
                        </a:lnTo>
                        <a:lnTo>
                          <a:pt x="615" y="257"/>
                        </a:lnTo>
                        <a:lnTo>
                          <a:pt x="615" y="295"/>
                        </a:lnTo>
                        <a:lnTo>
                          <a:pt x="615" y="331"/>
                        </a:lnTo>
                        <a:lnTo>
                          <a:pt x="615" y="369"/>
                        </a:lnTo>
                        <a:lnTo>
                          <a:pt x="615" y="405"/>
                        </a:lnTo>
                        <a:lnTo>
                          <a:pt x="615" y="430"/>
                        </a:lnTo>
                        <a:lnTo>
                          <a:pt x="615" y="464"/>
                        </a:lnTo>
                        <a:lnTo>
                          <a:pt x="615" y="504"/>
                        </a:lnTo>
                        <a:lnTo>
                          <a:pt x="577" y="504"/>
                        </a:lnTo>
                        <a:lnTo>
                          <a:pt x="577" y="526"/>
                        </a:lnTo>
                        <a:lnTo>
                          <a:pt x="570" y="525"/>
                        </a:lnTo>
                        <a:lnTo>
                          <a:pt x="537" y="509"/>
                        </a:lnTo>
                        <a:lnTo>
                          <a:pt x="504" y="493"/>
                        </a:lnTo>
                        <a:lnTo>
                          <a:pt x="470" y="476"/>
                        </a:lnTo>
                        <a:lnTo>
                          <a:pt x="437" y="459"/>
                        </a:lnTo>
                        <a:lnTo>
                          <a:pt x="405" y="444"/>
                        </a:lnTo>
                        <a:lnTo>
                          <a:pt x="372" y="428"/>
                        </a:lnTo>
                        <a:lnTo>
                          <a:pt x="339" y="412"/>
                        </a:lnTo>
                        <a:lnTo>
                          <a:pt x="305" y="395"/>
                        </a:lnTo>
                        <a:lnTo>
                          <a:pt x="271" y="379"/>
                        </a:lnTo>
                        <a:lnTo>
                          <a:pt x="265" y="377"/>
                        </a:lnTo>
                        <a:lnTo>
                          <a:pt x="230" y="387"/>
                        </a:lnTo>
                        <a:lnTo>
                          <a:pt x="226" y="389"/>
                        </a:lnTo>
                        <a:lnTo>
                          <a:pt x="213" y="392"/>
                        </a:lnTo>
                        <a:lnTo>
                          <a:pt x="210" y="385"/>
                        </a:lnTo>
                        <a:lnTo>
                          <a:pt x="207" y="384"/>
                        </a:lnTo>
                        <a:lnTo>
                          <a:pt x="196" y="379"/>
                        </a:lnTo>
                        <a:lnTo>
                          <a:pt x="194" y="375"/>
                        </a:lnTo>
                        <a:lnTo>
                          <a:pt x="191" y="374"/>
                        </a:lnTo>
                        <a:lnTo>
                          <a:pt x="185" y="372"/>
                        </a:lnTo>
                        <a:lnTo>
                          <a:pt x="156" y="370"/>
                        </a:lnTo>
                        <a:lnTo>
                          <a:pt x="126" y="370"/>
                        </a:lnTo>
                        <a:lnTo>
                          <a:pt x="105" y="370"/>
                        </a:lnTo>
                        <a:lnTo>
                          <a:pt x="101" y="370"/>
                        </a:lnTo>
                        <a:lnTo>
                          <a:pt x="98" y="372"/>
                        </a:lnTo>
                        <a:lnTo>
                          <a:pt x="98" y="367"/>
                        </a:lnTo>
                        <a:lnTo>
                          <a:pt x="94" y="358"/>
                        </a:lnTo>
                        <a:lnTo>
                          <a:pt x="81" y="339"/>
                        </a:lnTo>
                        <a:lnTo>
                          <a:pt x="60" y="331"/>
                        </a:lnTo>
                        <a:lnTo>
                          <a:pt x="52" y="331"/>
                        </a:lnTo>
                        <a:lnTo>
                          <a:pt x="40" y="331"/>
                        </a:lnTo>
                        <a:lnTo>
                          <a:pt x="30" y="321"/>
                        </a:lnTo>
                        <a:lnTo>
                          <a:pt x="29" y="313"/>
                        </a:lnTo>
                        <a:lnTo>
                          <a:pt x="27" y="300"/>
                        </a:lnTo>
                        <a:lnTo>
                          <a:pt x="20" y="290"/>
                        </a:lnTo>
                        <a:lnTo>
                          <a:pt x="7" y="276"/>
                        </a:lnTo>
                        <a:lnTo>
                          <a:pt x="3" y="268"/>
                        </a:lnTo>
                        <a:lnTo>
                          <a:pt x="4" y="262"/>
                        </a:lnTo>
                        <a:lnTo>
                          <a:pt x="12" y="260"/>
                        </a:lnTo>
                        <a:lnTo>
                          <a:pt x="19" y="257"/>
                        </a:lnTo>
                        <a:lnTo>
                          <a:pt x="19" y="221"/>
                        </a:lnTo>
                        <a:lnTo>
                          <a:pt x="22" y="208"/>
                        </a:lnTo>
                        <a:lnTo>
                          <a:pt x="22" y="199"/>
                        </a:lnTo>
                        <a:lnTo>
                          <a:pt x="19" y="194"/>
                        </a:lnTo>
                        <a:lnTo>
                          <a:pt x="20" y="176"/>
                        </a:lnTo>
                        <a:lnTo>
                          <a:pt x="19" y="161"/>
                        </a:lnTo>
                        <a:lnTo>
                          <a:pt x="15" y="147"/>
                        </a:lnTo>
                        <a:lnTo>
                          <a:pt x="7" y="134"/>
                        </a:lnTo>
                        <a:lnTo>
                          <a:pt x="0" y="125"/>
                        </a:lnTo>
                        <a:lnTo>
                          <a:pt x="0" y="115"/>
                        </a:lnTo>
                        <a:lnTo>
                          <a:pt x="7" y="110"/>
                        </a:lnTo>
                        <a:lnTo>
                          <a:pt x="8" y="109"/>
                        </a:lnTo>
                        <a:lnTo>
                          <a:pt x="17" y="108"/>
                        </a:lnTo>
                        <a:lnTo>
                          <a:pt x="25" y="104"/>
                        </a:lnTo>
                        <a:lnTo>
                          <a:pt x="32" y="98"/>
                        </a:lnTo>
                        <a:lnTo>
                          <a:pt x="36" y="93"/>
                        </a:lnTo>
                        <a:lnTo>
                          <a:pt x="36" y="86"/>
                        </a:lnTo>
                        <a:lnTo>
                          <a:pt x="33" y="69"/>
                        </a:lnTo>
                        <a:lnTo>
                          <a:pt x="33" y="63"/>
                        </a:lnTo>
                        <a:lnTo>
                          <a:pt x="36" y="59"/>
                        </a:lnTo>
                        <a:lnTo>
                          <a:pt x="46" y="56"/>
                        </a:lnTo>
                        <a:lnTo>
                          <a:pt x="52" y="52"/>
                        </a:lnTo>
                        <a:lnTo>
                          <a:pt x="55" y="45"/>
                        </a:lnTo>
                        <a:lnTo>
                          <a:pt x="75" y="33"/>
                        </a:lnTo>
                        <a:lnTo>
                          <a:pt x="80" y="30"/>
                        </a:lnTo>
                        <a:lnTo>
                          <a:pt x="84" y="2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09" name="Freeform 107"/>
                  <p:cNvSpPr>
                    <a:spLocks/>
                  </p:cNvSpPr>
                  <p:nvPr/>
                </p:nvSpPr>
                <p:spPr bwMode="auto">
                  <a:xfrm>
                    <a:off x="1657" y="1178"/>
                    <a:ext cx="658" cy="553"/>
                  </a:xfrm>
                  <a:custGeom>
                    <a:avLst/>
                    <a:gdLst>
                      <a:gd name="T0" fmla="*/ 7273 w 615"/>
                      <a:gd name="T1" fmla="*/ 0 h 526"/>
                      <a:gd name="T2" fmla="*/ 10244 w 615"/>
                      <a:gd name="T3" fmla="*/ 369 h 526"/>
                      <a:gd name="T4" fmla="*/ 13800 w 615"/>
                      <a:gd name="T5" fmla="*/ 318 h 526"/>
                      <a:gd name="T6" fmla="*/ 16280 w 615"/>
                      <a:gd name="T7" fmla="*/ 451 h 526"/>
                      <a:gd name="T8" fmla="*/ 18797 w 615"/>
                      <a:gd name="T9" fmla="*/ 744 h 526"/>
                      <a:gd name="T10" fmla="*/ 20135 w 615"/>
                      <a:gd name="T11" fmla="*/ 1160 h 526"/>
                      <a:gd name="T12" fmla="*/ 21811 w 615"/>
                      <a:gd name="T13" fmla="*/ 1909 h 526"/>
                      <a:gd name="T14" fmla="*/ 25354 w 615"/>
                      <a:gd name="T15" fmla="*/ 2024 h 526"/>
                      <a:gd name="T16" fmla="*/ 28950 w 615"/>
                      <a:gd name="T17" fmla="*/ 2452 h 526"/>
                      <a:gd name="T18" fmla="*/ 30204 w 615"/>
                      <a:gd name="T19" fmla="*/ 2655 h 526"/>
                      <a:gd name="T20" fmla="*/ 33140 w 615"/>
                      <a:gd name="T21" fmla="*/ 3006 h 526"/>
                      <a:gd name="T22" fmla="*/ 35547 w 615"/>
                      <a:gd name="T23" fmla="*/ 2600 h 526"/>
                      <a:gd name="T24" fmla="*/ 36104 w 615"/>
                      <a:gd name="T25" fmla="*/ 2117 h 526"/>
                      <a:gd name="T26" fmla="*/ 35572 w 615"/>
                      <a:gd name="T27" fmla="*/ 1576 h 526"/>
                      <a:gd name="T28" fmla="*/ 36545 w 615"/>
                      <a:gd name="T29" fmla="*/ 903 h 526"/>
                      <a:gd name="T30" fmla="*/ 39100 w 615"/>
                      <a:gd name="T31" fmla="*/ 388 h 526"/>
                      <a:gd name="T32" fmla="*/ 42734 w 615"/>
                      <a:gd name="T33" fmla="*/ 302 h 526"/>
                      <a:gd name="T34" fmla="*/ 45409 w 615"/>
                      <a:gd name="T35" fmla="*/ 451 h 526"/>
                      <a:gd name="T36" fmla="*/ 46101 w 615"/>
                      <a:gd name="T37" fmla="*/ 744 h 526"/>
                      <a:gd name="T38" fmla="*/ 46613 w 615"/>
                      <a:gd name="T39" fmla="*/ 998 h 526"/>
                      <a:gd name="T40" fmla="*/ 48249 w 615"/>
                      <a:gd name="T41" fmla="*/ 1004 h 526"/>
                      <a:gd name="T42" fmla="*/ 49711 w 615"/>
                      <a:gd name="T43" fmla="*/ 1220 h 526"/>
                      <a:gd name="T44" fmla="*/ 52844 w 615"/>
                      <a:gd name="T45" fmla="*/ 1356 h 526"/>
                      <a:gd name="T46" fmla="*/ 52797 w 615"/>
                      <a:gd name="T47" fmla="*/ 1576 h 526"/>
                      <a:gd name="T48" fmla="*/ 51981 w 615"/>
                      <a:gd name="T49" fmla="*/ 1966 h 526"/>
                      <a:gd name="T50" fmla="*/ 52339 w 615"/>
                      <a:gd name="T51" fmla="*/ 2849 h 526"/>
                      <a:gd name="T52" fmla="*/ 51801 w 615"/>
                      <a:gd name="T53" fmla="*/ 3072 h 526"/>
                      <a:gd name="T54" fmla="*/ 51770 w 615"/>
                      <a:gd name="T55" fmla="*/ 3515 h 526"/>
                      <a:gd name="T56" fmla="*/ 51981 w 615"/>
                      <a:gd name="T57" fmla="*/ 4021 h 526"/>
                      <a:gd name="T58" fmla="*/ 53187 w 615"/>
                      <a:gd name="T59" fmla="*/ 6039 h 526"/>
                      <a:gd name="T60" fmla="*/ 53187 w 615"/>
                      <a:gd name="T61" fmla="*/ 9038 h 526"/>
                      <a:gd name="T62" fmla="*/ 53187 w 615"/>
                      <a:gd name="T63" fmla="*/ 11677 h 526"/>
                      <a:gd name="T64" fmla="*/ 49872 w 615"/>
                      <a:gd name="T65" fmla="*/ 13747 h 526"/>
                      <a:gd name="T66" fmla="*/ 46462 w 615"/>
                      <a:gd name="T67" fmla="*/ 13846 h 526"/>
                      <a:gd name="T68" fmla="*/ 37830 w 615"/>
                      <a:gd name="T69" fmla="*/ 12475 h 526"/>
                      <a:gd name="T70" fmla="*/ 29354 w 615"/>
                      <a:gd name="T71" fmla="*/ 11244 h 526"/>
                      <a:gd name="T72" fmla="*/ 23008 w 615"/>
                      <a:gd name="T73" fmla="*/ 10212 h 526"/>
                      <a:gd name="T74" fmla="*/ 18385 w 615"/>
                      <a:gd name="T75" fmla="*/ 10695 h 526"/>
                      <a:gd name="T76" fmla="*/ 17044 w 615"/>
                      <a:gd name="T77" fmla="*/ 10269 h 526"/>
                      <a:gd name="T78" fmla="*/ 15993 w 615"/>
                      <a:gd name="T79" fmla="*/ 10068 h 526"/>
                      <a:gd name="T80" fmla="*/ 9031 w 615"/>
                      <a:gd name="T81" fmla="*/ 10049 h 526"/>
                      <a:gd name="T82" fmla="*/ 8441 w 615"/>
                      <a:gd name="T83" fmla="*/ 9997 h 526"/>
                      <a:gd name="T84" fmla="*/ 5118 w 615"/>
                      <a:gd name="T85" fmla="*/ 9038 h 526"/>
                      <a:gd name="T86" fmla="*/ 2589 w 615"/>
                      <a:gd name="T87" fmla="*/ 8663 h 526"/>
                      <a:gd name="T88" fmla="*/ 1726 w 615"/>
                      <a:gd name="T89" fmla="*/ 7838 h 526"/>
                      <a:gd name="T90" fmla="*/ 4 w 615"/>
                      <a:gd name="T91" fmla="*/ 7084 h 526"/>
                      <a:gd name="T92" fmla="*/ 1613 w 615"/>
                      <a:gd name="T93" fmla="*/ 6039 h 526"/>
                      <a:gd name="T94" fmla="*/ 1613 w 615"/>
                      <a:gd name="T95" fmla="*/ 5246 h 526"/>
                      <a:gd name="T96" fmla="*/ 1231 w 615"/>
                      <a:gd name="T97" fmla="*/ 4021 h 526"/>
                      <a:gd name="T98" fmla="*/ 0 w 615"/>
                      <a:gd name="T99" fmla="*/ 3149 h 526"/>
                      <a:gd name="T100" fmla="*/ 1409 w 615"/>
                      <a:gd name="T101" fmla="*/ 2934 h 526"/>
                      <a:gd name="T102" fmla="*/ 3171 w 615"/>
                      <a:gd name="T103" fmla="*/ 2525 h 526"/>
                      <a:gd name="T104" fmla="*/ 2786 w 615"/>
                      <a:gd name="T105" fmla="*/ 1727 h 526"/>
                      <a:gd name="T106" fmla="*/ 4471 w 615"/>
                      <a:gd name="T107" fmla="*/ 1418 h 526"/>
                      <a:gd name="T108" fmla="*/ 6891 w 615"/>
                      <a:gd name="T109" fmla="*/ 822 h 52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15"/>
                      <a:gd name="T166" fmla="*/ 0 h 526"/>
                      <a:gd name="T167" fmla="*/ 615 w 615"/>
                      <a:gd name="T168" fmla="*/ 526 h 526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15" h="526">
                        <a:moveTo>
                          <a:pt x="84" y="24"/>
                        </a:moveTo>
                        <a:lnTo>
                          <a:pt x="83" y="2"/>
                        </a:lnTo>
                        <a:lnTo>
                          <a:pt x="84" y="0"/>
                        </a:lnTo>
                        <a:lnTo>
                          <a:pt x="90" y="2"/>
                        </a:lnTo>
                        <a:lnTo>
                          <a:pt x="100" y="7"/>
                        </a:lnTo>
                        <a:lnTo>
                          <a:pt x="119" y="14"/>
                        </a:lnTo>
                        <a:lnTo>
                          <a:pt x="134" y="14"/>
                        </a:lnTo>
                        <a:lnTo>
                          <a:pt x="148" y="10"/>
                        </a:lnTo>
                        <a:lnTo>
                          <a:pt x="158" y="11"/>
                        </a:lnTo>
                        <a:lnTo>
                          <a:pt x="166" y="15"/>
                        </a:lnTo>
                        <a:lnTo>
                          <a:pt x="177" y="15"/>
                        </a:lnTo>
                        <a:lnTo>
                          <a:pt x="188" y="18"/>
                        </a:lnTo>
                        <a:lnTo>
                          <a:pt x="194" y="21"/>
                        </a:lnTo>
                        <a:lnTo>
                          <a:pt x="208" y="27"/>
                        </a:lnTo>
                        <a:lnTo>
                          <a:pt x="218" y="28"/>
                        </a:lnTo>
                        <a:lnTo>
                          <a:pt x="227" y="31"/>
                        </a:lnTo>
                        <a:lnTo>
                          <a:pt x="232" y="35"/>
                        </a:lnTo>
                        <a:lnTo>
                          <a:pt x="234" y="43"/>
                        </a:lnTo>
                        <a:lnTo>
                          <a:pt x="235" y="50"/>
                        </a:lnTo>
                        <a:lnTo>
                          <a:pt x="242" y="59"/>
                        </a:lnTo>
                        <a:lnTo>
                          <a:pt x="252" y="69"/>
                        </a:lnTo>
                        <a:lnTo>
                          <a:pt x="261" y="73"/>
                        </a:lnTo>
                        <a:lnTo>
                          <a:pt x="267" y="74"/>
                        </a:lnTo>
                        <a:lnTo>
                          <a:pt x="293" y="75"/>
                        </a:lnTo>
                        <a:lnTo>
                          <a:pt x="304" y="78"/>
                        </a:lnTo>
                        <a:lnTo>
                          <a:pt x="324" y="84"/>
                        </a:lnTo>
                        <a:lnTo>
                          <a:pt x="334" y="89"/>
                        </a:lnTo>
                        <a:lnTo>
                          <a:pt x="339" y="91"/>
                        </a:lnTo>
                        <a:lnTo>
                          <a:pt x="347" y="94"/>
                        </a:lnTo>
                        <a:lnTo>
                          <a:pt x="350" y="98"/>
                        </a:lnTo>
                        <a:lnTo>
                          <a:pt x="363" y="107"/>
                        </a:lnTo>
                        <a:lnTo>
                          <a:pt x="373" y="110"/>
                        </a:lnTo>
                        <a:lnTo>
                          <a:pt x="382" y="110"/>
                        </a:lnTo>
                        <a:lnTo>
                          <a:pt x="395" y="106"/>
                        </a:lnTo>
                        <a:lnTo>
                          <a:pt x="403" y="103"/>
                        </a:lnTo>
                        <a:lnTo>
                          <a:pt x="410" y="96"/>
                        </a:lnTo>
                        <a:lnTo>
                          <a:pt x="414" y="89"/>
                        </a:lnTo>
                        <a:lnTo>
                          <a:pt x="418" y="83"/>
                        </a:lnTo>
                        <a:lnTo>
                          <a:pt x="418" y="78"/>
                        </a:lnTo>
                        <a:lnTo>
                          <a:pt x="415" y="71"/>
                        </a:lnTo>
                        <a:lnTo>
                          <a:pt x="415" y="65"/>
                        </a:lnTo>
                        <a:lnTo>
                          <a:pt x="411" y="59"/>
                        </a:lnTo>
                        <a:lnTo>
                          <a:pt x="411" y="50"/>
                        </a:lnTo>
                        <a:lnTo>
                          <a:pt x="413" y="42"/>
                        </a:lnTo>
                        <a:lnTo>
                          <a:pt x="422" y="33"/>
                        </a:lnTo>
                        <a:lnTo>
                          <a:pt x="428" y="28"/>
                        </a:lnTo>
                        <a:lnTo>
                          <a:pt x="441" y="19"/>
                        </a:lnTo>
                        <a:lnTo>
                          <a:pt x="452" y="15"/>
                        </a:lnTo>
                        <a:lnTo>
                          <a:pt x="464" y="14"/>
                        </a:lnTo>
                        <a:lnTo>
                          <a:pt x="473" y="10"/>
                        </a:lnTo>
                        <a:lnTo>
                          <a:pt x="494" y="10"/>
                        </a:lnTo>
                        <a:lnTo>
                          <a:pt x="515" y="16"/>
                        </a:lnTo>
                        <a:lnTo>
                          <a:pt x="520" y="18"/>
                        </a:lnTo>
                        <a:lnTo>
                          <a:pt x="525" y="18"/>
                        </a:lnTo>
                        <a:lnTo>
                          <a:pt x="532" y="21"/>
                        </a:lnTo>
                        <a:lnTo>
                          <a:pt x="532" y="27"/>
                        </a:lnTo>
                        <a:lnTo>
                          <a:pt x="531" y="28"/>
                        </a:lnTo>
                        <a:lnTo>
                          <a:pt x="530" y="28"/>
                        </a:lnTo>
                        <a:lnTo>
                          <a:pt x="531" y="31"/>
                        </a:lnTo>
                        <a:lnTo>
                          <a:pt x="539" y="37"/>
                        </a:lnTo>
                        <a:lnTo>
                          <a:pt x="542" y="38"/>
                        </a:lnTo>
                        <a:lnTo>
                          <a:pt x="545" y="37"/>
                        </a:lnTo>
                        <a:lnTo>
                          <a:pt x="556" y="38"/>
                        </a:lnTo>
                        <a:lnTo>
                          <a:pt x="562" y="40"/>
                        </a:lnTo>
                        <a:lnTo>
                          <a:pt x="565" y="41"/>
                        </a:lnTo>
                        <a:lnTo>
                          <a:pt x="575" y="45"/>
                        </a:lnTo>
                        <a:lnTo>
                          <a:pt x="587" y="47"/>
                        </a:lnTo>
                        <a:lnTo>
                          <a:pt x="604" y="47"/>
                        </a:lnTo>
                        <a:lnTo>
                          <a:pt x="610" y="50"/>
                        </a:lnTo>
                        <a:lnTo>
                          <a:pt x="613" y="58"/>
                        </a:lnTo>
                        <a:lnTo>
                          <a:pt x="615" y="58"/>
                        </a:lnTo>
                        <a:lnTo>
                          <a:pt x="609" y="59"/>
                        </a:lnTo>
                        <a:lnTo>
                          <a:pt x="607" y="65"/>
                        </a:lnTo>
                        <a:lnTo>
                          <a:pt x="601" y="71"/>
                        </a:lnTo>
                        <a:lnTo>
                          <a:pt x="601" y="72"/>
                        </a:lnTo>
                        <a:lnTo>
                          <a:pt x="604" y="76"/>
                        </a:lnTo>
                        <a:lnTo>
                          <a:pt x="604" y="94"/>
                        </a:lnTo>
                        <a:lnTo>
                          <a:pt x="606" y="104"/>
                        </a:lnTo>
                        <a:lnTo>
                          <a:pt x="606" y="109"/>
                        </a:lnTo>
                        <a:lnTo>
                          <a:pt x="604" y="110"/>
                        </a:lnTo>
                        <a:lnTo>
                          <a:pt x="599" y="113"/>
                        </a:lnTo>
                        <a:lnTo>
                          <a:pt x="595" y="116"/>
                        </a:lnTo>
                        <a:lnTo>
                          <a:pt x="595" y="119"/>
                        </a:lnTo>
                        <a:lnTo>
                          <a:pt x="597" y="130"/>
                        </a:lnTo>
                        <a:lnTo>
                          <a:pt x="603" y="137"/>
                        </a:lnTo>
                        <a:lnTo>
                          <a:pt x="604" y="139"/>
                        </a:lnTo>
                        <a:lnTo>
                          <a:pt x="601" y="147"/>
                        </a:lnTo>
                        <a:lnTo>
                          <a:pt x="615" y="158"/>
                        </a:lnTo>
                        <a:lnTo>
                          <a:pt x="615" y="185"/>
                        </a:lnTo>
                        <a:lnTo>
                          <a:pt x="615" y="221"/>
                        </a:lnTo>
                        <a:lnTo>
                          <a:pt x="615" y="257"/>
                        </a:lnTo>
                        <a:lnTo>
                          <a:pt x="615" y="295"/>
                        </a:lnTo>
                        <a:lnTo>
                          <a:pt x="615" y="331"/>
                        </a:lnTo>
                        <a:lnTo>
                          <a:pt x="615" y="369"/>
                        </a:lnTo>
                        <a:lnTo>
                          <a:pt x="615" y="405"/>
                        </a:lnTo>
                        <a:lnTo>
                          <a:pt x="615" y="430"/>
                        </a:lnTo>
                        <a:lnTo>
                          <a:pt x="615" y="464"/>
                        </a:lnTo>
                        <a:lnTo>
                          <a:pt x="615" y="504"/>
                        </a:lnTo>
                        <a:lnTo>
                          <a:pt x="577" y="504"/>
                        </a:lnTo>
                        <a:lnTo>
                          <a:pt x="577" y="526"/>
                        </a:lnTo>
                        <a:lnTo>
                          <a:pt x="570" y="525"/>
                        </a:lnTo>
                        <a:lnTo>
                          <a:pt x="537" y="509"/>
                        </a:lnTo>
                        <a:lnTo>
                          <a:pt x="504" y="493"/>
                        </a:lnTo>
                        <a:lnTo>
                          <a:pt x="470" y="476"/>
                        </a:lnTo>
                        <a:lnTo>
                          <a:pt x="437" y="459"/>
                        </a:lnTo>
                        <a:lnTo>
                          <a:pt x="405" y="444"/>
                        </a:lnTo>
                        <a:lnTo>
                          <a:pt x="372" y="428"/>
                        </a:lnTo>
                        <a:lnTo>
                          <a:pt x="339" y="412"/>
                        </a:lnTo>
                        <a:lnTo>
                          <a:pt x="305" y="395"/>
                        </a:lnTo>
                        <a:lnTo>
                          <a:pt x="271" y="379"/>
                        </a:lnTo>
                        <a:lnTo>
                          <a:pt x="265" y="377"/>
                        </a:lnTo>
                        <a:lnTo>
                          <a:pt x="230" y="387"/>
                        </a:lnTo>
                        <a:lnTo>
                          <a:pt x="226" y="389"/>
                        </a:lnTo>
                        <a:lnTo>
                          <a:pt x="213" y="392"/>
                        </a:lnTo>
                        <a:lnTo>
                          <a:pt x="210" y="385"/>
                        </a:lnTo>
                        <a:lnTo>
                          <a:pt x="207" y="384"/>
                        </a:lnTo>
                        <a:lnTo>
                          <a:pt x="196" y="379"/>
                        </a:lnTo>
                        <a:lnTo>
                          <a:pt x="194" y="375"/>
                        </a:lnTo>
                        <a:lnTo>
                          <a:pt x="191" y="374"/>
                        </a:lnTo>
                        <a:lnTo>
                          <a:pt x="185" y="372"/>
                        </a:lnTo>
                        <a:lnTo>
                          <a:pt x="156" y="370"/>
                        </a:lnTo>
                        <a:lnTo>
                          <a:pt x="126" y="370"/>
                        </a:lnTo>
                        <a:lnTo>
                          <a:pt x="105" y="370"/>
                        </a:lnTo>
                        <a:lnTo>
                          <a:pt x="101" y="370"/>
                        </a:lnTo>
                        <a:lnTo>
                          <a:pt x="98" y="372"/>
                        </a:lnTo>
                        <a:lnTo>
                          <a:pt x="98" y="367"/>
                        </a:lnTo>
                        <a:lnTo>
                          <a:pt x="94" y="358"/>
                        </a:lnTo>
                        <a:lnTo>
                          <a:pt x="81" y="339"/>
                        </a:lnTo>
                        <a:lnTo>
                          <a:pt x="60" y="331"/>
                        </a:lnTo>
                        <a:lnTo>
                          <a:pt x="52" y="331"/>
                        </a:lnTo>
                        <a:lnTo>
                          <a:pt x="40" y="331"/>
                        </a:lnTo>
                        <a:lnTo>
                          <a:pt x="30" y="321"/>
                        </a:lnTo>
                        <a:lnTo>
                          <a:pt x="29" y="313"/>
                        </a:lnTo>
                        <a:lnTo>
                          <a:pt x="27" y="300"/>
                        </a:lnTo>
                        <a:lnTo>
                          <a:pt x="20" y="290"/>
                        </a:lnTo>
                        <a:lnTo>
                          <a:pt x="7" y="276"/>
                        </a:lnTo>
                        <a:lnTo>
                          <a:pt x="3" y="268"/>
                        </a:lnTo>
                        <a:lnTo>
                          <a:pt x="4" y="262"/>
                        </a:lnTo>
                        <a:lnTo>
                          <a:pt x="12" y="260"/>
                        </a:lnTo>
                        <a:lnTo>
                          <a:pt x="19" y="257"/>
                        </a:lnTo>
                        <a:lnTo>
                          <a:pt x="19" y="221"/>
                        </a:lnTo>
                        <a:lnTo>
                          <a:pt x="22" y="208"/>
                        </a:lnTo>
                        <a:lnTo>
                          <a:pt x="22" y="199"/>
                        </a:lnTo>
                        <a:lnTo>
                          <a:pt x="19" y="194"/>
                        </a:lnTo>
                        <a:lnTo>
                          <a:pt x="20" y="176"/>
                        </a:lnTo>
                        <a:lnTo>
                          <a:pt x="19" y="161"/>
                        </a:lnTo>
                        <a:lnTo>
                          <a:pt x="15" y="147"/>
                        </a:lnTo>
                        <a:lnTo>
                          <a:pt x="7" y="134"/>
                        </a:lnTo>
                        <a:lnTo>
                          <a:pt x="0" y="125"/>
                        </a:lnTo>
                        <a:lnTo>
                          <a:pt x="0" y="115"/>
                        </a:lnTo>
                        <a:lnTo>
                          <a:pt x="7" y="110"/>
                        </a:lnTo>
                        <a:lnTo>
                          <a:pt x="8" y="109"/>
                        </a:lnTo>
                        <a:lnTo>
                          <a:pt x="17" y="108"/>
                        </a:lnTo>
                        <a:lnTo>
                          <a:pt x="25" y="104"/>
                        </a:lnTo>
                        <a:lnTo>
                          <a:pt x="32" y="98"/>
                        </a:lnTo>
                        <a:lnTo>
                          <a:pt x="36" y="93"/>
                        </a:lnTo>
                        <a:lnTo>
                          <a:pt x="36" y="86"/>
                        </a:lnTo>
                        <a:lnTo>
                          <a:pt x="33" y="69"/>
                        </a:lnTo>
                        <a:lnTo>
                          <a:pt x="33" y="63"/>
                        </a:lnTo>
                        <a:lnTo>
                          <a:pt x="36" y="59"/>
                        </a:lnTo>
                        <a:lnTo>
                          <a:pt x="46" y="56"/>
                        </a:lnTo>
                        <a:lnTo>
                          <a:pt x="52" y="52"/>
                        </a:lnTo>
                        <a:lnTo>
                          <a:pt x="55" y="45"/>
                        </a:lnTo>
                        <a:lnTo>
                          <a:pt x="75" y="33"/>
                        </a:lnTo>
                        <a:lnTo>
                          <a:pt x="80" y="30"/>
                        </a:lnTo>
                        <a:lnTo>
                          <a:pt x="84" y="2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0" name="Freeform 108"/>
                  <p:cNvSpPr>
                    <a:spLocks/>
                  </p:cNvSpPr>
                  <p:nvPr/>
                </p:nvSpPr>
                <p:spPr bwMode="auto">
                  <a:xfrm>
                    <a:off x="922" y="1017"/>
                    <a:ext cx="839" cy="735"/>
                  </a:xfrm>
                  <a:custGeom>
                    <a:avLst/>
                    <a:gdLst>
                      <a:gd name="T0" fmla="*/ 23860 w 784"/>
                      <a:gd name="T1" fmla="*/ 1891 h 700"/>
                      <a:gd name="T2" fmla="*/ 27535 w 784"/>
                      <a:gd name="T3" fmla="*/ 1332 h 700"/>
                      <a:gd name="T4" fmla="*/ 30466 w 784"/>
                      <a:gd name="T5" fmla="*/ 921 h 700"/>
                      <a:gd name="T6" fmla="*/ 34291 w 784"/>
                      <a:gd name="T7" fmla="*/ 483 h 700"/>
                      <a:gd name="T8" fmla="*/ 39957 w 784"/>
                      <a:gd name="T9" fmla="*/ 343 h 700"/>
                      <a:gd name="T10" fmla="*/ 43600 w 784"/>
                      <a:gd name="T11" fmla="*/ 8 h 700"/>
                      <a:gd name="T12" fmla="*/ 48050 w 784"/>
                      <a:gd name="T13" fmla="*/ 343 h 700"/>
                      <a:gd name="T14" fmla="*/ 51505 w 784"/>
                      <a:gd name="T15" fmla="*/ 3 h 700"/>
                      <a:gd name="T16" fmla="*/ 53953 w 784"/>
                      <a:gd name="T17" fmla="*/ 1 h 700"/>
                      <a:gd name="T18" fmla="*/ 57758 w 784"/>
                      <a:gd name="T19" fmla="*/ 7 h 700"/>
                      <a:gd name="T20" fmla="*/ 57325 w 784"/>
                      <a:gd name="T21" fmla="*/ 460 h 700"/>
                      <a:gd name="T22" fmla="*/ 57325 w 784"/>
                      <a:gd name="T23" fmla="*/ 1234 h 700"/>
                      <a:gd name="T24" fmla="*/ 57325 w 784"/>
                      <a:gd name="T25" fmla="*/ 2277 h 700"/>
                      <a:gd name="T26" fmla="*/ 55028 w 784"/>
                      <a:gd name="T27" fmla="*/ 2934 h 700"/>
                      <a:gd name="T28" fmla="*/ 54504 w 784"/>
                      <a:gd name="T29" fmla="*/ 3358 h 700"/>
                      <a:gd name="T30" fmla="*/ 56928 w 784"/>
                      <a:gd name="T31" fmla="*/ 4511 h 700"/>
                      <a:gd name="T32" fmla="*/ 60922 w 784"/>
                      <a:gd name="T33" fmla="*/ 6495 h 700"/>
                      <a:gd name="T34" fmla="*/ 60922 w 784"/>
                      <a:gd name="T35" fmla="*/ 7161 h 700"/>
                      <a:gd name="T36" fmla="*/ 62126 w 784"/>
                      <a:gd name="T37" fmla="*/ 8901 h 700"/>
                      <a:gd name="T38" fmla="*/ 60526 w 784"/>
                      <a:gd name="T39" fmla="*/ 10423 h 700"/>
                      <a:gd name="T40" fmla="*/ 62635 w 784"/>
                      <a:gd name="T41" fmla="*/ 11693 h 700"/>
                      <a:gd name="T42" fmla="*/ 67440 w 784"/>
                      <a:gd name="T43" fmla="*/ 12377 h 700"/>
                      <a:gd name="T44" fmla="*/ 64551 w 784"/>
                      <a:gd name="T45" fmla="*/ 13967 h 700"/>
                      <a:gd name="T46" fmla="*/ 51025 w 784"/>
                      <a:gd name="T47" fmla="*/ 16457 h 700"/>
                      <a:gd name="T48" fmla="*/ 42700 w 784"/>
                      <a:gd name="T49" fmla="*/ 17295 h 700"/>
                      <a:gd name="T50" fmla="*/ 40239 w 784"/>
                      <a:gd name="T51" fmla="*/ 17557 h 700"/>
                      <a:gd name="T52" fmla="*/ 39901 w 784"/>
                      <a:gd name="T53" fmla="*/ 17036 h 700"/>
                      <a:gd name="T54" fmla="*/ 39982 w 784"/>
                      <a:gd name="T55" fmla="*/ 16793 h 700"/>
                      <a:gd name="T56" fmla="*/ 38967 w 784"/>
                      <a:gd name="T57" fmla="*/ 16586 h 700"/>
                      <a:gd name="T58" fmla="*/ 37172 w 784"/>
                      <a:gd name="T59" fmla="*/ 16399 h 700"/>
                      <a:gd name="T60" fmla="*/ 35203 w 784"/>
                      <a:gd name="T61" fmla="*/ 16188 h 700"/>
                      <a:gd name="T62" fmla="*/ 33840 w 784"/>
                      <a:gd name="T63" fmla="*/ 15811 h 700"/>
                      <a:gd name="T64" fmla="*/ 32629 w 784"/>
                      <a:gd name="T65" fmla="*/ 15438 h 700"/>
                      <a:gd name="T66" fmla="*/ 4190 w 784"/>
                      <a:gd name="T67" fmla="*/ 10304 h 700"/>
                      <a:gd name="T68" fmla="*/ 2798 w 784"/>
                      <a:gd name="T69" fmla="*/ 7432 h 700"/>
                      <a:gd name="T70" fmla="*/ 5136 w 784"/>
                      <a:gd name="T71" fmla="*/ 7152 h 700"/>
                      <a:gd name="T72" fmla="*/ 6959 w 784"/>
                      <a:gd name="T73" fmla="*/ 7161 h 700"/>
                      <a:gd name="T74" fmla="*/ 8955 w 784"/>
                      <a:gd name="T75" fmla="*/ 7015 h 700"/>
                      <a:gd name="T76" fmla="*/ 11792 w 784"/>
                      <a:gd name="T77" fmla="*/ 6642 h 700"/>
                      <a:gd name="T78" fmla="*/ 14028 w 784"/>
                      <a:gd name="T79" fmla="*/ 6202 h 700"/>
                      <a:gd name="T80" fmla="*/ 16560 w 784"/>
                      <a:gd name="T81" fmla="*/ 5758 h 700"/>
                      <a:gd name="T82" fmla="*/ 16310 w 784"/>
                      <a:gd name="T83" fmla="*/ 5546 h 700"/>
                      <a:gd name="T84" fmla="*/ 16265 w 784"/>
                      <a:gd name="T85" fmla="*/ 5337 h 700"/>
                      <a:gd name="T86" fmla="*/ 17711 w 784"/>
                      <a:gd name="T87" fmla="*/ 5223 h 700"/>
                      <a:gd name="T88" fmla="*/ 19240 w 784"/>
                      <a:gd name="T89" fmla="*/ 4860 h 700"/>
                      <a:gd name="T90" fmla="*/ 20299 w 784"/>
                      <a:gd name="T91" fmla="*/ 4790 h 700"/>
                      <a:gd name="T92" fmla="*/ 24824 w 784"/>
                      <a:gd name="T93" fmla="*/ 4724 h 700"/>
                      <a:gd name="T94" fmla="*/ 25234 w 784"/>
                      <a:gd name="T95" fmla="*/ 4552 h 700"/>
                      <a:gd name="T96" fmla="*/ 24824 w 784"/>
                      <a:gd name="T97" fmla="*/ 4183 h 700"/>
                      <a:gd name="T98" fmla="*/ 24111 w 784"/>
                      <a:gd name="T99" fmla="*/ 3611 h 700"/>
                      <a:gd name="T100" fmla="*/ 23861 w 784"/>
                      <a:gd name="T101" fmla="*/ 3205 h 700"/>
                      <a:gd name="T102" fmla="*/ 23861 w 784"/>
                      <a:gd name="T103" fmla="*/ 2567 h 700"/>
                      <a:gd name="T104" fmla="*/ 23580 w 784"/>
                      <a:gd name="T105" fmla="*/ 2329 h 700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784"/>
                      <a:gd name="T160" fmla="*/ 0 h 700"/>
                      <a:gd name="T161" fmla="*/ 784 w 784"/>
                      <a:gd name="T162" fmla="*/ 700 h 700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784" h="700">
                        <a:moveTo>
                          <a:pt x="257" y="85"/>
                        </a:moveTo>
                        <a:lnTo>
                          <a:pt x="256" y="81"/>
                        </a:lnTo>
                        <a:lnTo>
                          <a:pt x="256" y="79"/>
                        </a:lnTo>
                        <a:lnTo>
                          <a:pt x="261" y="78"/>
                        </a:lnTo>
                        <a:lnTo>
                          <a:pt x="271" y="75"/>
                        </a:lnTo>
                        <a:lnTo>
                          <a:pt x="282" y="70"/>
                        </a:lnTo>
                        <a:lnTo>
                          <a:pt x="293" y="57"/>
                        </a:lnTo>
                        <a:lnTo>
                          <a:pt x="302" y="52"/>
                        </a:lnTo>
                        <a:lnTo>
                          <a:pt x="309" y="51"/>
                        </a:lnTo>
                        <a:lnTo>
                          <a:pt x="313" y="52"/>
                        </a:lnTo>
                        <a:lnTo>
                          <a:pt x="320" y="47"/>
                        </a:lnTo>
                        <a:lnTo>
                          <a:pt x="329" y="50"/>
                        </a:lnTo>
                        <a:lnTo>
                          <a:pt x="336" y="47"/>
                        </a:lnTo>
                        <a:lnTo>
                          <a:pt x="340" y="41"/>
                        </a:lnTo>
                        <a:lnTo>
                          <a:pt x="347" y="37"/>
                        </a:lnTo>
                        <a:lnTo>
                          <a:pt x="350" y="35"/>
                        </a:lnTo>
                        <a:lnTo>
                          <a:pt x="357" y="34"/>
                        </a:lnTo>
                        <a:lnTo>
                          <a:pt x="363" y="29"/>
                        </a:lnTo>
                        <a:lnTo>
                          <a:pt x="383" y="23"/>
                        </a:lnTo>
                        <a:lnTo>
                          <a:pt x="391" y="20"/>
                        </a:lnTo>
                        <a:lnTo>
                          <a:pt x="428" y="18"/>
                        </a:lnTo>
                        <a:lnTo>
                          <a:pt x="437" y="19"/>
                        </a:lnTo>
                        <a:lnTo>
                          <a:pt x="444" y="16"/>
                        </a:lnTo>
                        <a:lnTo>
                          <a:pt x="450" y="11"/>
                        </a:lnTo>
                        <a:lnTo>
                          <a:pt x="455" y="13"/>
                        </a:lnTo>
                        <a:lnTo>
                          <a:pt x="464" y="13"/>
                        </a:lnTo>
                        <a:lnTo>
                          <a:pt x="467" y="13"/>
                        </a:lnTo>
                        <a:lnTo>
                          <a:pt x="474" y="13"/>
                        </a:lnTo>
                        <a:lnTo>
                          <a:pt x="485" y="8"/>
                        </a:lnTo>
                        <a:lnTo>
                          <a:pt x="497" y="8"/>
                        </a:lnTo>
                        <a:lnTo>
                          <a:pt x="507" y="8"/>
                        </a:lnTo>
                        <a:lnTo>
                          <a:pt x="525" y="9"/>
                        </a:lnTo>
                        <a:lnTo>
                          <a:pt x="530" y="13"/>
                        </a:lnTo>
                        <a:lnTo>
                          <a:pt x="539" y="16"/>
                        </a:lnTo>
                        <a:lnTo>
                          <a:pt x="546" y="13"/>
                        </a:lnTo>
                        <a:lnTo>
                          <a:pt x="552" y="11"/>
                        </a:lnTo>
                        <a:lnTo>
                          <a:pt x="563" y="9"/>
                        </a:lnTo>
                        <a:lnTo>
                          <a:pt x="572" y="7"/>
                        </a:lnTo>
                        <a:lnTo>
                          <a:pt x="578" y="0"/>
                        </a:lnTo>
                        <a:lnTo>
                          <a:pt x="586" y="3"/>
                        </a:lnTo>
                        <a:lnTo>
                          <a:pt x="593" y="6"/>
                        </a:lnTo>
                        <a:lnTo>
                          <a:pt x="596" y="6"/>
                        </a:lnTo>
                        <a:lnTo>
                          <a:pt x="603" y="8"/>
                        </a:lnTo>
                        <a:lnTo>
                          <a:pt x="611" y="6"/>
                        </a:lnTo>
                        <a:lnTo>
                          <a:pt x="615" y="1"/>
                        </a:lnTo>
                        <a:lnTo>
                          <a:pt x="629" y="4"/>
                        </a:lnTo>
                        <a:lnTo>
                          <a:pt x="635" y="9"/>
                        </a:lnTo>
                        <a:lnTo>
                          <a:pt x="642" y="8"/>
                        </a:lnTo>
                        <a:lnTo>
                          <a:pt x="649" y="6"/>
                        </a:lnTo>
                        <a:lnTo>
                          <a:pt x="659" y="7"/>
                        </a:lnTo>
                        <a:lnTo>
                          <a:pt x="668" y="6"/>
                        </a:lnTo>
                        <a:lnTo>
                          <a:pt x="667" y="9"/>
                        </a:lnTo>
                        <a:lnTo>
                          <a:pt x="663" y="11"/>
                        </a:lnTo>
                        <a:lnTo>
                          <a:pt x="659" y="14"/>
                        </a:lnTo>
                        <a:lnTo>
                          <a:pt x="653" y="19"/>
                        </a:lnTo>
                        <a:lnTo>
                          <a:pt x="651" y="23"/>
                        </a:lnTo>
                        <a:lnTo>
                          <a:pt x="656" y="24"/>
                        </a:lnTo>
                        <a:lnTo>
                          <a:pt x="657" y="26"/>
                        </a:lnTo>
                        <a:lnTo>
                          <a:pt x="653" y="45"/>
                        </a:lnTo>
                        <a:lnTo>
                          <a:pt x="653" y="49"/>
                        </a:lnTo>
                        <a:lnTo>
                          <a:pt x="654" y="55"/>
                        </a:lnTo>
                        <a:lnTo>
                          <a:pt x="654" y="67"/>
                        </a:lnTo>
                        <a:lnTo>
                          <a:pt x="658" y="71"/>
                        </a:lnTo>
                        <a:lnTo>
                          <a:pt x="658" y="75"/>
                        </a:lnTo>
                        <a:lnTo>
                          <a:pt x="653" y="90"/>
                        </a:lnTo>
                        <a:lnTo>
                          <a:pt x="649" y="97"/>
                        </a:lnTo>
                        <a:lnTo>
                          <a:pt x="636" y="105"/>
                        </a:lnTo>
                        <a:lnTo>
                          <a:pt x="635" y="111"/>
                        </a:lnTo>
                        <a:lnTo>
                          <a:pt x="628" y="112"/>
                        </a:lnTo>
                        <a:lnTo>
                          <a:pt x="625" y="117"/>
                        </a:lnTo>
                        <a:lnTo>
                          <a:pt x="616" y="123"/>
                        </a:lnTo>
                        <a:lnTo>
                          <a:pt x="615" y="123"/>
                        </a:lnTo>
                        <a:lnTo>
                          <a:pt x="616" y="126"/>
                        </a:lnTo>
                        <a:lnTo>
                          <a:pt x="621" y="133"/>
                        </a:lnTo>
                        <a:lnTo>
                          <a:pt x="625" y="149"/>
                        </a:lnTo>
                        <a:lnTo>
                          <a:pt x="638" y="154"/>
                        </a:lnTo>
                        <a:lnTo>
                          <a:pt x="642" y="157"/>
                        </a:lnTo>
                        <a:lnTo>
                          <a:pt x="647" y="168"/>
                        </a:lnTo>
                        <a:lnTo>
                          <a:pt x="647" y="180"/>
                        </a:lnTo>
                        <a:lnTo>
                          <a:pt x="661" y="186"/>
                        </a:lnTo>
                        <a:lnTo>
                          <a:pt x="677" y="195"/>
                        </a:lnTo>
                        <a:lnTo>
                          <a:pt x="680" y="195"/>
                        </a:lnTo>
                        <a:lnTo>
                          <a:pt x="689" y="237"/>
                        </a:lnTo>
                        <a:lnTo>
                          <a:pt x="692" y="260"/>
                        </a:lnTo>
                        <a:lnTo>
                          <a:pt x="694" y="263"/>
                        </a:lnTo>
                        <a:lnTo>
                          <a:pt x="692" y="263"/>
                        </a:lnTo>
                        <a:lnTo>
                          <a:pt x="685" y="269"/>
                        </a:lnTo>
                        <a:lnTo>
                          <a:pt x="685" y="279"/>
                        </a:lnTo>
                        <a:lnTo>
                          <a:pt x="692" y="287"/>
                        </a:lnTo>
                        <a:lnTo>
                          <a:pt x="701" y="300"/>
                        </a:lnTo>
                        <a:lnTo>
                          <a:pt x="705" y="315"/>
                        </a:lnTo>
                        <a:lnTo>
                          <a:pt x="706" y="329"/>
                        </a:lnTo>
                        <a:lnTo>
                          <a:pt x="705" y="347"/>
                        </a:lnTo>
                        <a:lnTo>
                          <a:pt x="707" y="353"/>
                        </a:lnTo>
                        <a:lnTo>
                          <a:pt x="707" y="361"/>
                        </a:lnTo>
                        <a:lnTo>
                          <a:pt x="705" y="375"/>
                        </a:lnTo>
                        <a:lnTo>
                          <a:pt x="704" y="410"/>
                        </a:lnTo>
                        <a:lnTo>
                          <a:pt x="698" y="414"/>
                        </a:lnTo>
                        <a:lnTo>
                          <a:pt x="690" y="416"/>
                        </a:lnTo>
                        <a:lnTo>
                          <a:pt x="689" y="421"/>
                        </a:lnTo>
                        <a:lnTo>
                          <a:pt x="692" y="430"/>
                        </a:lnTo>
                        <a:lnTo>
                          <a:pt x="706" y="444"/>
                        </a:lnTo>
                        <a:lnTo>
                          <a:pt x="712" y="454"/>
                        </a:lnTo>
                        <a:lnTo>
                          <a:pt x="714" y="467"/>
                        </a:lnTo>
                        <a:lnTo>
                          <a:pt x="715" y="474"/>
                        </a:lnTo>
                        <a:lnTo>
                          <a:pt x="725" y="485"/>
                        </a:lnTo>
                        <a:lnTo>
                          <a:pt x="739" y="485"/>
                        </a:lnTo>
                        <a:lnTo>
                          <a:pt x="746" y="485"/>
                        </a:lnTo>
                        <a:lnTo>
                          <a:pt x="766" y="493"/>
                        </a:lnTo>
                        <a:lnTo>
                          <a:pt x="780" y="512"/>
                        </a:lnTo>
                        <a:lnTo>
                          <a:pt x="783" y="521"/>
                        </a:lnTo>
                        <a:lnTo>
                          <a:pt x="784" y="526"/>
                        </a:lnTo>
                        <a:lnTo>
                          <a:pt x="765" y="538"/>
                        </a:lnTo>
                        <a:lnTo>
                          <a:pt x="735" y="558"/>
                        </a:lnTo>
                        <a:lnTo>
                          <a:pt x="704" y="577"/>
                        </a:lnTo>
                        <a:lnTo>
                          <a:pt x="673" y="597"/>
                        </a:lnTo>
                        <a:lnTo>
                          <a:pt x="642" y="618"/>
                        </a:lnTo>
                        <a:lnTo>
                          <a:pt x="612" y="638"/>
                        </a:lnTo>
                        <a:lnTo>
                          <a:pt x="581" y="658"/>
                        </a:lnTo>
                        <a:lnTo>
                          <a:pt x="550" y="678"/>
                        </a:lnTo>
                        <a:lnTo>
                          <a:pt x="541" y="681"/>
                        </a:lnTo>
                        <a:lnTo>
                          <a:pt x="497" y="692"/>
                        </a:lnTo>
                        <a:lnTo>
                          <a:pt x="491" y="692"/>
                        </a:lnTo>
                        <a:lnTo>
                          <a:pt x="486" y="692"/>
                        </a:lnTo>
                        <a:lnTo>
                          <a:pt x="479" y="696"/>
                        </a:lnTo>
                        <a:lnTo>
                          <a:pt x="474" y="697"/>
                        </a:lnTo>
                        <a:lnTo>
                          <a:pt x="467" y="700"/>
                        </a:lnTo>
                        <a:lnTo>
                          <a:pt x="462" y="700"/>
                        </a:lnTo>
                        <a:lnTo>
                          <a:pt x="459" y="700"/>
                        </a:lnTo>
                        <a:lnTo>
                          <a:pt x="453" y="694"/>
                        </a:lnTo>
                        <a:lnTo>
                          <a:pt x="453" y="691"/>
                        </a:lnTo>
                        <a:lnTo>
                          <a:pt x="454" y="687"/>
                        </a:lnTo>
                        <a:lnTo>
                          <a:pt x="454" y="682"/>
                        </a:lnTo>
                        <a:lnTo>
                          <a:pt x="454" y="681"/>
                        </a:lnTo>
                        <a:lnTo>
                          <a:pt x="456" y="680"/>
                        </a:lnTo>
                        <a:lnTo>
                          <a:pt x="456" y="678"/>
                        </a:lnTo>
                        <a:lnTo>
                          <a:pt x="455" y="675"/>
                        </a:lnTo>
                        <a:lnTo>
                          <a:pt x="455" y="673"/>
                        </a:lnTo>
                        <a:lnTo>
                          <a:pt x="456" y="671"/>
                        </a:lnTo>
                        <a:lnTo>
                          <a:pt x="455" y="668"/>
                        </a:lnTo>
                        <a:lnTo>
                          <a:pt x="454" y="666"/>
                        </a:lnTo>
                        <a:lnTo>
                          <a:pt x="454" y="665"/>
                        </a:lnTo>
                        <a:lnTo>
                          <a:pt x="450" y="663"/>
                        </a:lnTo>
                        <a:lnTo>
                          <a:pt x="444" y="662"/>
                        </a:lnTo>
                        <a:lnTo>
                          <a:pt x="439" y="658"/>
                        </a:lnTo>
                        <a:lnTo>
                          <a:pt x="436" y="658"/>
                        </a:lnTo>
                        <a:lnTo>
                          <a:pt x="433" y="658"/>
                        </a:lnTo>
                        <a:lnTo>
                          <a:pt x="425" y="658"/>
                        </a:lnTo>
                        <a:lnTo>
                          <a:pt x="422" y="654"/>
                        </a:lnTo>
                        <a:lnTo>
                          <a:pt x="419" y="650"/>
                        </a:lnTo>
                        <a:lnTo>
                          <a:pt x="418" y="649"/>
                        </a:lnTo>
                        <a:lnTo>
                          <a:pt x="411" y="650"/>
                        </a:lnTo>
                        <a:lnTo>
                          <a:pt x="406" y="649"/>
                        </a:lnTo>
                        <a:lnTo>
                          <a:pt x="402" y="647"/>
                        </a:lnTo>
                        <a:lnTo>
                          <a:pt x="396" y="643"/>
                        </a:lnTo>
                        <a:lnTo>
                          <a:pt x="395" y="640"/>
                        </a:lnTo>
                        <a:lnTo>
                          <a:pt x="395" y="635"/>
                        </a:lnTo>
                        <a:lnTo>
                          <a:pt x="393" y="634"/>
                        </a:lnTo>
                        <a:lnTo>
                          <a:pt x="385" y="631"/>
                        </a:lnTo>
                        <a:lnTo>
                          <a:pt x="380" y="630"/>
                        </a:lnTo>
                        <a:lnTo>
                          <a:pt x="374" y="628"/>
                        </a:lnTo>
                        <a:lnTo>
                          <a:pt x="374" y="624"/>
                        </a:lnTo>
                        <a:lnTo>
                          <a:pt x="376" y="620"/>
                        </a:lnTo>
                        <a:lnTo>
                          <a:pt x="373" y="617"/>
                        </a:lnTo>
                        <a:lnTo>
                          <a:pt x="373" y="613"/>
                        </a:lnTo>
                        <a:lnTo>
                          <a:pt x="188" y="495"/>
                        </a:lnTo>
                        <a:lnTo>
                          <a:pt x="142" y="467"/>
                        </a:lnTo>
                        <a:lnTo>
                          <a:pt x="89" y="435"/>
                        </a:lnTo>
                        <a:lnTo>
                          <a:pt x="47" y="410"/>
                        </a:lnTo>
                        <a:lnTo>
                          <a:pt x="0" y="383"/>
                        </a:lnTo>
                        <a:lnTo>
                          <a:pt x="0" y="362"/>
                        </a:lnTo>
                        <a:lnTo>
                          <a:pt x="0" y="319"/>
                        </a:lnTo>
                        <a:lnTo>
                          <a:pt x="19" y="306"/>
                        </a:lnTo>
                        <a:lnTo>
                          <a:pt x="32" y="298"/>
                        </a:lnTo>
                        <a:lnTo>
                          <a:pt x="41" y="298"/>
                        </a:lnTo>
                        <a:lnTo>
                          <a:pt x="46" y="294"/>
                        </a:lnTo>
                        <a:lnTo>
                          <a:pt x="52" y="293"/>
                        </a:lnTo>
                        <a:lnTo>
                          <a:pt x="55" y="288"/>
                        </a:lnTo>
                        <a:lnTo>
                          <a:pt x="58" y="285"/>
                        </a:lnTo>
                        <a:lnTo>
                          <a:pt x="63" y="287"/>
                        </a:lnTo>
                        <a:lnTo>
                          <a:pt x="68" y="285"/>
                        </a:lnTo>
                        <a:lnTo>
                          <a:pt x="72" y="288"/>
                        </a:lnTo>
                        <a:lnTo>
                          <a:pt x="79" y="288"/>
                        </a:lnTo>
                        <a:lnTo>
                          <a:pt x="79" y="287"/>
                        </a:lnTo>
                        <a:lnTo>
                          <a:pt x="79" y="282"/>
                        </a:lnTo>
                        <a:lnTo>
                          <a:pt x="80" y="279"/>
                        </a:lnTo>
                        <a:lnTo>
                          <a:pt x="92" y="280"/>
                        </a:lnTo>
                        <a:lnTo>
                          <a:pt x="95" y="279"/>
                        </a:lnTo>
                        <a:lnTo>
                          <a:pt x="102" y="279"/>
                        </a:lnTo>
                        <a:lnTo>
                          <a:pt x="113" y="277"/>
                        </a:lnTo>
                        <a:lnTo>
                          <a:pt x="125" y="274"/>
                        </a:lnTo>
                        <a:lnTo>
                          <a:pt x="130" y="270"/>
                        </a:lnTo>
                        <a:lnTo>
                          <a:pt x="134" y="267"/>
                        </a:lnTo>
                        <a:lnTo>
                          <a:pt x="135" y="263"/>
                        </a:lnTo>
                        <a:lnTo>
                          <a:pt x="135" y="262"/>
                        </a:lnTo>
                        <a:lnTo>
                          <a:pt x="138" y="257"/>
                        </a:lnTo>
                        <a:lnTo>
                          <a:pt x="145" y="253"/>
                        </a:lnTo>
                        <a:lnTo>
                          <a:pt x="154" y="249"/>
                        </a:lnTo>
                        <a:lnTo>
                          <a:pt x="159" y="249"/>
                        </a:lnTo>
                        <a:lnTo>
                          <a:pt x="178" y="237"/>
                        </a:lnTo>
                        <a:lnTo>
                          <a:pt x="192" y="236"/>
                        </a:lnTo>
                        <a:lnTo>
                          <a:pt x="195" y="234"/>
                        </a:lnTo>
                        <a:lnTo>
                          <a:pt x="194" y="232"/>
                        </a:lnTo>
                        <a:lnTo>
                          <a:pt x="190" y="229"/>
                        </a:lnTo>
                        <a:lnTo>
                          <a:pt x="189" y="227"/>
                        </a:lnTo>
                        <a:lnTo>
                          <a:pt x="188" y="227"/>
                        </a:lnTo>
                        <a:lnTo>
                          <a:pt x="186" y="229"/>
                        </a:lnTo>
                        <a:lnTo>
                          <a:pt x="185" y="229"/>
                        </a:lnTo>
                        <a:lnTo>
                          <a:pt x="186" y="222"/>
                        </a:lnTo>
                        <a:lnTo>
                          <a:pt x="189" y="219"/>
                        </a:lnTo>
                        <a:lnTo>
                          <a:pt x="189" y="218"/>
                        </a:lnTo>
                        <a:lnTo>
                          <a:pt x="185" y="217"/>
                        </a:lnTo>
                        <a:lnTo>
                          <a:pt x="185" y="216"/>
                        </a:lnTo>
                        <a:lnTo>
                          <a:pt x="185" y="212"/>
                        </a:lnTo>
                        <a:lnTo>
                          <a:pt x="186" y="209"/>
                        </a:lnTo>
                        <a:lnTo>
                          <a:pt x="189" y="206"/>
                        </a:lnTo>
                        <a:lnTo>
                          <a:pt x="192" y="206"/>
                        </a:lnTo>
                        <a:lnTo>
                          <a:pt x="197" y="208"/>
                        </a:lnTo>
                        <a:lnTo>
                          <a:pt x="202" y="208"/>
                        </a:lnTo>
                        <a:lnTo>
                          <a:pt x="208" y="206"/>
                        </a:lnTo>
                        <a:lnTo>
                          <a:pt x="218" y="202"/>
                        </a:lnTo>
                        <a:lnTo>
                          <a:pt x="219" y="201"/>
                        </a:lnTo>
                        <a:lnTo>
                          <a:pt x="219" y="198"/>
                        </a:lnTo>
                        <a:lnTo>
                          <a:pt x="219" y="195"/>
                        </a:lnTo>
                        <a:lnTo>
                          <a:pt x="221" y="191"/>
                        </a:lnTo>
                        <a:lnTo>
                          <a:pt x="223" y="191"/>
                        </a:lnTo>
                        <a:lnTo>
                          <a:pt x="227" y="191"/>
                        </a:lnTo>
                        <a:lnTo>
                          <a:pt x="230" y="191"/>
                        </a:lnTo>
                        <a:lnTo>
                          <a:pt x="233" y="191"/>
                        </a:lnTo>
                        <a:lnTo>
                          <a:pt x="240" y="188"/>
                        </a:lnTo>
                        <a:lnTo>
                          <a:pt x="261" y="188"/>
                        </a:lnTo>
                        <a:lnTo>
                          <a:pt x="265" y="188"/>
                        </a:lnTo>
                        <a:lnTo>
                          <a:pt x="272" y="188"/>
                        </a:lnTo>
                        <a:lnTo>
                          <a:pt x="282" y="188"/>
                        </a:lnTo>
                        <a:lnTo>
                          <a:pt x="287" y="191"/>
                        </a:lnTo>
                        <a:lnTo>
                          <a:pt x="288" y="190"/>
                        </a:lnTo>
                        <a:lnTo>
                          <a:pt x="288" y="188"/>
                        </a:lnTo>
                        <a:lnTo>
                          <a:pt x="287" y="186"/>
                        </a:lnTo>
                        <a:lnTo>
                          <a:pt x="287" y="181"/>
                        </a:lnTo>
                        <a:lnTo>
                          <a:pt x="290" y="177"/>
                        </a:lnTo>
                        <a:lnTo>
                          <a:pt x="293" y="176"/>
                        </a:lnTo>
                        <a:lnTo>
                          <a:pt x="293" y="175"/>
                        </a:lnTo>
                        <a:lnTo>
                          <a:pt x="288" y="173"/>
                        </a:lnTo>
                        <a:lnTo>
                          <a:pt x="282" y="167"/>
                        </a:lnTo>
                        <a:lnTo>
                          <a:pt x="277" y="159"/>
                        </a:lnTo>
                        <a:lnTo>
                          <a:pt x="277" y="154"/>
                        </a:lnTo>
                        <a:lnTo>
                          <a:pt x="275" y="150"/>
                        </a:lnTo>
                        <a:lnTo>
                          <a:pt x="274" y="146"/>
                        </a:lnTo>
                        <a:lnTo>
                          <a:pt x="274" y="143"/>
                        </a:lnTo>
                        <a:lnTo>
                          <a:pt x="275" y="140"/>
                        </a:lnTo>
                        <a:lnTo>
                          <a:pt x="275" y="137"/>
                        </a:lnTo>
                        <a:lnTo>
                          <a:pt x="275" y="135"/>
                        </a:lnTo>
                        <a:lnTo>
                          <a:pt x="271" y="130"/>
                        </a:lnTo>
                        <a:lnTo>
                          <a:pt x="272" y="128"/>
                        </a:lnTo>
                        <a:lnTo>
                          <a:pt x="272" y="123"/>
                        </a:lnTo>
                        <a:lnTo>
                          <a:pt x="272" y="117"/>
                        </a:lnTo>
                        <a:lnTo>
                          <a:pt x="272" y="111"/>
                        </a:lnTo>
                        <a:lnTo>
                          <a:pt x="269" y="106"/>
                        </a:lnTo>
                        <a:lnTo>
                          <a:pt x="272" y="102"/>
                        </a:lnTo>
                        <a:lnTo>
                          <a:pt x="268" y="97"/>
                        </a:lnTo>
                        <a:lnTo>
                          <a:pt x="268" y="96"/>
                        </a:lnTo>
                        <a:lnTo>
                          <a:pt x="269" y="96"/>
                        </a:lnTo>
                        <a:lnTo>
                          <a:pt x="269" y="95"/>
                        </a:lnTo>
                        <a:lnTo>
                          <a:pt x="268" y="92"/>
                        </a:lnTo>
                        <a:lnTo>
                          <a:pt x="266" y="91"/>
                        </a:lnTo>
                        <a:lnTo>
                          <a:pt x="262" y="89"/>
                        </a:lnTo>
                        <a:lnTo>
                          <a:pt x="261" y="86"/>
                        </a:lnTo>
                        <a:lnTo>
                          <a:pt x="257" y="85"/>
                        </a:lnTo>
                        <a:close/>
                      </a:path>
                    </a:pathLst>
                  </a:custGeom>
                  <a:no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1" name="Freeform 109"/>
                  <p:cNvSpPr>
                    <a:spLocks/>
                  </p:cNvSpPr>
                  <p:nvPr/>
                </p:nvSpPr>
                <p:spPr bwMode="auto">
                  <a:xfrm>
                    <a:off x="922" y="1017"/>
                    <a:ext cx="839" cy="735"/>
                  </a:xfrm>
                  <a:custGeom>
                    <a:avLst/>
                    <a:gdLst>
                      <a:gd name="T0" fmla="*/ 23860 w 784"/>
                      <a:gd name="T1" fmla="*/ 1891 h 700"/>
                      <a:gd name="T2" fmla="*/ 27535 w 784"/>
                      <a:gd name="T3" fmla="*/ 1332 h 700"/>
                      <a:gd name="T4" fmla="*/ 30466 w 784"/>
                      <a:gd name="T5" fmla="*/ 921 h 700"/>
                      <a:gd name="T6" fmla="*/ 34291 w 784"/>
                      <a:gd name="T7" fmla="*/ 483 h 700"/>
                      <a:gd name="T8" fmla="*/ 39957 w 784"/>
                      <a:gd name="T9" fmla="*/ 343 h 700"/>
                      <a:gd name="T10" fmla="*/ 43600 w 784"/>
                      <a:gd name="T11" fmla="*/ 8 h 700"/>
                      <a:gd name="T12" fmla="*/ 48050 w 784"/>
                      <a:gd name="T13" fmla="*/ 343 h 700"/>
                      <a:gd name="T14" fmla="*/ 51505 w 784"/>
                      <a:gd name="T15" fmla="*/ 3 h 700"/>
                      <a:gd name="T16" fmla="*/ 53953 w 784"/>
                      <a:gd name="T17" fmla="*/ 1 h 700"/>
                      <a:gd name="T18" fmla="*/ 57758 w 784"/>
                      <a:gd name="T19" fmla="*/ 7 h 700"/>
                      <a:gd name="T20" fmla="*/ 57325 w 784"/>
                      <a:gd name="T21" fmla="*/ 460 h 700"/>
                      <a:gd name="T22" fmla="*/ 57325 w 784"/>
                      <a:gd name="T23" fmla="*/ 1234 h 700"/>
                      <a:gd name="T24" fmla="*/ 57325 w 784"/>
                      <a:gd name="T25" fmla="*/ 2277 h 700"/>
                      <a:gd name="T26" fmla="*/ 55028 w 784"/>
                      <a:gd name="T27" fmla="*/ 2934 h 700"/>
                      <a:gd name="T28" fmla="*/ 54504 w 784"/>
                      <a:gd name="T29" fmla="*/ 3358 h 700"/>
                      <a:gd name="T30" fmla="*/ 56928 w 784"/>
                      <a:gd name="T31" fmla="*/ 4511 h 700"/>
                      <a:gd name="T32" fmla="*/ 60922 w 784"/>
                      <a:gd name="T33" fmla="*/ 6495 h 700"/>
                      <a:gd name="T34" fmla="*/ 60922 w 784"/>
                      <a:gd name="T35" fmla="*/ 7161 h 700"/>
                      <a:gd name="T36" fmla="*/ 62126 w 784"/>
                      <a:gd name="T37" fmla="*/ 8901 h 700"/>
                      <a:gd name="T38" fmla="*/ 60526 w 784"/>
                      <a:gd name="T39" fmla="*/ 10423 h 700"/>
                      <a:gd name="T40" fmla="*/ 62635 w 784"/>
                      <a:gd name="T41" fmla="*/ 11693 h 700"/>
                      <a:gd name="T42" fmla="*/ 67440 w 784"/>
                      <a:gd name="T43" fmla="*/ 12377 h 700"/>
                      <a:gd name="T44" fmla="*/ 64551 w 784"/>
                      <a:gd name="T45" fmla="*/ 13967 h 700"/>
                      <a:gd name="T46" fmla="*/ 51025 w 784"/>
                      <a:gd name="T47" fmla="*/ 16457 h 700"/>
                      <a:gd name="T48" fmla="*/ 42700 w 784"/>
                      <a:gd name="T49" fmla="*/ 17295 h 700"/>
                      <a:gd name="T50" fmla="*/ 40239 w 784"/>
                      <a:gd name="T51" fmla="*/ 17557 h 700"/>
                      <a:gd name="T52" fmla="*/ 39901 w 784"/>
                      <a:gd name="T53" fmla="*/ 17036 h 700"/>
                      <a:gd name="T54" fmla="*/ 39982 w 784"/>
                      <a:gd name="T55" fmla="*/ 16793 h 700"/>
                      <a:gd name="T56" fmla="*/ 38967 w 784"/>
                      <a:gd name="T57" fmla="*/ 16586 h 700"/>
                      <a:gd name="T58" fmla="*/ 37172 w 784"/>
                      <a:gd name="T59" fmla="*/ 16399 h 700"/>
                      <a:gd name="T60" fmla="*/ 35203 w 784"/>
                      <a:gd name="T61" fmla="*/ 16188 h 700"/>
                      <a:gd name="T62" fmla="*/ 33840 w 784"/>
                      <a:gd name="T63" fmla="*/ 15811 h 700"/>
                      <a:gd name="T64" fmla="*/ 32629 w 784"/>
                      <a:gd name="T65" fmla="*/ 15438 h 700"/>
                      <a:gd name="T66" fmla="*/ 4190 w 784"/>
                      <a:gd name="T67" fmla="*/ 10304 h 700"/>
                      <a:gd name="T68" fmla="*/ 2798 w 784"/>
                      <a:gd name="T69" fmla="*/ 7432 h 700"/>
                      <a:gd name="T70" fmla="*/ 5136 w 784"/>
                      <a:gd name="T71" fmla="*/ 7152 h 700"/>
                      <a:gd name="T72" fmla="*/ 6959 w 784"/>
                      <a:gd name="T73" fmla="*/ 7161 h 700"/>
                      <a:gd name="T74" fmla="*/ 8955 w 784"/>
                      <a:gd name="T75" fmla="*/ 7015 h 700"/>
                      <a:gd name="T76" fmla="*/ 11792 w 784"/>
                      <a:gd name="T77" fmla="*/ 6642 h 700"/>
                      <a:gd name="T78" fmla="*/ 14028 w 784"/>
                      <a:gd name="T79" fmla="*/ 6202 h 700"/>
                      <a:gd name="T80" fmla="*/ 16560 w 784"/>
                      <a:gd name="T81" fmla="*/ 5758 h 700"/>
                      <a:gd name="T82" fmla="*/ 16310 w 784"/>
                      <a:gd name="T83" fmla="*/ 5546 h 700"/>
                      <a:gd name="T84" fmla="*/ 16265 w 784"/>
                      <a:gd name="T85" fmla="*/ 5337 h 700"/>
                      <a:gd name="T86" fmla="*/ 17711 w 784"/>
                      <a:gd name="T87" fmla="*/ 5223 h 700"/>
                      <a:gd name="T88" fmla="*/ 19240 w 784"/>
                      <a:gd name="T89" fmla="*/ 4860 h 700"/>
                      <a:gd name="T90" fmla="*/ 20299 w 784"/>
                      <a:gd name="T91" fmla="*/ 4790 h 700"/>
                      <a:gd name="T92" fmla="*/ 24824 w 784"/>
                      <a:gd name="T93" fmla="*/ 4724 h 700"/>
                      <a:gd name="T94" fmla="*/ 25234 w 784"/>
                      <a:gd name="T95" fmla="*/ 4552 h 700"/>
                      <a:gd name="T96" fmla="*/ 24824 w 784"/>
                      <a:gd name="T97" fmla="*/ 4183 h 700"/>
                      <a:gd name="T98" fmla="*/ 24111 w 784"/>
                      <a:gd name="T99" fmla="*/ 3611 h 700"/>
                      <a:gd name="T100" fmla="*/ 23861 w 784"/>
                      <a:gd name="T101" fmla="*/ 3205 h 700"/>
                      <a:gd name="T102" fmla="*/ 23861 w 784"/>
                      <a:gd name="T103" fmla="*/ 2567 h 700"/>
                      <a:gd name="T104" fmla="*/ 23580 w 784"/>
                      <a:gd name="T105" fmla="*/ 2329 h 700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w 784"/>
                      <a:gd name="T160" fmla="*/ 0 h 700"/>
                      <a:gd name="T161" fmla="*/ 784 w 784"/>
                      <a:gd name="T162" fmla="*/ 700 h 700"/>
                    </a:gdLst>
                    <a:ahLst/>
                    <a:cxnLst>
                      <a:cxn ang="T106">
                        <a:pos x="T0" y="T1"/>
                      </a:cxn>
                      <a:cxn ang="T107">
                        <a:pos x="T2" y="T3"/>
                      </a:cxn>
                      <a:cxn ang="T108">
                        <a:pos x="T4" y="T5"/>
                      </a:cxn>
                      <a:cxn ang="T109">
                        <a:pos x="T6" y="T7"/>
                      </a:cxn>
                      <a:cxn ang="T110">
                        <a:pos x="T8" y="T9"/>
                      </a:cxn>
                      <a:cxn ang="T111">
                        <a:pos x="T10" y="T11"/>
                      </a:cxn>
                      <a:cxn ang="T112">
                        <a:pos x="T12" y="T13"/>
                      </a:cxn>
                      <a:cxn ang="T113">
                        <a:pos x="T14" y="T15"/>
                      </a:cxn>
                      <a:cxn ang="T114">
                        <a:pos x="T16" y="T17"/>
                      </a:cxn>
                      <a:cxn ang="T115">
                        <a:pos x="T18" y="T19"/>
                      </a:cxn>
                      <a:cxn ang="T116">
                        <a:pos x="T20" y="T21"/>
                      </a:cxn>
                      <a:cxn ang="T117">
                        <a:pos x="T22" y="T23"/>
                      </a:cxn>
                      <a:cxn ang="T118">
                        <a:pos x="T24" y="T25"/>
                      </a:cxn>
                      <a:cxn ang="T119">
                        <a:pos x="T26" y="T27"/>
                      </a:cxn>
                      <a:cxn ang="T120">
                        <a:pos x="T28" y="T29"/>
                      </a:cxn>
                      <a:cxn ang="T121">
                        <a:pos x="T30" y="T31"/>
                      </a:cxn>
                      <a:cxn ang="T122">
                        <a:pos x="T32" y="T33"/>
                      </a:cxn>
                      <a:cxn ang="T123">
                        <a:pos x="T34" y="T35"/>
                      </a:cxn>
                      <a:cxn ang="T124">
                        <a:pos x="T36" y="T37"/>
                      </a:cxn>
                      <a:cxn ang="T125">
                        <a:pos x="T38" y="T39"/>
                      </a:cxn>
                      <a:cxn ang="T126">
                        <a:pos x="T40" y="T41"/>
                      </a:cxn>
                      <a:cxn ang="T127">
                        <a:pos x="T42" y="T43"/>
                      </a:cxn>
                      <a:cxn ang="T128">
                        <a:pos x="T44" y="T45"/>
                      </a:cxn>
                      <a:cxn ang="T129">
                        <a:pos x="T46" y="T47"/>
                      </a:cxn>
                      <a:cxn ang="T130">
                        <a:pos x="T48" y="T49"/>
                      </a:cxn>
                      <a:cxn ang="T131">
                        <a:pos x="T50" y="T51"/>
                      </a:cxn>
                      <a:cxn ang="T132">
                        <a:pos x="T52" y="T53"/>
                      </a:cxn>
                      <a:cxn ang="T133">
                        <a:pos x="T54" y="T55"/>
                      </a:cxn>
                      <a:cxn ang="T134">
                        <a:pos x="T56" y="T57"/>
                      </a:cxn>
                      <a:cxn ang="T135">
                        <a:pos x="T58" y="T59"/>
                      </a:cxn>
                      <a:cxn ang="T136">
                        <a:pos x="T60" y="T61"/>
                      </a:cxn>
                      <a:cxn ang="T137">
                        <a:pos x="T62" y="T63"/>
                      </a:cxn>
                      <a:cxn ang="T138">
                        <a:pos x="T64" y="T65"/>
                      </a:cxn>
                      <a:cxn ang="T139">
                        <a:pos x="T66" y="T67"/>
                      </a:cxn>
                      <a:cxn ang="T140">
                        <a:pos x="T68" y="T69"/>
                      </a:cxn>
                      <a:cxn ang="T141">
                        <a:pos x="T70" y="T71"/>
                      </a:cxn>
                      <a:cxn ang="T142">
                        <a:pos x="T72" y="T73"/>
                      </a:cxn>
                      <a:cxn ang="T143">
                        <a:pos x="T74" y="T75"/>
                      </a:cxn>
                      <a:cxn ang="T144">
                        <a:pos x="T76" y="T77"/>
                      </a:cxn>
                      <a:cxn ang="T145">
                        <a:pos x="T78" y="T79"/>
                      </a:cxn>
                      <a:cxn ang="T146">
                        <a:pos x="T80" y="T81"/>
                      </a:cxn>
                      <a:cxn ang="T147">
                        <a:pos x="T82" y="T83"/>
                      </a:cxn>
                      <a:cxn ang="T148">
                        <a:pos x="T84" y="T85"/>
                      </a:cxn>
                      <a:cxn ang="T149">
                        <a:pos x="T86" y="T87"/>
                      </a:cxn>
                      <a:cxn ang="T150">
                        <a:pos x="T88" y="T89"/>
                      </a:cxn>
                      <a:cxn ang="T151">
                        <a:pos x="T90" y="T91"/>
                      </a:cxn>
                      <a:cxn ang="T152">
                        <a:pos x="T92" y="T93"/>
                      </a:cxn>
                      <a:cxn ang="T153">
                        <a:pos x="T94" y="T95"/>
                      </a:cxn>
                      <a:cxn ang="T154">
                        <a:pos x="T96" y="T97"/>
                      </a:cxn>
                      <a:cxn ang="T155">
                        <a:pos x="T98" y="T99"/>
                      </a:cxn>
                      <a:cxn ang="T156">
                        <a:pos x="T100" y="T101"/>
                      </a:cxn>
                      <a:cxn ang="T157">
                        <a:pos x="T102" y="T103"/>
                      </a:cxn>
                      <a:cxn ang="T158">
                        <a:pos x="T104" y="T105"/>
                      </a:cxn>
                    </a:cxnLst>
                    <a:rect l="T159" t="T160" r="T161" b="T162"/>
                    <a:pathLst>
                      <a:path w="784" h="700">
                        <a:moveTo>
                          <a:pt x="257" y="85"/>
                        </a:moveTo>
                        <a:lnTo>
                          <a:pt x="256" y="81"/>
                        </a:lnTo>
                        <a:lnTo>
                          <a:pt x="256" y="79"/>
                        </a:lnTo>
                        <a:lnTo>
                          <a:pt x="261" y="78"/>
                        </a:lnTo>
                        <a:lnTo>
                          <a:pt x="271" y="75"/>
                        </a:lnTo>
                        <a:lnTo>
                          <a:pt x="282" y="70"/>
                        </a:lnTo>
                        <a:lnTo>
                          <a:pt x="293" y="57"/>
                        </a:lnTo>
                        <a:lnTo>
                          <a:pt x="302" y="52"/>
                        </a:lnTo>
                        <a:lnTo>
                          <a:pt x="309" y="51"/>
                        </a:lnTo>
                        <a:lnTo>
                          <a:pt x="313" y="52"/>
                        </a:lnTo>
                        <a:lnTo>
                          <a:pt x="320" y="47"/>
                        </a:lnTo>
                        <a:lnTo>
                          <a:pt x="329" y="50"/>
                        </a:lnTo>
                        <a:lnTo>
                          <a:pt x="336" y="47"/>
                        </a:lnTo>
                        <a:lnTo>
                          <a:pt x="340" y="41"/>
                        </a:lnTo>
                        <a:lnTo>
                          <a:pt x="347" y="37"/>
                        </a:lnTo>
                        <a:lnTo>
                          <a:pt x="350" y="35"/>
                        </a:lnTo>
                        <a:lnTo>
                          <a:pt x="357" y="34"/>
                        </a:lnTo>
                        <a:lnTo>
                          <a:pt x="363" y="29"/>
                        </a:lnTo>
                        <a:lnTo>
                          <a:pt x="383" y="23"/>
                        </a:lnTo>
                        <a:lnTo>
                          <a:pt x="391" y="20"/>
                        </a:lnTo>
                        <a:lnTo>
                          <a:pt x="428" y="18"/>
                        </a:lnTo>
                        <a:lnTo>
                          <a:pt x="437" y="19"/>
                        </a:lnTo>
                        <a:lnTo>
                          <a:pt x="444" y="16"/>
                        </a:lnTo>
                        <a:lnTo>
                          <a:pt x="450" y="11"/>
                        </a:lnTo>
                        <a:lnTo>
                          <a:pt x="455" y="13"/>
                        </a:lnTo>
                        <a:lnTo>
                          <a:pt x="464" y="13"/>
                        </a:lnTo>
                        <a:lnTo>
                          <a:pt x="467" y="13"/>
                        </a:lnTo>
                        <a:lnTo>
                          <a:pt x="474" y="13"/>
                        </a:lnTo>
                        <a:lnTo>
                          <a:pt x="485" y="8"/>
                        </a:lnTo>
                        <a:lnTo>
                          <a:pt x="497" y="8"/>
                        </a:lnTo>
                        <a:lnTo>
                          <a:pt x="507" y="8"/>
                        </a:lnTo>
                        <a:lnTo>
                          <a:pt x="525" y="9"/>
                        </a:lnTo>
                        <a:lnTo>
                          <a:pt x="530" y="13"/>
                        </a:lnTo>
                        <a:lnTo>
                          <a:pt x="539" y="16"/>
                        </a:lnTo>
                        <a:lnTo>
                          <a:pt x="546" y="13"/>
                        </a:lnTo>
                        <a:lnTo>
                          <a:pt x="552" y="11"/>
                        </a:lnTo>
                        <a:lnTo>
                          <a:pt x="563" y="9"/>
                        </a:lnTo>
                        <a:lnTo>
                          <a:pt x="572" y="7"/>
                        </a:lnTo>
                        <a:lnTo>
                          <a:pt x="578" y="0"/>
                        </a:lnTo>
                        <a:lnTo>
                          <a:pt x="586" y="3"/>
                        </a:lnTo>
                        <a:lnTo>
                          <a:pt x="593" y="6"/>
                        </a:lnTo>
                        <a:lnTo>
                          <a:pt x="596" y="6"/>
                        </a:lnTo>
                        <a:lnTo>
                          <a:pt x="603" y="8"/>
                        </a:lnTo>
                        <a:lnTo>
                          <a:pt x="611" y="6"/>
                        </a:lnTo>
                        <a:lnTo>
                          <a:pt x="615" y="1"/>
                        </a:lnTo>
                        <a:lnTo>
                          <a:pt x="629" y="4"/>
                        </a:lnTo>
                        <a:lnTo>
                          <a:pt x="635" y="9"/>
                        </a:lnTo>
                        <a:lnTo>
                          <a:pt x="642" y="8"/>
                        </a:lnTo>
                        <a:lnTo>
                          <a:pt x="649" y="6"/>
                        </a:lnTo>
                        <a:lnTo>
                          <a:pt x="659" y="7"/>
                        </a:lnTo>
                        <a:lnTo>
                          <a:pt x="668" y="6"/>
                        </a:lnTo>
                        <a:lnTo>
                          <a:pt x="667" y="9"/>
                        </a:lnTo>
                        <a:lnTo>
                          <a:pt x="663" y="11"/>
                        </a:lnTo>
                        <a:lnTo>
                          <a:pt x="659" y="14"/>
                        </a:lnTo>
                        <a:lnTo>
                          <a:pt x="653" y="19"/>
                        </a:lnTo>
                        <a:lnTo>
                          <a:pt x="651" y="23"/>
                        </a:lnTo>
                        <a:lnTo>
                          <a:pt x="656" y="24"/>
                        </a:lnTo>
                        <a:lnTo>
                          <a:pt x="657" y="26"/>
                        </a:lnTo>
                        <a:lnTo>
                          <a:pt x="653" y="45"/>
                        </a:lnTo>
                        <a:lnTo>
                          <a:pt x="653" y="49"/>
                        </a:lnTo>
                        <a:lnTo>
                          <a:pt x="654" y="55"/>
                        </a:lnTo>
                        <a:lnTo>
                          <a:pt x="654" y="67"/>
                        </a:lnTo>
                        <a:lnTo>
                          <a:pt x="658" y="71"/>
                        </a:lnTo>
                        <a:lnTo>
                          <a:pt x="658" y="75"/>
                        </a:lnTo>
                        <a:lnTo>
                          <a:pt x="653" y="90"/>
                        </a:lnTo>
                        <a:lnTo>
                          <a:pt x="649" y="97"/>
                        </a:lnTo>
                        <a:lnTo>
                          <a:pt x="636" y="105"/>
                        </a:lnTo>
                        <a:lnTo>
                          <a:pt x="635" y="111"/>
                        </a:lnTo>
                        <a:lnTo>
                          <a:pt x="628" y="112"/>
                        </a:lnTo>
                        <a:lnTo>
                          <a:pt x="625" y="117"/>
                        </a:lnTo>
                        <a:lnTo>
                          <a:pt x="616" y="123"/>
                        </a:lnTo>
                        <a:lnTo>
                          <a:pt x="615" y="123"/>
                        </a:lnTo>
                        <a:lnTo>
                          <a:pt x="616" y="126"/>
                        </a:lnTo>
                        <a:lnTo>
                          <a:pt x="621" y="133"/>
                        </a:lnTo>
                        <a:lnTo>
                          <a:pt x="625" y="149"/>
                        </a:lnTo>
                        <a:lnTo>
                          <a:pt x="638" y="154"/>
                        </a:lnTo>
                        <a:lnTo>
                          <a:pt x="642" y="157"/>
                        </a:lnTo>
                        <a:lnTo>
                          <a:pt x="647" y="168"/>
                        </a:lnTo>
                        <a:lnTo>
                          <a:pt x="647" y="180"/>
                        </a:lnTo>
                        <a:lnTo>
                          <a:pt x="661" y="186"/>
                        </a:lnTo>
                        <a:lnTo>
                          <a:pt x="677" y="195"/>
                        </a:lnTo>
                        <a:lnTo>
                          <a:pt x="680" y="195"/>
                        </a:lnTo>
                        <a:lnTo>
                          <a:pt x="689" y="237"/>
                        </a:lnTo>
                        <a:lnTo>
                          <a:pt x="692" y="260"/>
                        </a:lnTo>
                        <a:lnTo>
                          <a:pt x="694" y="263"/>
                        </a:lnTo>
                        <a:lnTo>
                          <a:pt x="692" y="263"/>
                        </a:lnTo>
                        <a:lnTo>
                          <a:pt x="685" y="269"/>
                        </a:lnTo>
                        <a:lnTo>
                          <a:pt x="685" y="279"/>
                        </a:lnTo>
                        <a:lnTo>
                          <a:pt x="692" y="287"/>
                        </a:lnTo>
                        <a:lnTo>
                          <a:pt x="701" y="300"/>
                        </a:lnTo>
                        <a:lnTo>
                          <a:pt x="705" y="315"/>
                        </a:lnTo>
                        <a:lnTo>
                          <a:pt x="706" y="329"/>
                        </a:lnTo>
                        <a:lnTo>
                          <a:pt x="705" y="347"/>
                        </a:lnTo>
                        <a:lnTo>
                          <a:pt x="707" y="353"/>
                        </a:lnTo>
                        <a:lnTo>
                          <a:pt x="707" y="361"/>
                        </a:lnTo>
                        <a:lnTo>
                          <a:pt x="705" y="375"/>
                        </a:lnTo>
                        <a:lnTo>
                          <a:pt x="704" y="410"/>
                        </a:lnTo>
                        <a:lnTo>
                          <a:pt x="698" y="414"/>
                        </a:lnTo>
                        <a:lnTo>
                          <a:pt x="690" y="416"/>
                        </a:lnTo>
                        <a:lnTo>
                          <a:pt x="689" y="421"/>
                        </a:lnTo>
                        <a:lnTo>
                          <a:pt x="692" y="430"/>
                        </a:lnTo>
                        <a:lnTo>
                          <a:pt x="706" y="444"/>
                        </a:lnTo>
                        <a:lnTo>
                          <a:pt x="712" y="454"/>
                        </a:lnTo>
                        <a:lnTo>
                          <a:pt x="714" y="467"/>
                        </a:lnTo>
                        <a:lnTo>
                          <a:pt x="715" y="474"/>
                        </a:lnTo>
                        <a:lnTo>
                          <a:pt x="725" y="485"/>
                        </a:lnTo>
                        <a:lnTo>
                          <a:pt x="739" y="485"/>
                        </a:lnTo>
                        <a:lnTo>
                          <a:pt x="746" y="485"/>
                        </a:lnTo>
                        <a:lnTo>
                          <a:pt x="766" y="493"/>
                        </a:lnTo>
                        <a:lnTo>
                          <a:pt x="780" y="512"/>
                        </a:lnTo>
                        <a:lnTo>
                          <a:pt x="783" y="521"/>
                        </a:lnTo>
                        <a:lnTo>
                          <a:pt x="784" y="526"/>
                        </a:lnTo>
                        <a:lnTo>
                          <a:pt x="765" y="538"/>
                        </a:lnTo>
                        <a:lnTo>
                          <a:pt x="735" y="558"/>
                        </a:lnTo>
                        <a:lnTo>
                          <a:pt x="704" y="577"/>
                        </a:lnTo>
                        <a:lnTo>
                          <a:pt x="673" y="597"/>
                        </a:lnTo>
                        <a:lnTo>
                          <a:pt x="642" y="618"/>
                        </a:lnTo>
                        <a:lnTo>
                          <a:pt x="612" y="638"/>
                        </a:lnTo>
                        <a:lnTo>
                          <a:pt x="581" y="658"/>
                        </a:lnTo>
                        <a:lnTo>
                          <a:pt x="550" y="678"/>
                        </a:lnTo>
                        <a:lnTo>
                          <a:pt x="541" y="681"/>
                        </a:lnTo>
                        <a:lnTo>
                          <a:pt x="497" y="692"/>
                        </a:lnTo>
                        <a:lnTo>
                          <a:pt x="491" y="692"/>
                        </a:lnTo>
                        <a:lnTo>
                          <a:pt x="486" y="692"/>
                        </a:lnTo>
                        <a:lnTo>
                          <a:pt x="479" y="696"/>
                        </a:lnTo>
                        <a:lnTo>
                          <a:pt x="474" y="697"/>
                        </a:lnTo>
                        <a:lnTo>
                          <a:pt x="467" y="700"/>
                        </a:lnTo>
                        <a:lnTo>
                          <a:pt x="462" y="700"/>
                        </a:lnTo>
                        <a:lnTo>
                          <a:pt x="459" y="700"/>
                        </a:lnTo>
                        <a:lnTo>
                          <a:pt x="453" y="694"/>
                        </a:lnTo>
                        <a:lnTo>
                          <a:pt x="453" y="691"/>
                        </a:lnTo>
                        <a:lnTo>
                          <a:pt x="454" y="687"/>
                        </a:lnTo>
                        <a:lnTo>
                          <a:pt x="454" y="682"/>
                        </a:lnTo>
                        <a:lnTo>
                          <a:pt x="454" y="681"/>
                        </a:lnTo>
                        <a:lnTo>
                          <a:pt x="456" y="680"/>
                        </a:lnTo>
                        <a:lnTo>
                          <a:pt x="456" y="678"/>
                        </a:lnTo>
                        <a:lnTo>
                          <a:pt x="455" y="675"/>
                        </a:lnTo>
                        <a:lnTo>
                          <a:pt x="455" y="673"/>
                        </a:lnTo>
                        <a:lnTo>
                          <a:pt x="456" y="671"/>
                        </a:lnTo>
                        <a:lnTo>
                          <a:pt x="455" y="668"/>
                        </a:lnTo>
                        <a:lnTo>
                          <a:pt x="454" y="666"/>
                        </a:lnTo>
                        <a:lnTo>
                          <a:pt x="454" y="665"/>
                        </a:lnTo>
                        <a:lnTo>
                          <a:pt x="450" y="663"/>
                        </a:lnTo>
                        <a:lnTo>
                          <a:pt x="444" y="662"/>
                        </a:lnTo>
                        <a:lnTo>
                          <a:pt x="439" y="658"/>
                        </a:lnTo>
                        <a:lnTo>
                          <a:pt x="436" y="658"/>
                        </a:lnTo>
                        <a:lnTo>
                          <a:pt x="433" y="658"/>
                        </a:lnTo>
                        <a:lnTo>
                          <a:pt x="425" y="658"/>
                        </a:lnTo>
                        <a:lnTo>
                          <a:pt x="422" y="654"/>
                        </a:lnTo>
                        <a:lnTo>
                          <a:pt x="419" y="650"/>
                        </a:lnTo>
                        <a:lnTo>
                          <a:pt x="418" y="649"/>
                        </a:lnTo>
                        <a:lnTo>
                          <a:pt x="411" y="650"/>
                        </a:lnTo>
                        <a:lnTo>
                          <a:pt x="406" y="649"/>
                        </a:lnTo>
                        <a:lnTo>
                          <a:pt x="402" y="647"/>
                        </a:lnTo>
                        <a:lnTo>
                          <a:pt x="396" y="643"/>
                        </a:lnTo>
                        <a:lnTo>
                          <a:pt x="395" y="640"/>
                        </a:lnTo>
                        <a:lnTo>
                          <a:pt x="395" y="635"/>
                        </a:lnTo>
                        <a:lnTo>
                          <a:pt x="393" y="634"/>
                        </a:lnTo>
                        <a:lnTo>
                          <a:pt x="385" y="631"/>
                        </a:lnTo>
                        <a:lnTo>
                          <a:pt x="380" y="630"/>
                        </a:lnTo>
                        <a:lnTo>
                          <a:pt x="374" y="628"/>
                        </a:lnTo>
                        <a:lnTo>
                          <a:pt x="374" y="624"/>
                        </a:lnTo>
                        <a:lnTo>
                          <a:pt x="376" y="620"/>
                        </a:lnTo>
                        <a:lnTo>
                          <a:pt x="373" y="617"/>
                        </a:lnTo>
                        <a:lnTo>
                          <a:pt x="373" y="613"/>
                        </a:lnTo>
                        <a:lnTo>
                          <a:pt x="188" y="495"/>
                        </a:lnTo>
                        <a:lnTo>
                          <a:pt x="142" y="467"/>
                        </a:lnTo>
                        <a:lnTo>
                          <a:pt x="89" y="435"/>
                        </a:lnTo>
                        <a:lnTo>
                          <a:pt x="47" y="410"/>
                        </a:lnTo>
                        <a:lnTo>
                          <a:pt x="0" y="383"/>
                        </a:lnTo>
                        <a:lnTo>
                          <a:pt x="0" y="362"/>
                        </a:lnTo>
                        <a:lnTo>
                          <a:pt x="0" y="319"/>
                        </a:lnTo>
                        <a:lnTo>
                          <a:pt x="19" y="306"/>
                        </a:lnTo>
                        <a:lnTo>
                          <a:pt x="32" y="298"/>
                        </a:lnTo>
                        <a:lnTo>
                          <a:pt x="41" y="298"/>
                        </a:lnTo>
                        <a:lnTo>
                          <a:pt x="46" y="294"/>
                        </a:lnTo>
                        <a:lnTo>
                          <a:pt x="52" y="293"/>
                        </a:lnTo>
                        <a:lnTo>
                          <a:pt x="55" y="288"/>
                        </a:lnTo>
                        <a:lnTo>
                          <a:pt x="58" y="285"/>
                        </a:lnTo>
                        <a:lnTo>
                          <a:pt x="63" y="287"/>
                        </a:lnTo>
                        <a:lnTo>
                          <a:pt x="68" y="285"/>
                        </a:lnTo>
                        <a:lnTo>
                          <a:pt x="72" y="288"/>
                        </a:lnTo>
                        <a:lnTo>
                          <a:pt x="79" y="288"/>
                        </a:lnTo>
                        <a:lnTo>
                          <a:pt x="79" y="287"/>
                        </a:lnTo>
                        <a:lnTo>
                          <a:pt x="79" y="282"/>
                        </a:lnTo>
                        <a:lnTo>
                          <a:pt x="80" y="279"/>
                        </a:lnTo>
                        <a:lnTo>
                          <a:pt x="92" y="280"/>
                        </a:lnTo>
                        <a:lnTo>
                          <a:pt x="95" y="279"/>
                        </a:lnTo>
                        <a:lnTo>
                          <a:pt x="102" y="279"/>
                        </a:lnTo>
                        <a:lnTo>
                          <a:pt x="113" y="277"/>
                        </a:lnTo>
                        <a:lnTo>
                          <a:pt x="125" y="274"/>
                        </a:lnTo>
                        <a:lnTo>
                          <a:pt x="130" y="270"/>
                        </a:lnTo>
                        <a:lnTo>
                          <a:pt x="134" y="267"/>
                        </a:lnTo>
                        <a:lnTo>
                          <a:pt x="135" y="263"/>
                        </a:lnTo>
                        <a:lnTo>
                          <a:pt x="135" y="262"/>
                        </a:lnTo>
                        <a:lnTo>
                          <a:pt x="138" y="257"/>
                        </a:lnTo>
                        <a:lnTo>
                          <a:pt x="145" y="253"/>
                        </a:lnTo>
                        <a:lnTo>
                          <a:pt x="154" y="249"/>
                        </a:lnTo>
                        <a:lnTo>
                          <a:pt x="159" y="249"/>
                        </a:lnTo>
                        <a:lnTo>
                          <a:pt x="178" y="237"/>
                        </a:lnTo>
                        <a:lnTo>
                          <a:pt x="192" y="236"/>
                        </a:lnTo>
                        <a:lnTo>
                          <a:pt x="195" y="234"/>
                        </a:lnTo>
                        <a:lnTo>
                          <a:pt x="194" y="232"/>
                        </a:lnTo>
                        <a:lnTo>
                          <a:pt x="190" y="229"/>
                        </a:lnTo>
                        <a:lnTo>
                          <a:pt x="189" y="227"/>
                        </a:lnTo>
                        <a:lnTo>
                          <a:pt x="188" y="227"/>
                        </a:lnTo>
                        <a:lnTo>
                          <a:pt x="186" y="229"/>
                        </a:lnTo>
                        <a:lnTo>
                          <a:pt x="185" y="229"/>
                        </a:lnTo>
                        <a:lnTo>
                          <a:pt x="186" y="222"/>
                        </a:lnTo>
                        <a:lnTo>
                          <a:pt x="189" y="219"/>
                        </a:lnTo>
                        <a:lnTo>
                          <a:pt x="189" y="218"/>
                        </a:lnTo>
                        <a:lnTo>
                          <a:pt x="185" y="217"/>
                        </a:lnTo>
                        <a:lnTo>
                          <a:pt x="185" y="216"/>
                        </a:lnTo>
                        <a:lnTo>
                          <a:pt x="185" y="212"/>
                        </a:lnTo>
                        <a:lnTo>
                          <a:pt x="186" y="209"/>
                        </a:lnTo>
                        <a:lnTo>
                          <a:pt x="189" y="206"/>
                        </a:lnTo>
                        <a:lnTo>
                          <a:pt x="192" y="206"/>
                        </a:lnTo>
                        <a:lnTo>
                          <a:pt x="197" y="208"/>
                        </a:lnTo>
                        <a:lnTo>
                          <a:pt x="202" y="208"/>
                        </a:lnTo>
                        <a:lnTo>
                          <a:pt x="208" y="206"/>
                        </a:lnTo>
                        <a:lnTo>
                          <a:pt x="218" y="202"/>
                        </a:lnTo>
                        <a:lnTo>
                          <a:pt x="219" y="201"/>
                        </a:lnTo>
                        <a:lnTo>
                          <a:pt x="219" y="198"/>
                        </a:lnTo>
                        <a:lnTo>
                          <a:pt x="219" y="195"/>
                        </a:lnTo>
                        <a:lnTo>
                          <a:pt x="221" y="191"/>
                        </a:lnTo>
                        <a:lnTo>
                          <a:pt x="223" y="191"/>
                        </a:lnTo>
                        <a:lnTo>
                          <a:pt x="227" y="191"/>
                        </a:lnTo>
                        <a:lnTo>
                          <a:pt x="230" y="191"/>
                        </a:lnTo>
                        <a:lnTo>
                          <a:pt x="233" y="191"/>
                        </a:lnTo>
                        <a:lnTo>
                          <a:pt x="240" y="188"/>
                        </a:lnTo>
                        <a:lnTo>
                          <a:pt x="261" y="188"/>
                        </a:lnTo>
                        <a:lnTo>
                          <a:pt x="265" y="188"/>
                        </a:lnTo>
                        <a:lnTo>
                          <a:pt x="272" y="188"/>
                        </a:lnTo>
                        <a:lnTo>
                          <a:pt x="282" y="188"/>
                        </a:lnTo>
                        <a:lnTo>
                          <a:pt x="287" y="191"/>
                        </a:lnTo>
                        <a:lnTo>
                          <a:pt x="288" y="190"/>
                        </a:lnTo>
                        <a:lnTo>
                          <a:pt x="288" y="188"/>
                        </a:lnTo>
                        <a:lnTo>
                          <a:pt x="287" y="186"/>
                        </a:lnTo>
                        <a:lnTo>
                          <a:pt x="287" y="181"/>
                        </a:lnTo>
                        <a:lnTo>
                          <a:pt x="290" y="177"/>
                        </a:lnTo>
                        <a:lnTo>
                          <a:pt x="293" y="176"/>
                        </a:lnTo>
                        <a:lnTo>
                          <a:pt x="293" y="175"/>
                        </a:lnTo>
                        <a:lnTo>
                          <a:pt x="288" y="173"/>
                        </a:lnTo>
                        <a:lnTo>
                          <a:pt x="282" y="167"/>
                        </a:lnTo>
                        <a:lnTo>
                          <a:pt x="277" y="159"/>
                        </a:lnTo>
                        <a:lnTo>
                          <a:pt x="277" y="154"/>
                        </a:lnTo>
                        <a:lnTo>
                          <a:pt x="275" y="150"/>
                        </a:lnTo>
                        <a:lnTo>
                          <a:pt x="274" y="146"/>
                        </a:lnTo>
                        <a:lnTo>
                          <a:pt x="274" y="143"/>
                        </a:lnTo>
                        <a:lnTo>
                          <a:pt x="275" y="140"/>
                        </a:lnTo>
                        <a:lnTo>
                          <a:pt x="275" y="137"/>
                        </a:lnTo>
                        <a:lnTo>
                          <a:pt x="275" y="135"/>
                        </a:lnTo>
                        <a:lnTo>
                          <a:pt x="271" y="130"/>
                        </a:lnTo>
                        <a:lnTo>
                          <a:pt x="272" y="128"/>
                        </a:lnTo>
                        <a:lnTo>
                          <a:pt x="272" y="123"/>
                        </a:lnTo>
                        <a:lnTo>
                          <a:pt x="272" y="117"/>
                        </a:lnTo>
                        <a:lnTo>
                          <a:pt x="272" y="111"/>
                        </a:lnTo>
                        <a:lnTo>
                          <a:pt x="269" y="106"/>
                        </a:lnTo>
                        <a:lnTo>
                          <a:pt x="272" y="102"/>
                        </a:lnTo>
                        <a:lnTo>
                          <a:pt x="268" y="97"/>
                        </a:lnTo>
                        <a:lnTo>
                          <a:pt x="268" y="96"/>
                        </a:lnTo>
                        <a:lnTo>
                          <a:pt x="269" y="96"/>
                        </a:lnTo>
                        <a:lnTo>
                          <a:pt x="269" y="95"/>
                        </a:lnTo>
                        <a:lnTo>
                          <a:pt x="268" y="92"/>
                        </a:lnTo>
                        <a:lnTo>
                          <a:pt x="266" y="91"/>
                        </a:lnTo>
                        <a:lnTo>
                          <a:pt x="262" y="89"/>
                        </a:lnTo>
                        <a:lnTo>
                          <a:pt x="261" y="86"/>
                        </a:lnTo>
                        <a:lnTo>
                          <a:pt x="257" y="85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2" name="Freeform 110"/>
                  <p:cNvSpPr>
                    <a:spLocks/>
                  </p:cNvSpPr>
                  <p:nvPr/>
                </p:nvSpPr>
                <p:spPr bwMode="auto">
                  <a:xfrm>
                    <a:off x="1280" y="1568"/>
                    <a:ext cx="659" cy="478"/>
                  </a:xfrm>
                  <a:custGeom>
                    <a:avLst/>
                    <a:gdLst>
                      <a:gd name="T0" fmla="*/ 48480 w 615"/>
                      <a:gd name="T1" fmla="*/ 9698 h 455"/>
                      <a:gd name="T2" fmla="*/ 47728 w 615"/>
                      <a:gd name="T3" fmla="*/ 9930 h 455"/>
                      <a:gd name="T4" fmla="*/ 46381 w 615"/>
                      <a:gd name="T5" fmla="*/ 10053 h 455"/>
                      <a:gd name="T6" fmla="*/ 45315 w 615"/>
                      <a:gd name="T7" fmla="*/ 10257 h 455"/>
                      <a:gd name="T8" fmla="*/ 43630 w 615"/>
                      <a:gd name="T9" fmla="*/ 10195 h 455"/>
                      <a:gd name="T10" fmla="*/ 41305 w 615"/>
                      <a:gd name="T11" fmla="*/ 10126 h 455"/>
                      <a:gd name="T12" fmla="*/ 37663 w 615"/>
                      <a:gd name="T13" fmla="*/ 10188 h 455"/>
                      <a:gd name="T14" fmla="*/ 34872 w 615"/>
                      <a:gd name="T15" fmla="*/ 10699 h 455"/>
                      <a:gd name="T16" fmla="*/ 31627 w 615"/>
                      <a:gd name="T17" fmla="*/ 10576 h 455"/>
                      <a:gd name="T18" fmla="*/ 28137 w 615"/>
                      <a:gd name="T19" fmla="*/ 10184 h 455"/>
                      <a:gd name="T20" fmla="*/ 25923 w 615"/>
                      <a:gd name="T21" fmla="*/ 10557 h 455"/>
                      <a:gd name="T22" fmla="*/ 24580 w 615"/>
                      <a:gd name="T23" fmla="*/ 10336 h 455"/>
                      <a:gd name="T24" fmla="*/ 19663 w 615"/>
                      <a:gd name="T25" fmla="*/ 9698 h 455"/>
                      <a:gd name="T26" fmla="*/ 17427 w 615"/>
                      <a:gd name="T27" fmla="*/ 9755 h 455"/>
                      <a:gd name="T28" fmla="*/ 14921 w 615"/>
                      <a:gd name="T29" fmla="*/ 10126 h 455"/>
                      <a:gd name="T30" fmla="*/ 13919 w 615"/>
                      <a:gd name="T31" fmla="*/ 10775 h 455"/>
                      <a:gd name="T32" fmla="*/ 12995 w 615"/>
                      <a:gd name="T33" fmla="*/ 11054 h 455"/>
                      <a:gd name="T34" fmla="*/ 12995 w 615"/>
                      <a:gd name="T35" fmla="*/ 11808 h 455"/>
                      <a:gd name="T36" fmla="*/ 11203 w 615"/>
                      <a:gd name="T37" fmla="*/ 11311 h 455"/>
                      <a:gd name="T38" fmla="*/ 9464 w 615"/>
                      <a:gd name="T39" fmla="*/ 11176 h 455"/>
                      <a:gd name="T40" fmla="*/ 8582 w 615"/>
                      <a:gd name="T41" fmla="*/ 11310 h 455"/>
                      <a:gd name="T42" fmla="*/ 8508 w 615"/>
                      <a:gd name="T43" fmla="*/ 11525 h 455"/>
                      <a:gd name="T44" fmla="*/ 7178 w 615"/>
                      <a:gd name="T45" fmla="*/ 11176 h 455"/>
                      <a:gd name="T46" fmla="*/ 7940 w 615"/>
                      <a:gd name="T47" fmla="*/ 11095 h 455"/>
                      <a:gd name="T48" fmla="*/ 7474 w 615"/>
                      <a:gd name="T49" fmla="*/ 10775 h 455"/>
                      <a:gd name="T50" fmla="*/ 6509 w 615"/>
                      <a:gd name="T51" fmla="*/ 10850 h 455"/>
                      <a:gd name="T52" fmla="*/ 5290 w 615"/>
                      <a:gd name="T53" fmla="*/ 10775 h 455"/>
                      <a:gd name="T54" fmla="*/ 3852 w 615"/>
                      <a:gd name="T55" fmla="*/ 10418 h 455"/>
                      <a:gd name="T56" fmla="*/ 1803 w 615"/>
                      <a:gd name="T57" fmla="*/ 9755 h 455"/>
                      <a:gd name="T58" fmla="*/ 904 w 615"/>
                      <a:gd name="T59" fmla="*/ 9228 h 455"/>
                      <a:gd name="T60" fmla="*/ 0 w 615"/>
                      <a:gd name="T61" fmla="*/ 8915 h 455"/>
                      <a:gd name="T62" fmla="*/ 4 w 615"/>
                      <a:gd name="T63" fmla="*/ 8479 h 455"/>
                      <a:gd name="T64" fmla="*/ 10468 w 615"/>
                      <a:gd name="T65" fmla="*/ 8142 h 455"/>
                      <a:gd name="T66" fmla="*/ 11644 w 615"/>
                      <a:gd name="T67" fmla="*/ 8078 h 455"/>
                      <a:gd name="T68" fmla="*/ 12864 w 615"/>
                      <a:gd name="T69" fmla="*/ 7967 h 455"/>
                      <a:gd name="T70" fmla="*/ 13919 w 615"/>
                      <a:gd name="T71" fmla="*/ 7651 h 455"/>
                      <a:gd name="T72" fmla="*/ 15077 w 615"/>
                      <a:gd name="T73" fmla="*/ 7479 h 455"/>
                      <a:gd name="T74" fmla="*/ 15077 w 615"/>
                      <a:gd name="T75" fmla="*/ 4573 h 455"/>
                      <a:gd name="T76" fmla="*/ 15077 w 615"/>
                      <a:gd name="T77" fmla="*/ 4298 h 455"/>
                      <a:gd name="T78" fmla="*/ 20694 w 615"/>
                      <a:gd name="T79" fmla="*/ 4017 h 455"/>
                      <a:gd name="T80" fmla="*/ 29424 w 615"/>
                      <a:gd name="T81" fmla="*/ 2453 h 455"/>
                      <a:gd name="T82" fmla="*/ 38459 w 615"/>
                      <a:gd name="T83" fmla="*/ 886 h 455"/>
                      <a:gd name="T84" fmla="*/ 43284 w 615"/>
                      <a:gd name="T85" fmla="*/ 0 h 455"/>
                      <a:gd name="T86" fmla="*/ 48557 w 615"/>
                      <a:gd name="T87" fmla="*/ 0 h 455"/>
                      <a:gd name="T88" fmla="*/ 52123 w 615"/>
                      <a:gd name="T89" fmla="*/ 5 h 455"/>
                      <a:gd name="T90" fmla="*/ 53680 w 615"/>
                      <a:gd name="T91" fmla="*/ 383 h 455"/>
                      <a:gd name="T92" fmla="*/ 55037 w 615"/>
                      <a:gd name="T93" fmla="*/ 1949 h 455"/>
                      <a:gd name="T94" fmla="*/ 55665 w 615"/>
                      <a:gd name="T95" fmla="*/ 2261 h 455"/>
                      <a:gd name="T96" fmla="*/ 56413 w 615"/>
                      <a:gd name="T97" fmla="*/ 2658 h 455"/>
                      <a:gd name="T98" fmla="*/ 58829 w 615"/>
                      <a:gd name="T99" fmla="*/ 3081 h 455"/>
                      <a:gd name="T100" fmla="*/ 56566 w 615"/>
                      <a:gd name="T101" fmla="*/ 6576 h 455"/>
                      <a:gd name="T102" fmla="*/ 50218 w 615"/>
                      <a:gd name="T103" fmla="*/ 8667 h 455"/>
                      <a:gd name="T104" fmla="*/ 49401 w 615"/>
                      <a:gd name="T105" fmla="*/ 8840 h 455"/>
                      <a:gd name="T106" fmla="*/ 48873 w 615"/>
                      <a:gd name="T107" fmla="*/ 9195 h 455"/>
                      <a:gd name="T108" fmla="*/ 47814 w 615"/>
                      <a:gd name="T109" fmla="*/ 9366 h 455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15"/>
                      <a:gd name="T166" fmla="*/ 0 h 455"/>
                      <a:gd name="T167" fmla="*/ 615 w 615"/>
                      <a:gd name="T168" fmla="*/ 455 h 455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15" h="455">
                        <a:moveTo>
                          <a:pt x="500" y="366"/>
                        </a:moveTo>
                        <a:lnTo>
                          <a:pt x="503" y="369"/>
                        </a:lnTo>
                        <a:lnTo>
                          <a:pt x="506" y="374"/>
                        </a:lnTo>
                        <a:lnTo>
                          <a:pt x="505" y="376"/>
                        </a:lnTo>
                        <a:lnTo>
                          <a:pt x="504" y="376"/>
                        </a:lnTo>
                        <a:lnTo>
                          <a:pt x="499" y="384"/>
                        </a:lnTo>
                        <a:lnTo>
                          <a:pt x="495" y="384"/>
                        </a:lnTo>
                        <a:lnTo>
                          <a:pt x="490" y="384"/>
                        </a:lnTo>
                        <a:lnTo>
                          <a:pt x="485" y="387"/>
                        </a:lnTo>
                        <a:lnTo>
                          <a:pt x="485" y="388"/>
                        </a:lnTo>
                        <a:lnTo>
                          <a:pt x="479" y="395"/>
                        </a:lnTo>
                        <a:lnTo>
                          <a:pt x="473" y="397"/>
                        </a:lnTo>
                        <a:lnTo>
                          <a:pt x="466" y="399"/>
                        </a:lnTo>
                        <a:lnTo>
                          <a:pt x="463" y="395"/>
                        </a:lnTo>
                        <a:lnTo>
                          <a:pt x="456" y="394"/>
                        </a:lnTo>
                        <a:lnTo>
                          <a:pt x="451" y="390"/>
                        </a:lnTo>
                        <a:lnTo>
                          <a:pt x="446" y="390"/>
                        </a:lnTo>
                        <a:lnTo>
                          <a:pt x="432" y="390"/>
                        </a:lnTo>
                        <a:lnTo>
                          <a:pt x="425" y="393"/>
                        </a:lnTo>
                        <a:lnTo>
                          <a:pt x="412" y="392"/>
                        </a:lnTo>
                        <a:lnTo>
                          <a:pt x="394" y="393"/>
                        </a:lnTo>
                        <a:lnTo>
                          <a:pt x="387" y="395"/>
                        </a:lnTo>
                        <a:lnTo>
                          <a:pt x="377" y="405"/>
                        </a:lnTo>
                        <a:lnTo>
                          <a:pt x="365" y="412"/>
                        </a:lnTo>
                        <a:lnTo>
                          <a:pt x="357" y="414"/>
                        </a:lnTo>
                        <a:lnTo>
                          <a:pt x="339" y="410"/>
                        </a:lnTo>
                        <a:lnTo>
                          <a:pt x="332" y="409"/>
                        </a:lnTo>
                        <a:lnTo>
                          <a:pt x="316" y="399"/>
                        </a:lnTo>
                        <a:lnTo>
                          <a:pt x="303" y="392"/>
                        </a:lnTo>
                        <a:lnTo>
                          <a:pt x="294" y="392"/>
                        </a:lnTo>
                        <a:lnTo>
                          <a:pt x="288" y="394"/>
                        </a:lnTo>
                        <a:lnTo>
                          <a:pt x="277" y="400"/>
                        </a:lnTo>
                        <a:lnTo>
                          <a:pt x="271" y="406"/>
                        </a:lnTo>
                        <a:lnTo>
                          <a:pt x="265" y="406"/>
                        </a:lnTo>
                        <a:lnTo>
                          <a:pt x="262" y="404"/>
                        </a:lnTo>
                        <a:lnTo>
                          <a:pt x="257" y="400"/>
                        </a:lnTo>
                        <a:lnTo>
                          <a:pt x="242" y="387"/>
                        </a:lnTo>
                        <a:lnTo>
                          <a:pt x="216" y="374"/>
                        </a:lnTo>
                        <a:lnTo>
                          <a:pt x="205" y="374"/>
                        </a:lnTo>
                        <a:lnTo>
                          <a:pt x="199" y="376"/>
                        </a:lnTo>
                        <a:lnTo>
                          <a:pt x="194" y="377"/>
                        </a:lnTo>
                        <a:lnTo>
                          <a:pt x="183" y="376"/>
                        </a:lnTo>
                        <a:lnTo>
                          <a:pt x="169" y="379"/>
                        </a:lnTo>
                        <a:lnTo>
                          <a:pt x="157" y="388"/>
                        </a:lnTo>
                        <a:lnTo>
                          <a:pt x="156" y="390"/>
                        </a:lnTo>
                        <a:lnTo>
                          <a:pt x="153" y="403"/>
                        </a:lnTo>
                        <a:lnTo>
                          <a:pt x="148" y="412"/>
                        </a:lnTo>
                        <a:lnTo>
                          <a:pt x="145" y="417"/>
                        </a:lnTo>
                        <a:lnTo>
                          <a:pt x="141" y="419"/>
                        </a:lnTo>
                        <a:lnTo>
                          <a:pt x="137" y="422"/>
                        </a:lnTo>
                        <a:lnTo>
                          <a:pt x="136" y="426"/>
                        </a:lnTo>
                        <a:lnTo>
                          <a:pt x="135" y="431"/>
                        </a:lnTo>
                        <a:lnTo>
                          <a:pt x="136" y="448"/>
                        </a:lnTo>
                        <a:lnTo>
                          <a:pt x="136" y="455"/>
                        </a:lnTo>
                        <a:lnTo>
                          <a:pt x="130" y="448"/>
                        </a:lnTo>
                        <a:lnTo>
                          <a:pt x="125" y="445"/>
                        </a:lnTo>
                        <a:lnTo>
                          <a:pt x="116" y="437"/>
                        </a:lnTo>
                        <a:lnTo>
                          <a:pt x="109" y="429"/>
                        </a:lnTo>
                        <a:lnTo>
                          <a:pt x="106" y="428"/>
                        </a:lnTo>
                        <a:lnTo>
                          <a:pt x="100" y="431"/>
                        </a:lnTo>
                        <a:lnTo>
                          <a:pt x="97" y="431"/>
                        </a:lnTo>
                        <a:lnTo>
                          <a:pt x="89" y="434"/>
                        </a:lnTo>
                        <a:lnTo>
                          <a:pt x="90" y="436"/>
                        </a:lnTo>
                        <a:lnTo>
                          <a:pt x="93" y="443"/>
                        </a:lnTo>
                        <a:lnTo>
                          <a:pt x="90" y="445"/>
                        </a:lnTo>
                        <a:lnTo>
                          <a:pt x="89" y="445"/>
                        </a:lnTo>
                        <a:lnTo>
                          <a:pt x="82" y="438"/>
                        </a:lnTo>
                        <a:lnTo>
                          <a:pt x="77" y="432"/>
                        </a:lnTo>
                        <a:lnTo>
                          <a:pt x="76" y="431"/>
                        </a:lnTo>
                        <a:lnTo>
                          <a:pt x="77" y="428"/>
                        </a:lnTo>
                        <a:lnTo>
                          <a:pt x="80" y="427"/>
                        </a:lnTo>
                        <a:lnTo>
                          <a:pt x="83" y="428"/>
                        </a:lnTo>
                        <a:lnTo>
                          <a:pt x="85" y="426"/>
                        </a:lnTo>
                        <a:lnTo>
                          <a:pt x="83" y="425"/>
                        </a:lnTo>
                        <a:lnTo>
                          <a:pt x="78" y="417"/>
                        </a:lnTo>
                        <a:lnTo>
                          <a:pt x="75" y="416"/>
                        </a:lnTo>
                        <a:lnTo>
                          <a:pt x="71" y="416"/>
                        </a:lnTo>
                        <a:lnTo>
                          <a:pt x="68" y="419"/>
                        </a:lnTo>
                        <a:lnTo>
                          <a:pt x="65" y="421"/>
                        </a:lnTo>
                        <a:lnTo>
                          <a:pt x="63" y="421"/>
                        </a:lnTo>
                        <a:lnTo>
                          <a:pt x="55" y="417"/>
                        </a:lnTo>
                        <a:lnTo>
                          <a:pt x="50" y="416"/>
                        </a:lnTo>
                        <a:lnTo>
                          <a:pt x="42" y="406"/>
                        </a:lnTo>
                        <a:lnTo>
                          <a:pt x="40" y="402"/>
                        </a:lnTo>
                        <a:lnTo>
                          <a:pt x="35" y="392"/>
                        </a:lnTo>
                        <a:lnTo>
                          <a:pt x="30" y="386"/>
                        </a:lnTo>
                        <a:lnTo>
                          <a:pt x="19" y="376"/>
                        </a:lnTo>
                        <a:lnTo>
                          <a:pt x="10" y="366"/>
                        </a:lnTo>
                        <a:lnTo>
                          <a:pt x="9" y="361"/>
                        </a:lnTo>
                        <a:lnTo>
                          <a:pt x="9" y="355"/>
                        </a:lnTo>
                        <a:lnTo>
                          <a:pt x="7" y="353"/>
                        </a:lnTo>
                        <a:lnTo>
                          <a:pt x="1" y="348"/>
                        </a:lnTo>
                        <a:lnTo>
                          <a:pt x="0" y="346"/>
                        </a:lnTo>
                        <a:lnTo>
                          <a:pt x="2" y="339"/>
                        </a:lnTo>
                        <a:lnTo>
                          <a:pt x="2" y="332"/>
                        </a:lnTo>
                        <a:lnTo>
                          <a:pt x="4" y="328"/>
                        </a:lnTo>
                        <a:lnTo>
                          <a:pt x="29" y="328"/>
                        </a:lnTo>
                        <a:lnTo>
                          <a:pt x="47" y="315"/>
                        </a:lnTo>
                        <a:lnTo>
                          <a:pt x="109" y="314"/>
                        </a:lnTo>
                        <a:lnTo>
                          <a:pt x="113" y="315"/>
                        </a:lnTo>
                        <a:lnTo>
                          <a:pt x="113" y="311"/>
                        </a:lnTo>
                        <a:lnTo>
                          <a:pt x="123" y="313"/>
                        </a:lnTo>
                        <a:lnTo>
                          <a:pt x="130" y="314"/>
                        </a:lnTo>
                        <a:lnTo>
                          <a:pt x="130" y="311"/>
                        </a:lnTo>
                        <a:lnTo>
                          <a:pt x="133" y="308"/>
                        </a:lnTo>
                        <a:lnTo>
                          <a:pt x="135" y="306"/>
                        </a:lnTo>
                        <a:lnTo>
                          <a:pt x="144" y="301"/>
                        </a:lnTo>
                        <a:lnTo>
                          <a:pt x="145" y="296"/>
                        </a:lnTo>
                        <a:lnTo>
                          <a:pt x="147" y="292"/>
                        </a:lnTo>
                        <a:lnTo>
                          <a:pt x="153" y="288"/>
                        </a:lnTo>
                        <a:lnTo>
                          <a:pt x="157" y="287"/>
                        </a:lnTo>
                        <a:lnTo>
                          <a:pt x="157" y="250"/>
                        </a:lnTo>
                        <a:lnTo>
                          <a:pt x="157" y="214"/>
                        </a:lnTo>
                        <a:lnTo>
                          <a:pt x="157" y="177"/>
                        </a:lnTo>
                        <a:lnTo>
                          <a:pt x="157" y="170"/>
                        </a:lnTo>
                        <a:lnTo>
                          <a:pt x="157" y="167"/>
                        </a:lnTo>
                        <a:lnTo>
                          <a:pt x="162" y="167"/>
                        </a:lnTo>
                        <a:lnTo>
                          <a:pt x="207" y="157"/>
                        </a:lnTo>
                        <a:lnTo>
                          <a:pt x="216" y="154"/>
                        </a:lnTo>
                        <a:lnTo>
                          <a:pt x="247" y="134"/>
                        </a:lnTo>
                        <a:lnTo>
                          <a:pt x="278" y="113"/>
                        </a:lnTo>
                        <a:lnTo>
                          <a:pt x="308" y="94"/>
                        </a:lnTo>
                        <a:lnTo>
                          <a:pt x="339" y="74"/>
                        </a:lnTo>
                        <a:lnTo>
                          <a:pt x="370" y="53"/>
                        </a:lnTo>
                        <a:lnTo>
                          <a:pt x="401" y="34"/>
                        </a:lnTo>
                        <a:lnTo>
                          <a:pt x="432" y="14"/>
                        </a:lnTo>
                        <a:lnTo>
                          <a:pt x="450" y="2"/>
                        </a:lnTo>
                        <a:lnTo>
                          <a:pt x="453" y="0"/>
                        </a:lnTo>
                        <a:lnTo>
                          <a:pt x="456" y="0"/>
                        </a:lnTo>
                        <a:lnTo>
                          <a:pt x="477" y="0"/>
                        </a:lnTo>
                        <a:lnTo>
                          <a:pt x="507" y="0"/>
                        </a:lnTo>
                        <a:lnTo>
                          <a:pt x="536" y="2"/>
                        </a:lnTo>
                        <a:lnTo>
                          <a:pt x="542" y="4"/>
                        </a:lnTo>
                        <a:lnTo>
                          <a:pt x="545" y="5"/>
                        </a:lnTo>
                        <a:lnTo>
                          <a:pt x="548" y="9"/>
                        </a:lnTo>
                        <a:lnTo>
                          <a:pt x="558" y="14"/>
                        </a:lnTo>
                        <a:lnTo>
                          <a:pt x="561" y="15"/>
                        </a:lnTo>
                        <a:lnTo>
                          <a:pt x="564" y="22"/>
                        </a:lnTo>
                        <a:lnTo>
                          <a:pt x="577" y="19"/>
                        </a:lnTo>
                        <a:lnTo>
                          <a:pt x="577" y="75"/>
                        </a:lnTo>
                        <a:lnTo>
                          <a:pt x="578" y="78"/>
                        </a:lnTo>
                        <a:lnTo>
                          <a:pt x="581" y="85"/>
                        </a:lnTo>
                        <a:lnTo>
                          <a:pt x="581" y="87"/>
                        </a:lnTo>
                        <a:lnTo>
                          <a:pt x="585" y="93"/>
                        </a:lnTo>
                        <a:lnTo>
                          <a:pt x="587" y="99"/>
                        </a:lnTo>
                        <a:lnTo>
                          <a:pt x="590" y="103"/>
                        </a:lnTo>
                        <a:lnTo>
                          <a:pt x="594" y="108"/>
                        </a:lnTo>
                        <a:lnTo>
                          <a:pt x="599" y="111"/>
                        </a:lnTo>
                        <a:lnTo>
                          <a:pt x="615" y="119"/>
                        </a:lnTo>
                        <a:lnTo>
                          <a:pt x="604" y="135"/>
                        </a:lnTo>
                        <a:lnTo>
                          <a:pt x="594" y="188"/>
                        </a:lnTo>
                        <a:lnTo>
                          <a:pt x="591" y="254"/>
                        </a:lnTo>
                        <a:lnTo>
                          <a:pt x="589" y="257"/>
                        </a:lnTo>
                        <a:lnTo>
                          <a:pt x="525" y="325"/>
                        </a:lnTo>
                        <a:lnTo>
                          <a:pt x="525" y="332"/>
                        </a:lnTo>
                        <a:lnTo>
                          <a:pt x="522" y="333"/>
                        </a:lnTo>
                        <a:lnTo>
                          <a:pt x="522" y="340"/>
                        </a:lnTo>
                        <a:lnTo>
                          <a:pt x="516" y="342"/>
                        </a:lnTo>
                        <a:lnTo>
                          <a:pt x="513" y="345"/>
                        </a:lnTo>
                        <a:lnTo>
                          <a:pt x="514" y="352"/>
                        </a:lnTo>
                        <a:lnTo>
                          <a:pt x="511" y="354"/>
                        </a:lnTo>
                        <a:lnTo>
                          <a:pt x="508" y="355"/>
                        </a:lnTo>
                        <a:lnTo>
                          <a:pt x="504" y="358"/>
                        </a:lnTo>
                        <a:lnTo>
                          <a:pt x="500" y="363"/>
                        </a:lnTo>
                        <a:lnTo>
                          <a:pt x="500" y="366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3" name="Freeform 111"/>
                  <p:cNvSpPr>
                    <a:spLocks/>
                  </p:cNvSpPr>
                  <p:nvPr/>
                </p:nvSpPr>
                <p:spPr bwMode="auto">
                  <a:xfrm>
                    <a:off x="1280" y="1568"/>
                    <a:ext cx="659" cy="478"/>
                  </a:xfrm>
                  <a:custGeom>
                    <a:avLst/>
                    <a:gdLst>
                      <a:gd name="T0" fmla="*/ 48480 w 615"/>
                      <a:gd name="T1" fmla="*/ 9698 h 455"/>
                      <a:gd name="T2" fmla="*/ 47728 w 615"/>
                      <a:gd name="T3" fmla="*/ 9930 h 455"/>
                      <a:gd name="T4" fmla="*/ 46381 w 615"/>
                      <a:gd name="T5" fmla="*/ 10053 h 455"/>
                      <a:gd name="T6" fmla="*/ 45315 w 615"/>
                      <a:gd name="T7" fmla="*/ 10257 h 455"/>
                      <a:gd name="T8" fmla="*/ 43630 w 615"/>
                      <a:gd name="T9" fmla="*/ 10195 h 455"/>
                      <a:gd name="T10" fmla="*/ 41305 w 615"/>
                      <a:gd name="T11" fmla="*/ 10126 h 455"/>
                      <a:gd name="T12" fmla="*/ 37663 w 615"/>
                      <a:gd name="T13" fmla="*/ 10188 h 455"/>
                      <a:gd name="T14" fmla="*/ 34872 w 615"/>
                      <a:gd name="T15" fmla="*/ 10699 h 455"/>
                      <a:gd name="T16" fmla="*/ 31627 w 615"/>
                      <a:gd name="T17" fmla="*/ 10576 h 455"/>
                      <a:gd name="T18" fmla="*/ 28137 w 615"/>
                      <a:gd name="T19" fmla="*/ 10184 h 455"/>
                      <a:gd name="T20" fmla="*/ 25923 w 615"/>
                      <a:gd name="T21" fmla="*/ 10557 h 455"/>
                      <a:gd name="T22" fmla="*/ 24580 w 615"/>
                      <a:gd name="T23" fmla="*/ 10336 h 455"/>
                      <a:gd name="T24" fmla="*/ 19663 w 615"/>
                      <a:gd name="T25" fmla="*/ 9698 h 455"/>
                      <a:gd name="T26" fmla="*/ 17427 w 615"/>
                      <a:gd name="T27" fmla="*/ 9755 h 455"/>
                      <a:gd name="T28" fmla="*/ 14921 w 615"/>
                      <a:gd name="T29" fmla="*/ 10126 h 455"/>
                      <a:gd name="T30" fmla="*/ 13919 w 615"/>
                      <a:gd name="T31" fmla="*/ 10775 h 455"/>
                      <a:gd name="T32" fmla="*/ 12995 w 615"/>
                      <a:gd name="T33" fmla="*/ 11054 h 455"/>
                      <a:gd name="T34" fmla="*/ 12995 w 615"/>
                      <a:gd name="T35" fmla="*/ 11808 h 455"/>
                      <a:gd name="T36" fmla="*/ 11203 w 615"/>
                      <a:gd name="T37" fmla="*/ 11311 h 455"/>
                      <a:gd name="T38" fmla="*/ 9464 w 615"/>
                      <a:gd name="T39" fmla="*/ 11176 h 455"/>
                      <a:gd name="T40" fmla="*/ 8582 w 615"/>
                      <a:gd name="T41" fmla="*/ 11310 h 455"/>
                      <a:gd name="T42" fmla="*/ 8508 w 615"/>
                      <a:gd name="T43" fmla="*/ 11525 h 455"/>
                      <a:gd name="T44" fmla="*/ 7178 w 615"/>
                      <a:gd name="T45" fmla="*/ 11176 h 455"/>
                      <a:gd name="T46" fmla="*/ 7940 w 615"/>
                      <a:gd name="T47" fmla="*/ 11095 h 455"/>
                      <a:gd name="T48" fmla="*/ 7474 w 615"/>
                      <a:gd name="T49" fmla="*/ 10775 h 455"/>
                      <a:gd name="T50" fmla="*/ 6509 w 615"/>
                      <a:gd name="T51" fmla="*/ 10850 h 455"/>
                      <a:gd name="T52" fmla="*/ 5290 w 615"/>
                      <a:gd name="T53" fmla="*/ 10775 h 455"/>
                      <a:gd name="T54" fmla="*/ 3852 w 615"/>
                      <a:gd name="T55" fmla="*/ 10418 h 455"/>
                      <a:gd name="T56" fmla="*/ 1803 w 615"/>
                      <a:gd name="T57" fmla="*/ 9755 h 455"/>
                      <a:gd name="T58" fmla="*/ 904 w 615"/>
                      <a:gd name="T59" fmla="*/ 9228 h 455"/>
                      <a:gd name="T60" fmla="*/ 0 w 615"/>
                      <a:gd name="T61" fmla="*/ 8915 h 455"/>
                      <a:gd name="T62" fmla="*/ 4 w 615"/>
                      <a:gd name="T63" fmla="*/ 8479 h 455"/>
                      <a:gd name="T64" fmla="*/ 10468 w 615"/>
                      <a:gd name="T65" fmla="*/ 8142 h 455"/>
                      <a:gd name="T66" fmla="*/ 11644 w 615"/>
                      <a:gd name="T67" fmla="*/ 8078 h 455"/>
                      <a:gd name="T68" fmla="*/ 12864 w 615"/>
                      <a:gd name="T69" fmla="*/ 7967 h 455"/>
                      <a:gd name="T70" fmla="*/ 13919 w 615"/>
                      <a:gd name="T71" fmla="*/ 7651 h 455"/>
                      <a:gd name="T72" fmla="*/ 15077 w 615"/>
                      <a:gd name="T73" fmla="*/ 7479 h 455"/>
                      <a:gd name="T74" fmla="*/ 15077 w 615"/>
                      <a:gd name="T75" fmla="*/ 4573 h 455"/>
                      <a:gd name="T76" fmla="*/ 15077 w 615"/>
                      <a:gd name="T77" fmla="*/ 4298 h 455"/>
                      <a:gd name="T78" fmla="*/ 20694 w 615"/>
                      <a:gd name="T79" fmla="*/ 4017 h 455"/>
                      <a:gd name="T80" fmla="*/ 29424 w 615"/>
                      <a:gd name="T81" fmla="*/ 2453 h 455"/>
                      <a:gd name="T82" fmla="*/ 38459 w 615"/>
                      <a:gd name="T83" fmla="*/ 886 h 455"/>
                      <a:gd name="T84" fmla="*/ 43284 w 615"/>
                      <a:gd name="T85" fmla="*/ 0 h 455"/>
                      <a:gd name="T86" fmla="*/ 48557 w 615"/>
                      <a:gd name="T87" fmla="*/ 0 h 455"/>
                      <a:gd name="T88" fmla="*/ 52123 w 615"/>
                      <a:gd name="T89" fmla="*/ 5 h 455"/>
                      <a:gd name="T90" fmla="*/ 53680 w 615"/>
                      <a:gd name="T91" fmla="*/ 383 h 455"/>
                      <a:gd name="T92" fmla="*/ 55037 w 615"/>
                      <a:gd name="T93" fmla="*/ 1949 h 455"/>
                      <a:gd name="T94" fmla="*/ 55665 w 615"/>
                      <a:gd name="T95" fmla="*/ 2261 h 455"/>
                      <a:gd name="T96" fmla="*/ 56413 w 615"/>
                      <a:gd name="T97" fmla="*/ 2658 h 455"/>
                      <a:gd name="T98" fmla="*/ 58829 w 615"/>
                      <a:gd name="T99" fmla="*/ 3081 h 455"/>
                      <a:gd name="T100" fmla="*/ 56566 w 615"/>
                      <a:gd name="T101" fmla="*/ 6576 h 455"/>
                      <a:gd name="T102" fmla="*/ 50218 w 615"/>
                      <a:gd name="T103" fmla="*/ 8667 h 455"/>
                      <a:gd name="T104" fmla="*/ 49401 w 615"/>
                      <a:gd name="T105" fmla="*/ 8840 h 455"/>
                      <a:gd name="T106" fmla="*/ 48873 w 615"/>
                      <a:gd name="T107" fmla="*/ 9195 h 455"/>
                      <a:gd name="T108" fmla="*/ 47814 w 615"/>
                      <a:gd name="T109" fmla="*/ 9366 h 455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w 615"/>
                      <a:gd name="T166" fmla="*/ 0 h 455"/>
                      <a:gd name="T167" fmla="*/ 615 w 615"/>
                      <a:gd name="T168" fmla="*/ 455 h 455"/>
                    </a:gdLst>
                    <a:ahLst/>
                    <a:cxnLst>
                      <a:cxn ang="T110">
                        <a:pos x="T0" y="T1"/>
                      </a:cxn>
                      <a:cxn ang="T111">
                        <a:pos x="T2" y="T3"/>
                      </a:cxn>
                      <a:cxn ang="T112">
                        <a:pos x="T4" y="T5"/>
                      </a:cxn>
                      <a:cxn ang="T113">
                        <a:pos x="T6" y="T7"/>
                      </a:cxn>
                      <a:cxn ang="T114">
                        <a:pos x="T8" y="T9"/>
                      </a:cxn>
                      <a:cxn ang="T115">
                        <a:pos x="T10" y="T11"/>
                      </a:cxn>
                      <a:cxn ang="T116">
                        <a:pos x="T12" y="T13"/>
                      </a:cxn>
                      <a:cxn ang="T117">
                        <a:pos x="T14" y="T15"/>
                      </a:cxn>
                      <a:cxn ang="T118">
                        <a:pos x="T16" y="T17"/>
                      </a:cxn>
                      <a:cxn ang="T119">
                        <a:pos x="T18" y="T19"/>
                      </a:cxn>
                      <a:cxn ang="T120">
                        <a:pos x="T20" y="T21"/>
                      </a:cxn>
                      <a:cxn ang="T121">
                        <a:pos x="T22" y="T23"/>
                      </a:cxn>
                      <a:cxn ang="T122">
                        <a:pos x="T24" y="T25"/>
                      </a:cxn>
                      <a:cxn ang="T123">
                        <a:pos x="T26" y="T27"/>
                      </a:cxn>
                      <a:cxn ang="T124">
                        <a:pos x="T28" y="T29"/>
                      </a:cxn>
                      <a:cxn ang="T125">
                        <a:pos x="T30" y="T31"/>
                      </a:cxn>
                      <a:cxn ang="T126">
                        <a:pos x="T32" y="T33"/>
                      </a:cxn>
                      <a:cxn ang="T127">
                        <a:pos x="T34" y="T35"/>
                      </a:cxn>
                      <a:cxn ang="T128">
                        <a:pos x="T36" y="T37"/>
                      </a:cxn>
                      <a:cxn ang="T129">
                        <a:pos x="T38" y="T39"/>
                      </a:cxn>
                      <a:cxn ang="T130">
                        <a:pos x="T40" y="T41"/>
                      </a:cxn>
                      <a:cxn ang="T131">
                        <a:pos x="T42" y="T43"/>
                      </a:cxn>
                      <a:cxn ang="T132">
                        <a:pos x="T44" y="T45"/>
                      </a:cxn>
                      <a:cxn ang="T133">
                        <a:pos x="T46" y="T47"/>
                      </a:cxn>
                      <a:cxn ang="T134">
                        <a:pos x="T48" y="T49"/>
                      </a:cxn>
                      <a:cxn ang="T135">
                        <a:pos x="T50" y="T51"/>
                      </a:cxn>
                      <a:cxn ang="T136">
                        <a:pos x="T52" y="T53"/>
                      </a:cxn>
                      <a:cxn ang="T137">
                        <a:pos x="T54" y="T55"/>
                      </a:cxn>
                      <a:cxn ang="T138">
                        <a:pos x="T56" y="T57"/>
                      </a:cxn>
                      <a:cxn ang="T139">
                        <a:pos x="T58" y="T59"/>
                      </a:cxn>
                      <a:cxn ang="T140">
                        <a:pos x="T60" y="T61"/>
                      </a:cxn>
                      <a:cxn ang="T141">
                        <a:pos x="T62" y="T63"/>
                      </a:cxn>
                      <a:cxn ang="T142">
                        <a:pos x="T64" y="T65"/>
                      </a:cxn>
                      <a:cxn ang="T143">
                        <a:pos x="T66" y="T67"/>
                      </a:cxn>
                      <a:cxn ang="T144">
                        <a:pos x="T68" y="T69"/>
                      </a:cxn>
                      <a:cxn ang="T145">
                        <a:pos x="T70" y="T71"/>
                      </a:cxn>
                      <a:cxn ang="T146">
                        <a:pos x="T72" y="T73"/>
                      </a:cxn>
                      <a:cxn ang="T147">
                        <a:pos x="T74" y="T75"/>
                      </a:cxn>
                      <a:cxn ang="T148">
                        <a:pos x="T76" y="T77"/>
                      </a:cxn>
                      <a:cxn ang="T149">
                        <a:pos x="T78" y="T79"/>
                      </a:cxn>
                      <a:cxn ang="T150">
                        <a:pos x="T80" y="T81"/>
                      </a:cxn>
                      <a:cxn ang="T151">
                        <a:pos x="T82" y="T83"/>
                      </a:cxn>
                      <a:cxn ang="T152">
                        <a:pos x="T84" y="T85"/>
                      </a:cxn>
                      <a:cxn ang="T153">
                        <a:pos x="T86" y="T87"/>
                      </a:cxn>
                      <a:cxn ang="T154">
                        <a:pos x="T88" y="T89"/>
                      </a:cxn>
                      <a:cxn ang="T155">
                        <a:pos x="T90" y="T91"/>
                      </a:cxn>
                      <a:cxn ang="T156">
                        <a:pos x="T92" y="T93"/>
                      </a:cxn>
                      <a:cxn ang="T157">
                        <a:pos x="T94" y="T95"/>
                      </a:cxn>
                      <a:cxn ang="T158">
                        <a:pos x="T96" y="T97"/>
                      </a:cxn>
                      <a:cxn ang="T159">
                        <a:pos x="T98" y="T99"/>
                      </a:cxn>
                      <a:cxn ang="T160">
                        <a:pos x="T100" y="T101"/>
                      </a:cxn>
                      <a:cxn ang="T161">
                        <a:pos x="T102" y="T103"/>
                      </a:cxn>
                      <a:cxn ang="T162">
                        <a:pos x="T104" y="T105"/>
                      </a:cxn>
                      <a:cxn ang="T163">
                        <a:pos x="T106" y="T107"/>
                      </a:cxn>
                      <a:cxn ang="T164">
                        <a:pos x="T108" y="T109"/>
                      </a:cxn>
                    </a:cxnLst>
                    <a:rect l="T165" t="T166" r="T167" b="T168"/>
                    <a:pathLst>
                      <a:path w="615" h="455">
                        <a:moveTo>
                          <a:pt x="500" y="366"/>
                        </a:moveTo>
                        <a:lnTo>
                          <a:pt x="503" y="369"/>
                        </a:lnTo>
                        <a:lnTo>
                          <a:pt x="506" y="374"/>
                        </a:lnTo>
                        <a:lnTo>
                          <a:pt x="505" y="376"/>
                        </a:lnTo>
                        <a:lnTo>
                          <a:pt x="504" y="376"/>
                        </a:lnTo>
                        <a:lnTo>
                          <a:pt x="499" y="384"/>
                        </a:lnTo>
                        <a:lnTo>
                          <a:pt x="495" y="384"/>
                        </a:lnTo>
                        <a:lnTo>
                          <a:pt x="490" y="384"/>
                        </a:lnTo>
                        <a:lnTo>
                          <a:pt x="485" y="387"/>
                        </a:lnTo>
                        <a:lnTo>
                          <a:pt x="485" y="388"/>
                        </a:lnTo>
                        <a:lnTo>
                          <a:pt x="479" y="395"/>
                        </a:lnTo>
                        <a:lnTo>
                          <a:pt x="473" y="397"/>
                        </a:lnTo>
                        <a:lnTo>
                          <a:pt x="466" y="399"/>
                        </a:lnTo>
                        <a:lnTo>
                          <a:pt x="463" y="395"/>
                        </a:lnTo>
                        <a:lnTo>
                          <a:pt x="456" y="394"/>
                        </a:lnTo>
                        <a:lnTo>
                          <a:pt x="451" y="390"/>
                        </a:lnTo>
                        <a:lnTo>
                          <a:pt x="446" y="390"/>
                        </a:lnTo>
                        <a:lnTo>
                          <a:pt x="432" y="390"/>
                        </a:lnTo>
                        <a:lnTo>
                          <a:pt x="425" y="393"/>
                        </a:lnTo>
                        <a:lnTo>
                          <a:pt x="412" y="392"/>
                        </a:lnTo>
                        <a:lnTo>
                          <a:pt x="394" y="393"/>
                        </a:lnTo>
                        <a:lnTo>
                          <a:pt x="387" y="395"/>
                        </a:lnTo>
                        <a:lnTo>
                          <a:pt x="377" y="405"/>
                        </a:lnTo>
                        <a:lnTo>
                          <a:pt x="365" y="412"/>
                        </a:lnTo>
                        <a:lnTo>
                          <a:pt x="357" y="414"/>
                        </a:lnTo>
                        <a:lnTo>
                          <a:pt x="339" y="410"/>
                        </a:lnTo>
                        <a:lnTo>
                          <a:pt x="332" y="409"/>
                        </a:lnTo>
                        <a:lnTo>
                          <a:pt x="316" y="399"/>
                        </a:lnTo>
                        <a:lnTo>
                          <a:pt x="303" y="392"/>
                        </a:lnTo>
                        <a:lnTo>
                          <a:pt x="294" y="392"/>
                        </a:lnTo>
                        <a:lnTo>
                          <a:pt x="288" y="394"/>
                        </a:lnTo>
                        <a:lnTo>
                          <a:pt x="277" y="400"/>
                        </a:lnTo>
                        <a:lnTo>
                          <a:pt x="271" y="406"/>
                        </a:lnTo>
                        <a:lnTo>
                          <a:pt x="265" y="406"/>
                        </a:lnTo>
                        <a:lnTo>
                          <a:pt x="262" y="404"/>
                        </a:lnTo>
                        <a:lnTo>
                          <a:pt x="257" y="400"/>
                        </a:lnTo>
                        <a:lnTo>
                          <a:pt x="242" y="387"/>
                        </a:lnTo>
                        <a:lnTo>
                          <a:pt x="216" y="374"/>
                        </a:lnTo>
                        <a:lnTo>
                          <a:pt x="205" y="374"/>
                        </a:lnTo>
                        <a:lnTo>
                          <a:pt x="199" y="376"/>
                        </a:lnTo>
                        <a:lnTo>
                          <a:pt x="194" y="377"/>
                        </a:lnTo>
                        <a:lnTo>
                          <a:pt x="183" y="376"/>
                        </a:lnTo>
                        <a:lnTo>
                          <a:pt x="169" y="379"/>
                        </a:lnTo>
                        <a:lnTo>
                          <a:pt x="157" y="388"/>
                        </a:lnTo>
                        <a:lnTo>
                          <a:pt x="156" y="390"/>
                        </a:lnTo>
                        <a:lnTo>
                          <a:pt x="153" y="403"/>
                        </a:lnTo>
                        <a:lnTo>
                          <a:pt x="148" y="412"/>
                        </a:lnTo>
                        <a:lnTo>
                          <a:pt x="145" y="417"/>
                        </a:lnTo>
                        <a:lnTo>
                          <a:pt x="141" y="419"/>
                        </a:lnTo>
                        <a:lnTo>
                          <a:pt x="137" y="422"/>
                        </a:lnTo>
                        <a:lnTo>
                          <a:pt x="136" y="426"/>
                        </a:lnTo>
                        <a:lnTo>
                          <a:pt x="135" y="431"/>
                        </a:lnTo>
                        <a:lnTo>
                          <a:pt x="136" y="448"/>
                        </a:lnTo>
                        <a:lnTo>
                          <a:pt x="136" y="455"/>
                        </a:lnTo>
                        <a:lnTo>
                          <a:pt x="130" y="448"/>
                        </a:lnTo>
                        <a:lnTo>
                          <a:pt x="125" y="445"/>
                        </a:lnTo>
                        <a:lnTo>
                          <a:pt x="116" y="437"/>
                        </a:lnTo>
                        <a:lnTo>
                          <a:pt x="109" y="429"/>
                        </a:lnTo>
                        <a:lnTo>
                          <a:pt x="106" y="428"/>
                        </a:lnTo>
                        <a:lnTo>
                          <a:pt x="100" y="431"/>
                        </a:lnTo>
                        <a:lnTo>
                          <a:pt x="97" y="431"/>
                        </a:lnTo>
                        <a:lnTo>
                          <a:pt x="89" y="434"/>
                        </a:lnTo>
                        <a:lnTo>
                          <a:pt x="90" y="436"/>
                        </a:lnTo>
                        <a:lnTo>
                          <a:pt x="93" y="443"/>
                        </a:lnTo>
                        <a:lnTo>
                          <a:pt x="90" y="445"/>
                        </a:lnTo>
                        <a:lnTo>
                          <a:pt x="89" y="445"/>
                        </a:lnTo>
                        <a:lnTo>
                          <a:pt x="82" y="438"/>
                        </a:lnTo>
                        <a:lnTo>
                          <a:pt x="77" y="432"/>
                        </a:lnTo>
                        <a:lnTo>
                          <a:pt x="76" y="431"/>
                        </a:lnTo>
                        <a:lnTo>
                          <a:pt x="77" y="428"/>
                        </a:lnTo>
                        <a:lnTo>
                          <a:pt x="80" y="427"/>
                        </a:lnTo>
                        <a:lnTo>
                          <a:pt x="83" y="428"/>
                        </a:lnTo>
                        <a:lnTo>
                          <a:pt x="85" y="426"/>
                        </a:lnTo>
                        <a:lnTo>
                          <a:pt x="83" y="425"/>
                        </a:lnTo>
                        <a:lnTo>
                          <a:pt x="78" y="417"/>
                        </a:lnTo>
                        <a:lnTo>
                          <a:pt x="75" y="416"/>
                        </a:lnTo>
                        <a:lnTo>
                          <a:pt x="71" y="416"/>
                        </a:lnTo>
                        <a:lnTo>
                          <a:pt x="68" y="419"/>
                        </a:lnTo>
                        <a:lnTo>
                          <a:pt x="65" y="421"/>
                        </a:lnTo>
                        <a:lnTo>
                          <a:pt x="63" y="421"/>
                        </a:lnTo>
                        <a:lnTo>
                          <a:pt x="55" y="417"/>
                        </a:lnTo>
                        <a:lnTo>
                          <a:pt x="50" y="416"/>
                        </a:lnTo>
                        <a:lnTo>
                          <a:pt x="42" y="406"/>
                        </a:lnTo>
                        <a:lnTo>
                          <a:pt x="40" y="402"/>
                        </a:lnTo>
                        <a:lnTo>
                          <a:pt x="35" y="392"/>
                        </a:lnTo>
                        <a:lnTo>
                          <a:pt x="30" y="386"/>
                        </a:lnTo>
                        <a:lnTo>
                          <a:pt x="19" y="376"/>
                        </a:lnTo>
                        <a:lnTo>
                          <a:pt x="10" y="366"/>
                        </a:lnTo>
                        <a:lnTo>
                          <a:pt x="9" y="361"/>
                        </a:lnTo>
                        <a:lnTo>
                          <a:pt x="9" y="355"/>
                        </a:lnTo>
                        <a:lnTo>
                          <a:pt x="7" y="353"/>
                        </a:lnTo>
                        <a:lnTo>
                          <a:pt x="1" y="348"/>
                        </a:lnTo>
                        <a:lnTo>
                          <a:pt x="0" y="346"/>
                        </a:lnTo>
                        <a:lnTo>
                          <a:pt x="2" y="339"/>
                        </a:lnTo>
                        <a:lnTo>
                          <a:pt x="2" y="332"/>
                        </a:lnTo>
                        <a:lnTo>
                          <a:pt x="4" y="328"/>
                        </a:lnTo>
                        <a:lnTo>
                          <a:pt x="29" y="328"/>
                        </a:lnTo>
                        <a:lnTo>
                          <a:pt x="47" y="315"/>
                        </a:lnTo>
                        <a:lnTo>
                          <a:pt x="109" y="314"/>
                        </a:lnTo>
                        <a:lnTo>
                          <a:pt x="113" y="315"/>
                        </a:lnTo>
                        <a:lnTo>
                          <a:pt x="113" y="311"/>
                        </a:lnTo>
                        <a:lnTo>
                          <a:pt x="123" y="313"/>
                        </a:lnTo>
                        <a:lnTo>
                          <a:pt x="130" y="314"/>
                        </a:lnTo>
                        <a:lnTo>
                          <a:pt x="130" y="311"/>
                        </a:lnTo>
                        <a:lnTo>
                          <a:pt x="133" y="308"/>
                        </a:lnTo>
                        <a:lnTo>
                          <a:pt x="135" y="306"/>
                        </a:lnTo>
                        <a:lnTo>
                          <a:pt x="144" y="301"/>
                        </a:lnTo>
                        <a:lnTo>
                          <a:pt x="145" y="296"/>
                        </a:lnTo>
                        <a:lnTo>
                          <a:pt x="147" y="292"/>
                        </a:lnTo>
                        <a:lnTo>
                          <a:pt x="153" y="288"/>
                        </a:lnTo>
                        <a:lnTo>
                          <a:pt x="157" y="287"/>
                        </a:lnTo>
                        <a:lnTo>
                          <a:pt x="157" y="250"/>
                        </a:lnTo>
                        <a:lnTo>
                          <a:pt x="157" y="214"/>
                        </a:lnTo>
                        <a:lnTo>
                          <a:pt x="157" y="177"/>
                        </a:lnTo>
                        <a:lnTo>
                          <a:pt x="157" y="170"/>
                        </a:lnTo>
                        <a:lnTo>
                          <a:pt x="157" y="167"/>
                        </a:lnTo>
                        <a:lnTo>
                          <a:pt x="162" y="167"/>
                        </a:lnTo>
                        <a:lnTo>
                          <a:pt x="207" y="157"/>
                        </a:lnTo>
                        <a:lnTo>
                          <a:pt x="216" y="154"/>
                        </a:lnTo>
                        <a:lnTo>
                          <a:pt x="247" y="134"/>
                        </a:lnTo>
                        <a:lnTo>
                          <a:pt x="278" y="113"/>
                        </a:lnTo>
                        <a:lnTo>
                          <a:pt x="308" y="94"/>
                        </a:lnTo>
                        <a:lnTo>
                          <a:pt x="339" y="74"/>
                        </a:lnTo>
                        <a:lnTo>
                          <a:pt x="370" y="53"/>
                        </a:lnTo>
                        <a:lnTo>
                          <a:pt x="401" y="34"/>
                        </a:lnTo>
                        <a:lnTo>
                          <a:pt x="432" y="14"/>
                        </a:lnTo>
                        <a:lnTo>
                          <a:pt x="450" y="2"/>
                        </a:lnTo>
                        <a:lnTo>
                          <a:pt x="453" y="0"/>
                        </a:lnTo>
                        <a:lnTo>
                          <a:pt x="456" y="0"/>
                        </a:lnTo>
                        <a:lnTo>
                          <a:pt x="477" y="0"/>
                        </a:lnTo>
                        <a:lnTo>
                          <a:pt x="507" y="0"/>
                        </a:lnTo>
                        <a:lnTo>
                          <a:pt x="536" y="2"/>
                        </a:lnTo>
                        <a:lnTo>
                          <a:pt x="542" y="4"/>
                        </a:lnTo>
                        <a:lnTo>
                          <a:pt x="545" y="5"/>
                        </a:lnTo>
                        <a:lnTo>
                          <a:pt x="548" y="9"/>
                        </a:lnTo>
                        <a:lnTo>
                          <a:pt x="558" y="14"/>
                        </a:lnTo>
                        <a:lnTo>
                          <a:pt x="561" y="15"/>
                        </a:lnTo>
                        <a:lnTo>
                          <a:pt x="564" y="22"/>
                        </a:lnTo>
                        <a:lnTo>
                          <a:pt x="577" y="19"/>
                        </a:lnTo>
                        <a:lnTo>
                          <a:pt x="577" y="75"/>
                        </a:lnTo>
                        <a:lnTo>
                          <a:pt x="578" y="78"/>
                        </a:lnTo>
                        <a:lnTo>
                          <a:pt x="581" y="85"/>
                        </a:lnTo>
                        <a:lnTo>
                          <a:pt x="581" y="87"/>
                        </a:lnTo>
                        <a:lnTo>
                          <a:pt x="585" y="93"/>
                        </a:lnTo>
                        <a:lnTo>
                          <a:pt x="587" y="99"/>
                        </a:lnTo>
                        <a:lnTo>
                          <a:pt x="590" y="103"/>
                        </a:lnTo>
                        <a:lnTo>
                          <a:pt x="594" y="108"/>
                        </a:lnTo>
                        <a:lnTo>
                          <a:pt x="599" y="111"/>
                        </a:lnTo>
                        <a:lnTo>
                          <a:pt x="615" y="119"/>
                        </a:lnTo>
                        <a:lnTo>
                          <a:pt x="604" y="135"/>
                        </a:lnTo>
                        <a:lnTo>
                          <a:pt x="594" y="188"/>
                        </a:lnTo>
                        <a:lnTo>
                          <a:pt x="591" y="254"/>
                        </a:lnTo>
                        <a:lnTo>
                          <a:pt x="589" y="257"/>
                        </a:lnTo>
                        <a:lnTo>
                          <a:pt x="525" y="325"/>
                        </a:lnTo>
                        <a:lnTo>
                          <a:pt x="525" y="332"/>
                        </a:lnTo>
                        <a:lnTo>
                          <a:pt x="522" y="333"/>
                        </a:lnTo>
                        <a:lnTo>
                          <a:pt x="522" y="340"/>
                        </a:lnTo>
                        <a:lnTo>
                          <a:pt x="516" y="342"/>
                        </a:lnTo>
                        <a:lnTo>
                          <a:pt x="513" y="345"/>
                        </a:lnTo>
                        <a:lnTo>
                          <a:pt x="514" y="352"/>
                        </a:lnTo>
                        <a:lnTo>
                          <a:pt x="511" y="354"/>
                        </a:lnTo>
                        <a:lnTo>
                          <a:pt x="508" y="355"/>
                        </a:lnTo>
                        <a:lnTo>
                          <a:pt x="504" y="358"/>
                        </a:lnTo>
                        <a:lnTo>
                          <a:pt x="500" y="363"/>
                        </a:lnTo>
                        <a:lnTo>
                          <a:pt x="500" y="366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4" name="Freeform 112"/>
                  <p:cNvSpPr>
                    <a:spLocks/>
                  </p:cNvSpPr>
                  <p:nvPr/>
                </p:nvSpPr>
                <p:spPr bwMode="auto">
                  <a:xfrm>
                    <a:off x="575" y="1398"/>
                    <a:ext cx="345" cy="270"/>
                  </a:xfrm>
                  <a:custGeom>
                    <a:avLst/>
                    <a:gdLst>
                      <a:gd name="T0" fmla="*/ 1 w 322"/>
                      <a:gd name="T1" fmla="*/ 6582 h 257"/>
                      <a:gd name="T2" fmla="*/ 3 w 322"/>
                      <a:gd name="T3" fmla="*/ 6582 h 257"/>
                      <a:gd name="T4" fmla="*/ 0 w 322"/>
                      <a:gd name="T5" fmla="*/ 6671 h 257"/>
                      <a:gd name="T6" fmla="*/ 0 w 322"/>
                      <a:gd name="T7" fmla="*/ 6540 h 257"/>
                      <a:gd name="T8" fmla="*/ 3 w 322"/>
                      <a:gd name="T9" fmla="*/ 5925 h 257"/>
                      <a:gd name="T10" fmla="*/ 969 w 322"/>
                      <a:gd name="T11" fmla="*/ 5476 h 257"/>
                      <a:gd name="T12" fmla="*/ 1802 w 322"/>
                      <a:gd name="T13" fmla="*/ 5347 h 257"/>
                      <a:gd name="T14" fmla="*/ 2634 w 322"/>
                      <a:gd name="T15" fmla="*/ 4895 h 257"/>
                      <a:gd name="T16" fmla="*/ 3131 w 322"/>
                      <a:gd name="T17" fmla="*/ 4675 h 257"/>
                      <a:gd name="T18" fmla="*/ 3024 w 322"/>
                      <a:gd name="T19" fmla="*/ 4530 h 257"/>
                      <a:gd name="T20" fmla="*/ 4270 w 322"/>
                      <a:gd name="T21" fmla="*/ 4047 h 257"/>
                      <a:gd name="T22" fmla="*/ 4575 w 322"/>
                      <a:gd name="T23" fmla="*/ 3906 h 257"/>
                      <a:gd name="T24" fmla="*/ 4738 w 322"/>
                      <a:gd name="T25" fmla="*/ 3754 h 257"/>
                      <a:gd name="T26" fmla="*/ 5076 w 322"/>
                      <a:gd name="T27" fmla="*/ 3641 h 257"/>
                      <a:gd name="T28" fmla="*/ 7067 w 322"/>
                      <a:gd name="T29" fmla="*/ 3081 h 257"/>
                      <a:gd name="T30" fmla="*/ 8113 w 322"/>
                      <a:gd name="T31" fmla="*/ 2658 h 257"/>
                      <a:gd name="T32" fmla="*/ 8229 w 322"/>
                      <a:gd name="T33" fmla="*/ 2375 h 257"/>
                      <a:gd name="T34" fmla="*/ 8817 w 322"/>
                      <a:gd name="T35" fmla="*/ 1958 h 257"/>
                      <a:gd name="T36" fmla="*/ 9294 w 322"/>
                      <a:gd name="T37" fmla="*/ 1600 h 257"/>
                      <a:gd name="T38" fmla="*/ 10413 w 322"/>
                      <a:gd name="T39" fmla="*/ 1314 h 257"/>
                      <a:gd name="T40" fmla="*/ 11575 w 322"/>
                      <a:gd name="T41" fmla="*/ 1083 h 257"/>
                      <a:gd name="T42" fmla="*/ 12808 w 322"/>
                      <a:gd name="T43" fmla="*/ 889 h 257"/>
                      <a:gd name="T44" fmla="*/ 13128 w 322"/>
                      <a:gd name="T45" fmla="*/ 596 h 257"/>
                      <a:gd name="T46" fmla="*/ 13288 w 322"/>
                      <a:gd name="T47" fmla="*/ 489 h 257"/>
                      <a:gd name="T48" fmla="*/ 13723 w 322"/>
                      <a:gd name="T49" fmla="*/ 365 h 257"/>
                      <a:gd name="T50" fmla="*/ 14237 w 322"/>
                      <a:gd name="T51" fmla="*/ 4 h 257"/>
                      <a:gd name="T52" fmla="*/ 14703 w 322"/>
                      <a:gd name="T53" fmla="*/ 0 h 257"/>
                      <a:gd name="T54" fmla="*/ 15096 w 322"/>
                      <a:gd name="T55" fmla="*/ 0 h 257"/>
                      <a:gd name="T56" fmla="*/ 17329 w 322"/>
                      <a:gd name="T57" fmla="*/ 0 h 257"/>
                      <a:gd name="T58" fmla="*/ 19861 w 322"/>
                      <a:gd name="T59" fmla="*/ 0 h 257"/>
                      <a:gd name="T60" fmla="*/ 22495 w 322"/>
                      <a:gd name="T61" fmla="*/ 0 h 257"/>
                      <a:gd name="T62" fmla="*/ 25347 w 322"/>
                      <a:gd name="T63" fmla="*/ 0 h 257"/>
                      <a:gd name="T64" fmla="*/ 28153 w 322"/>
                      <a:gd name="T65" fmla="*/ 0 h 257"/>
                      <a:gd name="T66" fmla="*/ 30539 w 322"/>
                      <a:gd name="T67" fmla="*/ 0 h 257"/>
                      <a:gd name="T68" fmla="*/ 30539 w 322"/>
                      <a:gd name="T69" fmla="*/ 489 h 257"/>
                      <a:gd name="T70" fmla="*/ 30539 w 322"/>
                      <a:gd name="T71" fmla="*/ 1608 h 257"/>
                      <a:gd name="T72" fmla="*/ 27158 w 322"/>
                      <a:gd name="T73" fmla="*/ 1608 h 257"/>
                      <a:gd name="T74" fmla="*/ 23524 w 322"/>
                      <a:gd name="T75" fmla="*/ 1608 h 257"/>
                      <a:gd name="T76" fmla="*/ 19893 w 322"/>
                      <a:gd name="T77" fmla="*/ 1608 h 257"/>
                      <a:gd name="T78" fmla="*/ 18762 w 322"/>
                      <a:gd name="T79" fmla="*/ 1608 h 257"/>
                      <a:gd name="T80" fmla="*/ 18762 w 322"/>
                      <a:gd name="T81" fmla="*/ 2621 h 257"/>
                      <a:gd name="T82" fmla="*/ 18762 w 322"/>
                      <a:gd name="T83" fmla="*/ 3573 h 257"/>
                      <a:gd name="T84" fmla="*/ 18762 w 322"/>
                      <a:gd name="T85" fmla="*/ 4179 h 257"/>
                      <a:gd name="T86" fmla="*/ 17454 w 322"/>
                      <a:gd name="T87" fmla="*/ 4279 h 257"/>
                      <a:gd name="T88" fmla="*/ 16174 w 322"/>
                      <a:gd name="T89" fmla="*/ 4294 h 257"/>
                      <a:gd name="T90" fmla="*/ 15254 w 322"/>
                      <a:gd name="T91" fmla="*/ 4435 h 257"/>
                      <a:gd name="T92" fmla="*/ 14984 w 322"/>
                      <a:gd name="T93" fmla="*/ 4450 h 257"/>
                      <a:gd name="T94" fmla="*/ 14734 w 322"/>
                      <a:gd name="T95" fmla="*/ 4530 h 257"/>
                      <a:gd name="T96" fmla="*/ 14292 w 322"/>
                      <a:gd name="T97" fmla="*/ 4739 h 257"/>
                      <a:gd name="T98" fmla="*/ 14237 w 322"/>
                      <a:gd name="T99" fmla="*/ 4895 h 257"/>
                      <a:gd name="T100" fmla="*/ 14292 w 322"/>
                      <a:gd name="T101" fmla="*/ 5321 h 257"/>
                      <a:gd name="T102" fmla="*/ 14703 w 322"/>
                      <a:gd name="T103" fmla="*/ 5676 h 257"/>
                      <a:gd name="T104" fmla="*/ 14734 w 322"/>
                      <a:gd name="T105" fmla="*/ 5982 h 257"/>
                      <a:gd name="T106" fmla="*/ 14785 w 322"/>
                      <a:gd name="T107" fmla="*/ 6265 h 257"/>
                      <a:gd name="T108" fmla="*/ 13128 w 322"/>
                      <a:gd name="T109" fmla="*/ 6265 h 257"/>
                      <a:gd name="T110" fmla="*/ 9773 w 322"/>
                      <a:gd name="T111" fmla="*/ 6265 h 257"/>
                      <a:gd name="T112" fmla="*/ 6244 w 322"/>
                      <a:gd name="T113" fmla="*/ 6265 h 257"/>
                      <a:gd name="T114" fmla="*/ 3024 w 322"/>
                      <a:gd name="T115" fmla="*/ 6265 h 257"/>
                      <a:gd name="T116" fmla="*/ 1038 w 322"/>
                      <a:gd name="T117" fmla="*/ 6265 h 257"/>
                      <a:gd name="T118" fmla="*/ 969 w 322"/>
                      <a:gd name="T119" fmla="*/ 6373 h 257"/>
                      <a:gd name="T120" fmla="*/ 3 w 322"/>
                      <a:gd name="T121" fmla="*/ 6513 h 257"/>
                      <a:gd name="T122" fmla="*/ 1 w 322"/>
                      <a:gd name="T123" fmla="*/ 6582 h 257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322"/>
                      <a:gd name="T187" fmla="*/ 0 h 257"/>
                      <a:gd name="T188" fmla="*/ 322 w 322"/>
                      <a:gd name="T189" fmla="*/ 257 h 257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322" h="257">
                        <a:moveTo>
                          <a:pt x="1" y="254"/>
                        </a:moveTo>
                        <a:lnTo>
                          <a:pt x="3" y="254"/>
                        </a:lnTo>
                        <a:lnTo>
                          <a:pt x="0" y="257"/>
                        </a:lnTo>
                        <a:lnTo>
                          <a:pt x="0" y="252"/>
                        </a:lnTo>
                        <a:lnTo>
                          <a:pt x="3" y="228"/>
                        </a:lnTo>
                        <a:lnTo>
                          <a:pt x="10" y="211"/>
                        </a:lnTo>
                        <a:lnTo>
                          <a:pt x="19" y="206"/>
                        </a:lnTo>
                        <a:lnTo>
                          <a:pt x="28" y="188"/>
                        </a:lnTo>
                        <a:lnTo>
                          <a:pt x="33" y="180"/>
                        </a:lnTo>
                        <a:lnTo>
                          <a:pt x="32" y="175"/>
                        </a:lnTo>
                        <a:lnTo>
                          <a:pt x="45" y="156"/>
                        </a:lnTo>
                        <a:lnTo>
                          <a:pt x="48" y="151"/>
                        </a:lnTo>
                        <a:lnTo>
                          <a:pt x="50" y="145"/>
                        </a:lnTo>
                        <a:lnTo>
                          <a:pt x="54" y="140"/>
                        </a:lnTo>
                        <a:lnTo>
                          <a:pt x="74" y="119"/>
                        </a:lnTo>
                        <a:lnTo>
                          <a:pt x="85" y="103"/>
                        </a:lnTo>
                        <a:lnTo>
                          <a:pt x="87" y="91"/>
                        </a:lnTo>
                        <a:lnTo>
                          <a:pt x="93" y="76"/>
                        </a:lnTo>
                        <a:lnTo>
                          <a:pt x="97" y="62"/>
                        </a:lnTo>
                        <a:lnTo>
                          <a:pt x="108" y="50"/>
                        </a:lnTo>
                        <a:lnTo>
                          <a:pt x="122" y="43"/>
                        </a:lnTo>
                        <a:lnTo>
                          <a:pt x="133" y="35"/>
                        </a:lnTo>
                        <a:lnTo>
                          <a:pt x="138" y="24"/>
                        </a:lnTo>
                        <a:lnTo>
                          <a:pt x="140" y="20"/>
                        </a:lnTo>
                        <a:lnTo>
                          <a:pt x="143" y="14"/>
                        </a:lnTo>
                        <a:lnTo>
                          <a:pt x="150" y="4"/>
                        </a:lnTo>
                        <a:lnTo>
                          <a:pt x="153" y="0"/>
                        </a:lnTo>
                        <a:lnTo>
                          <a:pt x="160" y="0"/>
                        </a:lnTo>
                        <a:lnTo>
                          <a:pt x="183" y="0"/>
                        </a:lnTo>
                        <a:lnTo>
                          <a:pt x="209" y="0"/>
                        </a:lnTo>
                        <a:lnTo>
                          <a:pt x="237" y="0"/>
                        </a:lnTo>
                        <a:lnTo>
                          <a:pt x="266" y="0"/>
                        </a:lnTo>
                        <a:lnTo>
                          <a:pt x="297" y="0"/>
                        </a:lnTo>
                        <a:lnTo>
                          <a:pt x="322" y="0"/>
                        </a:lnTo>
                        <a:lnTo>
                          <a:pt x="322" y="20"/>
                        </a:lnTo>
                        <a:lnTo>
                          <a:pt x="322" y="63"/>
                        </a:lnTo>
                        <a:lnTo>
                          <a:pt x="285" y="63"/>
                        </a:lnTo>
                        <a:lnTo>
                          <a:pt x="247" y="63"/>
                        </a:lnTo>
                        <a:lnTo>
                          <a:pt x="210" y="63"/>
                        </a:lnTo>
                        <a:lnTo>
                          <a:pt x="198" y="63"/>
                        </a:lnTo>
                        <a:lnTo>
                          <a:pt x="198" y="101"/>
                        </a:lnTo>
                        <a:lnTo>
                          <a:pt x="198" y="138"/>
                        </a:lnTo>
                        <a:lnTo>
                          <a:pt x="198" y="161"/>
                        </a:lnTo>
                        <a:lnTo>
                          <a:pt x="184" y="165"/>
                        </a:lnTo>
                        <a:lnTo>
                          <a:pt x="171" y="166"/>
                        </a:lnTo>
                        <a:lnTo>
                          <a:pt x="161" y="170"/>
                        </a:lnTo>
                        <a:lnTo>
                          <a:pt x="157" y="171"/>
                        </a:lnTo>
                        <a:lnTo>
                          <a:pt x="154" y="175"/>
                        </a:lnTo>
                        <a:lnTo>
                          <a:pt x="151" y="183"/>
                        </a:lnTo>
                        <a:lnTo>
                          <a:pt x="150" y="188"/>
                        </a:lnTo>
                        <a:lnTo>
                          <a:pt x="151" y="205"/>
                        </a:lnTo>
                        <a:lnTo>
                          <a:pt x="153" y="219"/>
                        </a:lnTo>
                        <a:lnTo>
                          <a:pt x="154" y="231"/>
                        </a:lnTo>
                        <a:lnTo>
                          <a:pt x="155" y="242"/>
                        </a:lnTo>
                        <a:lnTo>
                          <a:pt x="138" y="242"/>
                        </a:lnTo>
                        <a:lnTo>
                          <a:pt x="103" y="242"/>
                        </a:lnTo>
                        <a:lnTo>
                          <a:pt x="66" y="242"/>
                        </a:lnTo>
                        <a:lnTo>
                          <a:pt x="32" y="242"/>
                        </a:lnTo>
                        <a:lnTo>
                          <a:pt x="11" y="242"/>
                        </a:lnTo>
                        <a:lnTo>
                          <a:pt x="10" y="246"/>
                        </a:lnTo>
                        <a:lnTo>
                          <a:pt x="3" y="250"/>
                        </a:lnTo>
                        <a:lnTo>
                          <a:pt x="1" y="25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5" name="Freeform 113"/>
                  <p:cNvSpPr>
                    <a:spLocks/>
                  </p:cNvSpPr>
                  <p:nvPr/>
                </p:nvSpPr>
                <p:spPr bwMode="auto">
                  <a:xfrm>
                    <a:off x="575" y="1398"/>
                    <a:ext cx="345" cy="270"/>
                  </a:xfrm>
                  <a:custGeom>
                    <a:avLst/>
                    <a:gdLst>
                      <a:gd name="T0" fmla="*/ 1 w 322"/>
                      <a:gd name="T1" fmla="*/ 6582 h 257"/>
                      <a:gd name="T2" fmla="*/ 3 w 322"/>
                      <a:gd name="T3" fmla="*/ 6582 h 257"/>
                      <a:gd name="T4" fmla="*/ 0 w 322"/>
                      <a:gd name="T5" fmla="*/ 6671 h 257"/>
                      <a:gd name="T6" fmla="*/ 0 w 322"/>
                      <a:gd name="T7" fmla="*/ 6540 h 257"/>
                      <a:gd name="T8" fmla="*/ 3 w 322"/>
                      <a:gd name="T9" fmla="*/ 5925 h 257"/>
                      <a:gd name="T10" fmla="*/ 969 w 322"/>
                      <a:gd name="T11" fmla="*/ 5476 h 257"/>
                      <a:gd name="T12" fmla="*/ 1802 w 322"/>
                      <a:gd name="T13" fmla="*/ 5347 h 257"/>
                      <a:gd name="T14" fmla="*/ 2634 w 322"/>
                      <a:gd name="T15" fmla="*/ 4895 h 257"/>
                      <a:gd name="T16" fmla="*/ 3131 w 322"/>
                      <a:gd name="T17" fmla="*/ 4675 h 257"/>
                      <a:gd name="T18" fmla="*/ 3024 w 322"/>
                      <a:gd name="T19" fmla="*/ 4530 h 257"/>
                      <a:gd name="T20" fmla="*/ 4270 w 322"/>
                      <a:gd name="T21" fmla="*/ 4047 h 257"/>
                      <a:gd name="T22" fmla="*/ 4575 w 322"/>
                      <a:gd name="T23" fmla="*/ 3906 h 257"/>
                      <a:gd name="T24" fmla="*/ 4738 w 322"/>
                      <a:gd name="T25" fmla="*/ 3754 h 257"/>
                      <a:gd name="T26" fmla="*/ 5076 w 322"/>
                      <a:gd name="T27" fmla="*/ 3641 h 257"/>
                      <a:gd name="T28" fmla="*/ 7067 w 322"/>
                      <a:gd name="T29" fmla="*/ 3081 h 257"/>
                      <a:gd name="T30" fmla="*/ 8113 w 322"/>
                      <a:gd name="T31" fmla="*/ 2658 h 257"/>
                      <a:gd name="T32" fmla="*/ 8229 w 322"/>
                      <a:gd name="T33" fmla="*/ 2375 h 257"/>
                      <a:gd name="T34" fmla="*/ 8817 w 322"/>
                      <a:gd name="T35" fmla="*/ 1958 h 257"/>
                      <a:gd name="T36" fmla="*/ 9294 w 322"/>
                      <a:gd name="T37" fmla="*/ 1600 h 257"/>
                      <a:gd name="T38" fmla="*/ 10413 w 322"/>
                      <a:gd name="T39" fmla="*/ 1314 h 257"/>
                      <a:gd name="T40" fmla="*/ 11575 w 322"/>
                      <a:gd name="T41" fmla="*/ 1083 h 257"/>
                      <a:gd name="T42" fmla="*/ 12808 w 322"/>
                      <a:gd name="T43" fmla="*/ 889 h 257"/>
                      <a:gd name="T44" fmla="*/ 13128 w 322"/>
                      <a:gd name="T45" fmla="*/ 596 h 257"/>
                      <a:gd name="T46" fmla="*/ 13288 w 322"/>
                      <a:gd name="T47" fmla="*/ 489 h 257"/>
                      <a:gd name="T48" fmla="*/ 13723 w 322"/>
                      <a:gd name="T49" fmla="*/ 365 h 257"/>
                      <a:gd name="T50" fmla="*/ 14237 w 322"/>
                      <a:gd name="T51" fmla="*/ 4 h 257"/>
                      <a:gd name="T52" fmla="*/ 14703 w 322"/>
                      <a:gd name="T53" fmla="*/ 0 h 257"/>
                      <a:gd name="T54" fmla="*/ 15096 w 322"/>
                      <a:gd name="T55" fmla="*/ 0 h 257"/>
                      <a:gd name="T56" fmla="*/ 17329 w 322"/>
                      <a:gd name="T57" fmla="*/ 0 h 257"/>
                      <a:gd name="T58" fmla="*/ 19861 w 322"/>
                      <a:gd name="T59" fmla="*/ 0 h 257"/>
                      <a:gd name="T60" fmla="*/ 22495 w 322"/>
                      <a:gd name="T61" fmla="*/ 0 h 257"/>
                      <a:gd name="T62" fmla="*/ 25347 w 322"/>
                      <a:gd name="T63" fmla="*/ 0 h 257"/>
                      <a:gd name="T64" fmla="*/ 28153 w 322"/>
                      <a:gd name="T65" fmla="*/ 0 h 257"/>
                      <a:gd name="T66" fmla="*/ 30539 w 322"/>
                      <a:gd name="T67" fmla="*/ 0 h 257"/>
                      <a:gd name="T68" fmla="*/ 30539 w 322"/>
                      <a:gd name="T69" fmla="*/ 489 h 257"/>
                      <a:gd name="T70" fmla="*/ 30539 w 322"/>
                      <a:gd name="T71" fmla="*/ 1608 h 257"/>
                      <a:gd name="T72" fmla="*/ 27158 w 322"/>
                      <a:gd name="T73" fmla="*/ 1608 h 257"/>
                      <a:gd name="T74" fmla="*/ 23524 w 322"/>
                      <a:gd name="T75" fmla="*/ 1608 h 257"/>
                      <a:gd name="T76" fmla="*/ 19893 w 322"/>
                      <a:gd name="T77" fmla="*/ 1608 h 257"/>
                      <a:gd name="T78" fmla="*/ 18762 w 322"/>
                      <a:gd name="T79" fmla="*/ 1608 h 257"/>
                      <a:gd name="T80" fmla="*/ 18762 w 322"/>
                      <a:gd name="T81" fmla="*/ 2621 h 257"/>
                      <a:gd name="T82" fmla="*/ 18762 w 322"/>
                      <a:gd name="T83" fmla="*/ 3573 h 257"/>
                      <a:gd name="T84" fmla="*/ 18762 w 322"/>
                      <a:gd name="T85" fmla="*/ 4179 h 257"/>
                      <a:gd name="T86" fmla="*/ 17454 w 322"/>
                      <a:gd name="T87" fmla="*/ 4279 h 257"/>
                      <a:gd name="T88" fmla="*/ 16174 w 322"/>
                      <a:gd name="T89" fmla="*/ 4294 h 257"/>
                      <a:gd name="T90" fmla="*/ 15254 w 322"/>
                      <a:gd name="T91" fmla="*/ 4435 h 257"/>
                      <a:gd name="T92" fmla="*/ 14984 w 322"/>
                      <a:gd name="T93" fmla="*/ 4450 h 257"/>
                      <a:gd name="T94" fmla="*/ 14734 w 322"/>
                      <a:gd name="T95" fmla="*/ 4530 h 257"/>
                      <a:gd name="T96" fmla="*/ 14292 w 322"/>
                      <a:gd name="T97" fmla="*/ 4739 h 257"/>
                      <a:gd name="T98" fmla="*/ 14237 w 322"/>
                      <a:gd name="T99" fmla="*/ 4895 h 257"/>
                      <a:gd name="T100" fmla="*/ 14292 w 322"/>
                      <a:gd name="T101" fmla="*/ 5321 h 257"/>
                      <a:gd name="T102" fmla="*/ 14703 w 322"/>
                      <a:gd name="T103" fmla="*/ 5676 h 257"/>
                      <a:gd name="T104" fmla="*/ 14734 w 322"/>
                      <a:gd name="T105" fmla="*/ 5982 h 257"/>
                      <a:gd name="T106" fmla="*/ 14785 w 322"/>
                      <a:gd name="T107" fmla="*/ 6265 h 257"/>
                      <a:gd name="T108" fmla="*/ 13128 w 322"/>
                      <a:gd name="T109" fmla="*/ 6265 h 257"/>
                      <a:gd name="T110" fmla="*/ 9773 w 322"/>
                      <a:gd name="T111" fmla="*/ 6265 h 257"/>
                      <a:gd name="T112" fmla="*/ 6244 w 322"/>
                      <a:gd name="T113" fmla="*/ 6265 h 257"/>
                      <a:gd name="T114" fmla="*/ 3024 w 322"/>
                      <a:gd name="T115" fmla="*/ 6265 h 257"/>
                      <a:gd name="T116" fmla="*/ 1038 w 322"/>
                      <a:gd name="T117" fmla="*/ 6265 h 257"/>
                      <a:gd name="T118" fmla="*/ 969 w 322"/>
                      <a:gd name="T119" fmla="*/ 6373 h 257"/>
                      <a:gd name="T120" fmla="*/ 3 w 322"/>
                      <a:gd name="T121" fmla="*/ 6513 h 257"/>
                      <a:gd name="T122" fmla="*/ 1 w 322"/>
                      <a:gd name="T123" fmla="*/ 6582 h 257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w 322"/>
                      <a:gd name="T187" fmla="*/ 0 h 257"/>
                      <a:gd name="T188" fmla="*/ 322 w 322"/>
                      <a:gd name="T189" fmla="*/ 257 h 257"/>
                    </a:gdLst>
                    <a:ahLst/>
                    <a:cxnLst>
                      <a:cxn ang="T124">
                        <a:pos x="T0" y="T1"/>
                      </a:cxn>
                      <a:cxn ang="T125">
                        <a:pos x="T2" y="T3"/>
                      </a:cxn>
                      <a:cxn ang="T126">
                        <a:pos x="T4" y="T5"/>
                      </a:cxn>
                      <a:cxn ang="T127">
                        <a:pos x="T6" y="T7"/>
                      </a:cxn>
                      <a:cxn ang="T128">
                        <a:pos x="T8" y="T9"/>
                      </a:cxn>
                      <a:cxn ang="T129">
                        <a:pos x="T10" y="T11"/>
                      </a:cxn>
                      <a:cxn ang="T130">
                        <a:pos x="T12" y="T13"/>
                      </a:cxn>
                      <a:cxn ang="T131">
                        <a:pos x="T14" y="T15"/>
                      </a:cxn>
                      <a:cxn ang="T132">
                        <a:pos x="T16" y="T17"/>
                      </a:cxn>
                      <a:cxn ang="T133">
                        <a:pos x="T18" y="T19"/>
                      </a:cxn>
                      <a:cxn ang="T134">
                        <a:pos x="T20" y="T21"/>
                      </a:cxn>
                      <a:cxn ang="T135">
                        <a:pos x="T22" y="T23"/>
                      </a:cxn>
                      <a:cxn ang="T136">
                        <a:pos x="T24" y="T25"/>
                      </a:cxn>
                      <a:cxn ang="T137">
                        <a:pos x="T26" y="T27"/>
                      </a:cxn>
                      <a:cxn ang="T138">
                        <a:pos x="T28" y="T29"/>
                      </a:cxn>
                      <a:cxn ang="T139">
                        <a:pos x="T30" y="T31"/>
                      </a:cxn>
                      <a:cxn ang="T140">
                        <a:pos x="T32" y="T33"/>
                      </a:cxn>
                      <a:cxn ang="T141">
                        <a:pos x="T34" y="T35"/>
                      </a:cxn>
                      <a:cxn ang="T142">
                        <a:pos x="T36" y="T37"/>
                      </a:cxn>
                      <a:cxn ang="T143">
                        <a:pos x="T38" y="T39"/>
                      </a:cxn>
                      <a:cxn ang="T144">
                        <a:pos x="T40" y="T41"/>
                      </a:cxn>
                      <a:cxn ang="T145">
                        <a:pos x="T42" y="T43"/>
                      </a:cxn>
                      <a:cxn ang="T146">
                        <a:pos x="T44" y="T45"/>
                      </a:cxn>
                      <a:cxn ang="T147">
                        <a:pos x="T46" y="T47"/>
                      </a:cxn>
                      <a:cxn ang="T148">
                        <a:pos x="T48" y="T49"/>
                      </a:cxn>
                      <a:cxn ang="T149">
                        <a:pos x="T50" y="T51"/>
                      </a:cxn>
                      <a:cxn ang="T150">
                        <a:pos x="T52" y="T53"/>
                      </a:cxn>
                      <a:cxn ang="T151">
                        <a:pos x="T54" y="T55"/>
                      </a:cxn>
                      <a:cxn ang="T152">
                        <a:pos x="T56" y="T57"/>
                      </a:cxn>
                      <a:cxn ang="T153">
                        <a:pos x="T58" y="T59"/>
                      </a:cxn>
                      <a:cxn ang="T154">
                        <a:pos x="T60" y="T61"/>
                      </a:cxn>
                      <a:cxn ang="T155">
                        <a:pos x="T62" y="T63"/>
                      </a:cxn>
                      <a:cxn ang="T156">
                        <a:pos x="T64" y="T65"/>
                      </a:cxn>
                      <a:cxn ang="T157">
                        <a:pos x="T66" y="T67"/>
                      </a:cxn>
                      <a:cxn ang="T158">
                        <a:pos x="T68" y="T69"/>
                      </a:cxn>
                      <a:cxn ang="T159">
                        <a:pos x="T70" y="T71"/>
                      </a:cxn>
                      <a:cxn ang="T160">
                        <a:pos x="T72" y="T73"/>
                      </a:cxn>
                      <a:cxn ang="T161">
                        <a:pos x="T74" y="T75"/>
                      </a:cxn>
                      <a:cxn ang="T162">
                        <a:pos x="T76" y="T77"/>
                      </a:cxn>
                      <a:cxn ang="T163">
                        <a:pos x="T78" y="T79"/>
                      </a:cxn>
                      <a:cxn ang="T164">
                        <a:pos x="T80" y="T81"/>
                      </a:cxn>
                      <a:cxn ang="T165">
                        <a:pos x="T82" y="T83"/>
                      </a:cxn>
                      <a:cxn ang="T166">
                        <a:pos x="T84" y="T85"/>
                      </a:cxn>
                      <a:cxn ang="T167">
                        <a:pos x="T86" y="T87"/>
                      </a:cxn>
                      <a:cxn ang="T168">
                        <a:pos x="T88" y="T89"/>
                      </a:cxn>
                      <a:cxn ang="T169">
                        <a:pos x="T90" y="T91"/>
                      </a:cxn>
                      <a:cxn ang="T170">
                        <a:pos x="T92" y="T93"/>
                      </a:cxn>
                      <a:cxn ang="T171">
                        <a:pos x="T94" y="T95"/>
                      </a:cxn>
                      <a:cxn ang="T172">
                        <a:pos x="T96" y="T97"/>
                      </a:cxn>
                      <a:cxn ang="T173">
                        <a:pos x="T98" y="T99"/>
                      </a:cxn>
                      <a:cxn ang="T174">
                        <a:pos x="T100" y="T101"/>
                      </a:cxn>
                      <a:cxn ang="T175">
                        <a:pos x="T102" y="T103"/>
                      </a:cxn>
                      <a:cxn ang="T176">
                        <a:pos x="T104" y="T105"/>
                      </a:cxn>
                      <a:cxn ang="T177">
                        <a:pos x="T106" y="T107"/>
                      </a:cxn>
                      <a:cxn ang="T178">
                        <a:pos x="T108" y="T109"/>
                      </a:cxn>
                      <a:cxn ang="T179">
                        <a:pos x="T110" y="T111"/>
                      </a:cxn>
                      <a:cxn ang="T180">
                        <a:pos x="T112" y="T113"/>
                      </a:cxn>
                      <a:cxn ang="T181">
                        <a:pos x="T114" y="T115"/>
                      </a:cxn>
                      <a:cxn ang="T182">
                        <a:pos x="T116" y="T117"/>
                      </a:cxn>
                      <a:cxn ang="T183">
                        <a:pos x="T118" y="T119"/>
                      </a:cxn>
                      <a:cxn ang="T184">
                        <a:pos x="T120" y="T121"/>
                      </a:cxn>
                      <a:cxn ang="T185">
                        <a:pos x="T122" y="T123"/>
                      </a:cxn>
                    </a:cxnLst>
                    <a:rect l="T186" t="T187" r="T188" b="T189"/>
                    <a:pathLst>
                      <a:path w="322" h="257">
                        <a:moveTo>
                          <a:pt x="1" y="254"/>
                        </a:moveTo>
                        <a:lnTo>
                          <a:pt x="3" y="254"/>
                        </a:lnTo>
                        <a:lnTo>
                          <a:pt x="0" y="257"/>
                        </a:lnTo>
                        <a:lnTo>
                          <a:pt x="0" y="252"/>
                        </a:lnTo>
                        <a:lnTo>
                          <a:pt x="3" y="228"/>
                        </a:lnTo>
                        <a:lnTo>
                          <a:pt x="10" y="211"/>
                        </a:lnTo>
                        <a:lnTo>
                          <a:pt x="19" y="206"/>
                        </a:lnTo>
                        <a:lnTo>
                          <a:pt x="28" y="188"/>
                        </a:lnTo>
                        <a:lnTo>
                          <a:pt x="33" y="180"/>
                        </a:lnTo>
                        <a:lnTo>
                          <a:pt x="32" y="175"/>
                        </a:lnTo>
                        <a:lnTo>
                          <a:pt x="45" y="156"/>
                        </a:lnTo>
                        <a:lnTo>
                          <a:pt x="48" y="151"/>
                        </a:lnTo>
                        <a:lnTo>
                          <a:pt x="50" y="145"/>
                        </a:lnTo>
                        <a:lnTo>
                          <a:pt x="54" y="140"/>
                        </a:lnTo>
                        <a:lnTo>
                          <a:pt x="74" y="119"/>
                        </a:lnTo>
                        <a:lnTo>
                          <a:pt x="85" y="103"/>
                        </a:lnTo>
                        <a:lnTo>
                          <a:pt x="87" y="91"/>
                        </a:lnTo>
                        <a:lnTo>
                          <a:pt x="93" y="76"/>
                        </a:lnTo>
                        <a:lnTo>
                          <a:pt x="97" y="62"/>
                        </a:lnTo>
                        <a:lnTo>
                          <a:pt x="108" y="50"/>
                        </a:lnTo>
                        <a:lnTo>
                          <a:pt x="122" y="43"/>
                        </a:lnTo>
                        <a:lnTo>
                          <a:pt x="133" y="35"/>
                        </a:lnTo>
                        <a:lnTo>
                          <a:pt x="138" y="24"/>
                        </a:lnTo>
                        <a:lnTo>
                          <a:pt x="140" y="20"/>
                        </a:lnTo>
                        <a:lnTo>
                          <a:pt x="143" y="14"/>
                        </a:lnTo>
                        <a:lnTo>
                          <a:pt x="150" y="4"/>
                        </a:lnTo>
                        <a:lnTo>
                          <a:pt x="153" y="0"/>
                        </a:lnTo>
                        <a:lnTo>
                          <a:pt x="160" y="0"/>
                        </a:lnTo>
                        <a:lnTo>
                          <a:pt x="183" y="0"/>
                        </a:lnTo>
                        <a:lnTo>
                          <a:pt x="209" y="0"/>
                        </a:lnTo>
                        <a:lnTo>
                          <a:pt x="237" y="0"/>
                        </a:lnTo>
                        <a:lnTo>
                          <a:pt x="266" y="0"/>
                        </a:lnTo>
                        <a:lnTo>
                          <a:pt x="297" y="0"/>
                        </a:lnTo>
                        <a:lnTo>
                          <a:pt x="322" y="0"/>
                        </a:lnTo>
                        <a:lnTo>
                          <a:pt x="322" y="20"/>
                        </a:lnTo>
                        <a:lnTo>
                          <a:pt x="322" y="63"/>
                        </a:lnTo>
                        <a:lnTo>
                          <a:pt x="285" y="63"/>
                        </a:lnTo>
                        <a:lnTo>
                          <a:pt x="247" y="63"/>
                        </a:lnTo>
                        <a:lnTo>
                          <a:pt x="210" y="63"/>
                        </a:lnTo>
                        <a:lnTo>
                          <a:pt x="198" y="63"/>
                        </a:lnTo>
                        <a:lnTo>
                          <a:pt x="198" y="101"/>
                        </a:lnTo>
                        <a:lnTo>
                          <a:pt x="198" y="138"/>
                        </a:lnTo>
                        <a:lnTo>
                          <a:pt x="198" y="161"/>
                        </a:lnTo>
                        <a:lnTo>
                          <a:pt x="184" y="165"/>
                        </a:lnTo>
                        <a:lnTo>
                          <a:pt x="171" y="166"/>
                        </a:lnTo>
                        <a:lnTo>
                          <a:pt x="161" y="170"/>
                        </a:lnTo>
                        <a:lnTo>
                          <a:pt x="157" y="171"/>
                        </a:lnTo>
                        <a:lnTo>
                          <a:pt x="154" y="175"/>
                        </a:lnTo>
                        <a:lnTo>
                          <a:pt x="151" y="183"/>
                        </a:lnTo>
                        <a:lnTo>
                          <a:pt x="150" y="188"/>
                        </a:lnTo>
                        <a:lnTo>
                          <a:pt x="151" y="205"/>
                        </a:lnTo>
                        <a:lnTo>
                          <a:pt x="153" y="219"/>
                        </a:lnTo>
                        <a:lnTo>
                          <a:pt x="154" y="231"/>
                        </a:lnTo>
                        <a:lnTo>
                          <a:pt x="155" y="242"/>
                        </a:lnTo>
                        <a:lnTo>
                          <a:pt x="138" y="242"/>
                        </a:lnTo>
                        <a:lnTo>
                          <a:pt x="103" y="242"/>
                        </a:lnTo>
                        <a:lnTo>
                          <a:pt x="66" y="242"/>
                        </a:lnTo>
                        <a:lnTo>
                          <a:pt x="32" y="242"/>
                        </a:lnTo>
                        <a:lnTo>
                          <a:pt x="11" y="242"/>
                        </a:lnTo>
                        <a:lnTo>
                          <a:pt x="10" y="246"/>
                        </a:lnTo>
                        <a:lnTo>
                          <a:pt x="3" y="250"/>
                        </a:lnTo>
                        <a:lnTo>
                          <a:pt x="1" y="25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6" name="Freeform 114"/>
                  <p:cNvSpPr>
                    <a:spLocks/>
                  </p:cNvSpPr>
                  <p:nvPr/>
                </p:nvSpPr>
                <p:spPr bwMode="auto">
                  <a:xfrm>
                    <a:off x="2688" y="2337"/>
                    <a:ext cx="327" cy="374"/>
                  </a:xfrm>
                  <a:custGeom>
                    <a:avLst/>
                    <a:gdLst>
                      <a:gd name="T0" fmla="*/ 23265 w 306"/>
                      <a:gd name="T1" fmla="*/ 6147 h 356"/>
                      <a:gd name="T2" fmla="*/ 23239 w 306"/>
                      <a:gd name="T3" fmla="*/ 6308 h 356"/>
                      <a:gd name="T4" fmla="*/ 22097 w 306"/>
                      <a:gd name="T5" fmla="*/ 6537 h 356"/>
                      <a:gd name="T6" fmla="*/ 21416 w 306"/>
                      <a:gd name="T7" fmla="*/ 6780 h 356"/>
                      <a:gd name="T8" fmla="*/ 21119 w 306"/>
                      <a:gd name="T9" fmla="*/ 6962 h 356"/>
                      <a:gd name="T10" fmla="*/ 20041 w 306"/>
                      <a:gd name="T11" fmla="*/ 7190 h 356"/>
                      <a:gd name="T12" fmla="*/ 19434 w 306"/>
                      <a:gd name="T13" fmla="*/ 7554 h 356"/>
                      <a:gd name="T14" fmla="*/ 18494 w 306"/>
                      <a:gd name="T15" fmla="*/ 8265 h 356"/>
                      <a:gd name="T16" fmla="*/ 17841 w 306"/>
                      <a:gd name="T17" fmla="*/ 8784 h 356"/>
                      <a:gd name="T18" fmla="*/ 17306 w 306"/>
                      <a:gd name="T19" fmla="*/ 9035 h 356"/>
                      <a:gd name="T20" fmla="*/ 16508 w 306"/>
                      <a:gd name="T21" fmla="*/ 9233 h 356"/>
                      <a:gd name="T22" fmla="*/ 11945 w 306"/>
                      <a:gd name="T23" fmla="*/ 8153 h 356"/>
                      <a:gd name="T24" fmla="*/ 11742 w 306"/>
                      <a:gd name="T25" fmla="*/ 7628 h 356"/>
                      <a:gd name="T26" fmla="*/ 871 w 306"/>
                      <a:gd name="T27" fmla="*/ 5517 h 356"/>
                      <a:gd name="T28" fmla="*/ 815 w 306"/>
                      <a:gd name="T29" fmla="*/ 5141 h 356"/>
                      <a:gd name="T30" fmla="*/ 1903 w 306"/>
                      <a:gd name="T31" fmla="*/ 4998 h 356"/>
                      <a:gd name="T32" fmla="*/ 2520 w 306"/>
                      <a:gd name="T33" fmla="*/ 4814 h 356"/>
                      <a:gd name="T34" fmla="*/ 1297 w 306"/>
                      <a:gd name="T35" fmla="*/ 4837 h 356"/>
                      <a:gd name="T36" fmla="*/ 7 w 306"/>
                      <a:gd name="T37" fmla="*/ 4929 h 356"/>
                      <a:gd name="T38" fmla="*/ 0 w 306"/>
                      <a:gd name="T39" fmla="*/ 4604 h 356"/>
                      <a:gd name="T40" fmla="*/ 5 w 306"/>
                      <a:gd name="T41" fmla="*/ 4251 h 356"/>
                      <a:gd name="T42" fmla="*/ 2034 w 306"/>
                      <a:gd name="T43" fmla="*/ 3539 h 356"/>
                      <a:gd name="T44" fmla="*/ 2520 w 306"/>
                      <a:gd name="T45" fmla="*/ 3259 h 356"/>
                      <a:gd name="T46" fmla="*/ 3141 w 306"/>
                      <a:gd name="T47" fmla="*/ 2792 h 356"/>
                      <a:gd name="T48" fmla="*/ 3076 w 306"/>
                      <a:gd name="T49" fmla="*/ 2230 h 356"/>
                      <a:gd name="T50" fmla="*/ 3028 w 306"/>
                      <a:gd name="T51" fmla="*/ 1774 h 356"/>
                      <a:gd name="T52" fmla="*/ 2207 w 306"/>
                      <a:gd name="T53" fmla="*/ 1608 h 356"/>
                      <a:gd name="T54" fmla="*/ 1808 w 306"/>
                      <a:gd name="T55" fmla="*/ 1457 h 356"/>
                      <a:gd name="T56" fmla="*/ 1136 w 306"/>
                      <a:gd name="T57" fmla="*/ 846 h 356"/>
                      <a:gd name="T58" fmla="*/ 995 w 306"/>
                      <a:gd name="T59" fmla="*/ 763 h 356"/>
                      <a:gd name="T60" fmla="*/ 871 w 306"/>
                      <a:gd name="T61" fmla="*/ 540 h 356"/>
                      <a:gd name="T62" fmla="*/ 1 w 306"/>
                      <a:gd name="T63" fmla="*/ 489 h 356"/>
                      <a:gd name="T64" fmla="*/ 871 w 306"/>
                      <a:gd name="T65" fmla="*/ 4 h 356"/>
                      <a:gd name="T66" fmla="*/ 2174 w 306"/>
                      <a:gd name="T67" fmla="*/ 0 h 356"/>
                      <a:gd name="T68" fmla="*/ 4638 w 306"/>
                      <a:gd name="T69" fmla="*/ 1 h 356"/>
                      <a:gd name="T70" fmla="*/ 6462 w 306"/>
                      <a:gd name="T71" fmla="*/ 2 h 356"/>
                      <a:gd name="T72" fmla="*/ 8325 w 306"/>
                      <a:gd name="T73" fmla="*/ 2 h 356"/>
                      <a:gd name="T74" fmla="*/ 11287 w 306"/>
                      <a:gd name="T75" fmla="*/ 567 h 356"/>
                      <a:gd name="T76" fmla="*/ 13198 w 306"/>
                      <a:gd name="T77" fmla="*/ 934 h 356"/>
                      <a:gd name="T78" fmla="*/ 15312 w 306"/>
                      <a:gd name="T79" fmla="*/ 1031 h 356"/>
                      <a:gd name="T80" fmla="*/ 17964 w 306"/>
                      <a:gd name="T81" fmla="*/ 846 h 356"/>
                      <a:gd name="T82" fmla="*/ 19763 w 306"/>
                      <a:gd name="T83" fmla="*/ 422 h 356"/>
                      <a:gd name="T84" fmla="*/ 22886 w 306"/>
                      <a:gd name="T85" fmla="*/ 658 h 356"/>
                      <a:gd name="T86" fmla="*/ 24117 w 306"/>
                      <a:gd name="T87" fmla="*/ 658 h 356"/>
                      <a:gd name="T88" fmla="*/ 24367 w 306"/>
                      <a:gd name="T89" fmla="*/ 726 h 356"/>
                      <a:gd name="T90" fmla="*/ 21922 w 306"/>
                      <a:gd name="T91" fmla="*/ 1743 h 356"/>
                      <a:gd name="T92" fmla="*/ 21747 w 306"/>
                      <a:gd name="T93" fmla="*/ 2754 h 356"/>
                      <a:gd name="T94" fmla="*/ 21747 w 306"/>
                      <a:gd name="T95" fmla="*/ 4673 h 356"/>
                      <a:gd name="T96" fmla="*/ 21983 w 306"/>
                      <a:gd name="T97" fmla="*/ 5609 h 35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306"/>
                      <a:gd name="T148" fmla="*/ 0 h 356"/>
                      <a:gd name="T149" fmla="*/ 306 w 306"/>
                      <a:gd name="T150" fmla="*/ 356 h 356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306" h="356">
                        <a:moveTo>
                          <a:pt x="276" y="216"/>
                        </a:moveTo>
                        <a:lnTo>
                          <a:pt x="292" y="236"/>
                        </a:lnTo>
                        <a:lnTo>
                          <a:pt x="293" y="239"/>
                        </a:lnTo>
                        <a:lnTo>
                          <a:pt x="291" y="244"/>
                        </a:lnTo>
                        <a:lnTo>
                          <a:pt x="283" y="251"/>
                        </a:lnTo>
                        <a:lnTo>
                          <a:pt x="277" y="252"/>
                        </a:lnTo>
                        <a:lnTo>
                          <a:pt x="273" y="254"/>
                        </a:lnTo>
                        <a:lnTo>
                          <a:pt x="268" y="260"/>
                        </a:lnTo>
                        <a:lnTo>
                          <a:pt x="265" y="265"/>
                        </a:lnTo>
                        <a:lnTo>
                          <a:pt x="265" y="269"/>
                        </a:lnTo>
                        <a:lnTo>
                          <a:pt x="252" y="275"/>
                        </a:lnTo>
                        <a:lnTo>
                          <a:pt x="251" y="277"/>
                        </a:lnTo>
                        <a:lnTo>
                          <a:pt x="247" y="280"/>
                        </a:lnTo>
                        <a:lnTo>
                          <a:pt x="243" y="291"/>
                        </a:lnTo>
                        <a:lnTo>
                          <a:pt x="241" y="303"/>
                        </a:lnTo>
                        <a:lnTo>
                          <a:pt x="232" y="318"/>
                        </a:lnTo>
                        <a:lnTo>
                          <a:pt x="227" y="326"/>
                        </a:lnTo>
                        <a:lnTo>
                          <a:pt x="224" y="338"/>
                        </a:lnTo>
                        <a:lnTo>
                          <a:pt x="220" y="344"/>
                        </a:lnTo>
                        <a:lnTo>
                          <a:pt x="217" y="348"/>
                        </a:lnTo>
                        <a:lnTo>
                          <a:pt x="214" y="351"/>
                        </a:lnTo>
                        <a:lnTo>
                          <a:pt x="207" y="356"/>
                        </a:lnTo>
                        <a:lnTo>
                          <a:pt x="154" y="321"/>
                        </a:lnTo>
                        <a:lnTo>
                          <a:pt x="150" y="314"/>
                        </a:lnTo>
                        <a:lnTo>
                          <a:pt x="147" y="301"/>
                        </a:lnTo>
                        <a:lnTo>
                          <a:pt x="147" y="295"/>
                        </a:lnTo>
                        <a:lnTo>
                          <a:pt x="145" y="292"/>
                        </a:lnTo>
                        <a:lnTo>
                          <a:pt x="11" y="213"/>
                        </a:lnTo>
                        <a:lnTo>
                          <a:pt x="4" y="208"/>
                        </a:lnTo>
                        <a:lnTo>
                          <a:pt x="10" y="198"/>
                        </a:lnTo>
                        <a:lnTo>
                          <a:pt x="17" y="198"/>
                        </a:lnTo>
                        <a:lnTo>
                          <a:pt x="23" y="193"/>
                        </a:lnTo>
                        <a:lnTo>
                          <a:pt x="32" y="189"/>
                        </a:lnTo>
                        <a:lnTo>
                          <a:pt x="32" y="186"/>
                        </a:lnTo>
                        <a:lnTo>
                          <a:pt x="25" y="186"/>
                        </a:lnTo>
                        <a:lnTo>
                          <a:pt x="17" y="187"/>
                        </a:lnTo>
                        <a:lnTo>
                          <a:pt x="11" y="189"/>
                        </a:lnTo>
                        <a:lnTo>
                          <a:pt x="7" y="190"/>
                        </a:lnTo>
                        <a:lnTo>
                          <a:pt x="5" y="184"/>
                        </a:lnTo>
                        <a:lnTo>
                          <a:pt x="0" y="178"/>
                        </a:lnTo>
                        <a:lnTo>
                          <a:pt x="1" y="168"/>
                        </a:lnTo>
                        <a:lnTo>
                          <a:pt x="5" y="164"/>
                        </a:lnTo>
                        <a:lnTo>
                          <a:pt x="17" y="145"/>
                        </a:lnTo>
                        <a:lnTo>
                          <a:pt x="25" y="137"/>
                        </a:lnTo>
                        <a:lnTo>
                          <a:pt x="25" y="134"/>
                        </a:lnTo>
                        <a:lnTo>
                          <a:pt x="32" y="126"/>
                        </a:lnTo>
                        <a:lnTo>
                          <a:pt x="37" y="119"/>
                        </a:lnTo>
                        <a:lnTo>
                          <a:pt x="39" y="108"/>
                        </a:lnTo>
                        <a:lnTo>
                          <a:pt x="39" y="95"/>
                        </a:lnTo>
                        <a:lnTo>
                          <a:pt x="38" y="86"/>
                        </a:lnTo>
                        <a:lnTo>
                          <a:pt x="38" y="74"/>
                        </a:lnTo>
                        <a:lnTo>
                          <a:pt x="37" y="69"/>
                        </a:lnTo>
                        <a:lnTo>
                          <a:pt x="32" y="64"/>
                        </a:lnTo>
                        <a:lnTo>
                          <a:pt x="28" y="63"/>
                        </a:lnTo>
                        <a:lnTo>
                          <a:pt x="25" y="60"/>
                        </a:lnTo>
                        <a:lnTo>
                          <a:pt x="22" y="57"/>
                        </a:lnTo>
                        <a:lnTo>
                          <a:pt x="18" y="51"/>
                        </a:lnTo>
                        <a:lnTo>
                          <a:pt x="15" y="33"/>
                        </a:lnTo>
                        <a:lnTo>
                          <a:pt x="13" y="30"/>
                        </a:lnTo>
                        <a:lnTo>
                          <a:pt x="13" y="29"/>
                        </a:lnTo>
                        <a:lnTo>
                          <a:pt x="13" y="25"/>
                        </a:lnTo>
                        <a:lnTo>
                          <a:pt x="11" y="22"/>
                        </a:lnTo>
                        <a:lnTo>
                          <a:pt x="3" y="22"/>
                        </a:lnTo>
                        <a:lnTo>
                          <a:pt x="1" y="20"/>
                        </a:lnTo>
                        <a:lnTo>
                          <a:pt x="0" y="19"/>
                        </a:lnTo>
                        <a:lnTo>
                          <a:pt x="11" y="4"/>
                        </a:lnTo>
                        <a:lnTo>
                          <a:pt x="18" y="0"/>
                        </a:lnTo>
                        <a:lnTo>
                          <a:pt x="27" y="0"/>
                        </a:lnTo>
                        <a:lnTo>
                          <a:pt x="48" y="1"/>
                        </a:lnTo>
                        <a:lnTo>
                          <a:pt x="58" y="1"/>
                        </a:lnTo>
                        <a:lnTo>
                          <a:pt x="71" y="0"/>
                        </a:lnTo>
                        <a:lnTo>
                          <a:pt x="81" y="2"/>
                        </a:lnTo>
                        <a:lnTo>
                          <a:pt x="91" y="1"/>
                        </a:lnTo>
                        <a:lnTo>
                          <a:pt x="103" y="2"/>
                        </a:lnTo>
                        <a:lnTo>
                          <a:pt x="116" y="7"/>
                        </a:lnTo>
                        <a:lnTo>
                          <a:pt x="141" y="23"/>
                        </a:lnTo>
                        <a:lnTo>
                          <a:pt x="149" y="32"/>
                        </a:lnTo>
                        <a:lnTo>
                          <a:pt x="164" y="37"/>
                        </a:lnTo>
                        <a:lnTo>
                          <a:pt x="176" y="37"/>
                        </a:lnTo>
                        <a:lnTo>
                          <a:pt x="192" y="41"/>
                        </a:lnTo>
                        <a:lnTo>
                          <a:pt x="207" y="41"/>
                        </a:lnTo>
                        <a:lnTo>
                          <a:pt x="225" y="33"/>
                        </a:lnTo>
                        <a:lnTo>
                          <a:pt x="236" y="22"/>
                        </a:lnTo>
                        <a:lnTo>
                          <a:pt x="248" y="17"/>
                        </a:lnTo>
                        <a:lnTo>
                          <a:pt x="262" y="14"/>
                        </a:lnTo>
                        <a:lnTo>
                          <a:pt x="286" y="26"/>
                        </a:lnTo>
                        <a:lnTo>
                          <a:pt x="295" y="25"/>
                        </a:lnTo>
                        <a:lnTo>
                          <a:pt x="302" y="26"/>
                        </a:lnTo>
                        <a:lnTo>
                          <a:pt x="306" y="25"/>
                        </a:lnTo>
                        <a:lnTo>
                          <a:pt x="305" y="28"/>
                        </a:lnTo>
                        <a:lnTo>
                          <a:pt x="290" y="51"/>
                        </a:lnTo>
                        <a:lnTo>
                          <a:pt x="274" y="67"/>
                        </a:lnTo>
                        <a:lnTo>
                          <a:pt x="272" y="68"/>
                        </a:lnTo>
                        <a:lnTo>
                          <a:pt x="272" y="106"/>
                        </a:lnTo>
                        <a:lnTo>
                          <a:pt x="272" y="142"/>
                        </a:lnTo>
                        <a:lnTo>
                          <a:pt x="272" y="180"/>
                        </a:lnTo>
                        <a:lnTo>
                          <a:pt x="272" y="211"/>
                        </a:lnTo>
                        <a:lnTo>
                          <a:pt x="276" y="216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7" name="Freeform 115"/>
                  <p:cNvSpPr>
                    <a:spLocks/>
                  </p:cNvSpPr>
                  <p:nvPr/>
                </p:nvSpPr>
                <p:spPr bwMode="auto">
                  <a:xfrm>
                    <a:off x="2688" y="2337"/>
                    <a:ext cx="327" cy="374"/>
                  </a:xfrm>
                  <a:custGeom>
                    <a:avLst/>
                    <a:gdLst>
                      <a:gd name="T0" fmla="*/ 23265 w 306"/>
                      <a:gd name="T1" fmla="*/ 6147 h 356"/>
                      <a:gd name="T2" fmla="*/ 23239 w 306"/>
                      <a:gd name="T3" fmla="*/ 6308 h 356"/>
                      <a:gd name="T4" fmla="*/ 22097 w 306"/>
                      <a:gd name="T5" fmla="*/ 6537 h 356"/>
                      <a:gd name="T6" fmla="*/ 21416 w 306"/>
                      <a:gd name="T7" fmla="*/ 6780 h 356"/>
                      <a:gd name="T8" fmla="*/ 21119 w 306"/>
                      <a:gd name="T9" fmla="*/ 6962 h 356"/>
                      <a:gd name="T10" fmla="*/ 20041 w 306"/>
                      <a:gd name="T11" fmla="*/ 7190 h 356"/>
                      <a:gd name="T12" fmla="*/ 19434 w 306"/>
                      <a:gd name="T13" fmla="*/ 7554 h 356"/>
                      <a:gd name="T14" fmla="*/ 18494 w 306"/>
                      <a:gd name="T15" fmla="*/ 8265 h 356"/>
                      <a:gd name="T16" fmla="*/ 17841 w 306"/>
                      <a:gd name="T17" fmla="*/ 8784 h 356"/>
                      <a:gd name="T18" fmla="*/ 17306 w 306"/>
                      <a:gd name="T19" fmla="*/ 9035 h 356"/>
                      <a:gd name="T20" fmla="*/ 16508 w 306"/>
                      <a:gd name="T21" fmla="*/ 9233 h 356"/>
                      <a:gd name="T22" fmla="*/ 11945 w 306"/>
                      <a:gd name="T23" fmla="*/ 8153 h 356"/>
                      <a:gd name="T24" fmla="*/ 11742 w 306"/>
                      <a:gd name="T25" fmla="*/ 7628 h 356"/>
                      <a:gd name="T26" fmla="*/ 871 w 306"/>
                      <a:gd name="T27" fmla="*/ 5517 h 356"/>
                      <a:gd name="T28" fmla="*/ 815 w 306"/>
                      <a:gd name="T29" fmla="*/ 5141 h 356"/>
                      <a:gd name="T30" fmla="*/ 1903 w 306"/>
                      <a:gd name="T31" fmla="*/ 4998 h 356"/>
                      <a:gd name="T32" fmla="*/ 2520 w 306"/>
                      <a:gd name="T33" fmla="*/ 4814 h 356"/>
                      <a:gd name="T34" fmla="*/ 1297 w 306"/>
                      <a:gd name="T35" fmla="*/ 4837 h 356"/>
                      <a:gd name="T36" fmla="*/ 7 w 306"/>
                      <a:gd name="T37" fmla="*/ 4929 h 356"/>
                      <a:gd name="T38" fmla="*/ 0 w 306"/>
                      <a:gd name="T39" fmla="*/ 4604 h 356"/>
                      <a:gd name="T40" fmla="*/ 5 w 306"/>
                      <a:gd name="T41" fmla="*/ 4251 h 356"/>
                      <a:gd name="T42" fmla="*/ 2034 w 306"/>
                      <a:gd name="T43" fmla="*/ 3539 h 356"/>
                      <a:gd name="T44" fmla="*/ 2520 w 306"/>
                      <a:gd name="T45" fmla="*/ 3259 h 356"/>
                      <a:gd name="T46" fmla="*/ 3141 w 306"/>
                      <a:gd name="T47" fmla="*/ 2792 h 356"/>
                      <a:gd name="T48" fmla="*/ 3076 w 306"/>
                      <a:gd name="T49" fmla="*/ 2230 h 356"/>
                      <a:gd name="T50" fmla="*/ 3028 w 306"/>
                      <a:gd name="T51" fmla="*/ 1774 h 356"/>
                      <a:gd name="T52" fmla="*/ 2207 w 306"/>
                      <a:gd name="T53" fmla="*/ 1608 h 356"/>
                      <a:gd name="T54" fmla="*/ 1808 w 306"/>
                      <a:gd name="T55" fmla="*/ 1457 h 356"/>
                      <a:gd name="T56" fmla="*/ 1136 w 306"/>
                      <a:gd name="T57" fmla="*/ 846 h 356"/>
                      <a:gd name="T58" fmla="*/ 995 w 306"/>
                      <a:gd name="T59" fmla="*/ 763 h 356"/>
                      <a:gd name="T60" fmla="*/ 871 w 306"/>
                      <a:gd name="T61" fmla="*/ 540 h 356"/>
                      <a:gd name="T62" fmla="*/ 1 w 306"/>
                      <a:gd name="T63" fmla="*/ 489 h 356"/>
                      <a:gd name="T64" fmla="*/ 871 w 306"/>
                      <a:gd name="T65" fmla="*/ 4 h 356"/>
                      <a:gd name="T66" fmla="*/ 2174 w 306"/>
                      <a:gd name="T67" fmla="*/ 0 h 356"/>
                      <a:gd name="T68" fmla="*/ 4638 w 306"/>
                      <a:gd name="T69" fmla="*/ 1 h 356"/>
                      <a:gd name="T70" fmla="*/ 6462 w 306"/>
                      <a:gd name="T71" fmla="*/ 2 h 356"/>
                      <a:gd name="T72" fmla="*/ 8325 w 306"/>
                      <a:gd name="T73" fmla="*/ 2 h 356"/>
                      <a:gd name="T74" fmla="*/ 11287 w 306"/>
                      <a:gd name="T75" fmla="*/ 567 h 356"/>
                      <a:gd name="T76" fmla="*/ 13198 w 306"/>
                      <a:gd name="T77" fmla="*/ 934 h 356"/>
                      <a:gd name="T78" fmla="*/ 15312 w 306"/>
                      <a:gd name="T79" fmla="*/ 1031 h 356"/>
                      <a:gd name="T80" fmla="*/ 17964 w 306"/>
                      <a:gd name="T81" fmla="*/ 846 h 356"/>
                      <a:gd name="T82" fmla="*/ 19763 w 306"/>
                      <a:gd name="T83" fmla="*/ 422 h 356"/>
                      <a:gd name="T84" fmla="*/ 22886 w 306"/>
                      <a:gd name="T85" fmla="*/ 658 h 356"/>
                      <a:gd name="T86" fmla="*/ 24117 w 306"/>
                      <a:gd name="T87" fmla="*/ 658 h 356"/>
                      <a:gd name="T88" fmla="*/ 24367 w 306"/>
                      <a:gd name="T89" fmla="*/ 726 h 356"/>
                      <a:gd name="T90" fmla="*/ 21922 w 306"/>
                      <a:gd name="T91" fmla="*/ 1743 h 356"/>
                      <a:gd name="T92" fmla="*/ 21747 w 306"/>
                      <a:gd name="T93" fmla="*/ 2754 h 356"/>
                      <a:gd name="T94" fmla="*/ 21747 w 306"/>
                      <a:gd name="T95" fmla="*/ 4673 h 356"/>
                      <a:gd name="T96" fmla="*/ 21983 w 306"/>
                      <a:gd name="T97" fmla="*/ 5609 h 35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w 306"/>
                      <a:gd name="T148" fmla="*/ 0 h 356"/>
                      <a:gd name="T149" fmla="*/ 306 w 306"/>
                      <a:gd name="T150" fmla="*/ 356 h 356"/>
                    </a:gdLst>
                    <a:ahLst/>
                    <a:cxnLst>
                      <a:cxn ang="T98">
                        <a:pos x="T0" y="T1"/>
                      </a:cxn>
                      <a:cxn ang="T99">
                        <a:pos x="T2" y="T3"/>
                      </a:cxn>
                      <a:cxn ang="T100">
                        <a:pos x="T4" y="T5"/>
                      </a:cxn>
                      <a:cxn ang="T101">
                        <a:pos x="T6" y="T7"/>
                      </a:cxn>
                      <a:cxn ang="T102">
                        <a:pos x="T8" y="T9"/>
                      </a:cxn>
                      <a:cxn ang="T103">
                        <a:pos x="T10" y="T11"/>
                      </a:cxn>
                      <a:cxn ang="T104">
                        <a:pos x="T12" y="T13"/>
                      </a:cxn>
                      <a:cxn ang="T105">
                        <a:pos x="T14" y="T15"/>
                      </a:cxn>
                      <a:cxn ang="T106">
                        <a:pos x="T16" y="T17"/>
                      </a:cxn>
                      <a:cxn ang="T107">
                        <a:pos x="T18" y="T19"/>
                      </a:cxn>
                      <a:cxn ang="T108">
                        <a:pos x="T20" y="T21"/>
                      </a:cxn>
                      <a:cxn ang="T109">
                        <a:pos x="T22" y="T23"/>
                      </a:cxn>
                      <a:cxn ang="T110">
                        <a:pos x="T24" y="T25"/>
                      </a:cxn>
                      <a:cxn ang="T111">
                        <a:pos x="T26" y="T27"/>
                      </a:cxn>
                      <a:cxn ang="T112">
                        <a:pos x="T28" y="T29"/>
                      </a:cxn>
                      <a:cxn ang="T113">
                        <a:pos x="T30" y="T31"/>
                      </a:cxn>
                      <a:cxn ang="T114">
                        <a:pos x="T32" y="T33"/>
                      </a:cxn>
                      <a:cxn ang="T115">
                        <a:pos x="T34" y="T35"/>
                      </a:cxn>
                      <a:cxn ang="T116">
                        <a:pos x="T36" y="T37"/>
                      </a:cxn>
                      <a:cxn ang="T117">
                        <a:pos x="T38" y="T39"/>
                      </a:cxn>
                      <a:cxn ang="T118">
                        <a:pos x="T40" y="T41"/>
                      </a:cxn>
                      <a:cxn ang="T119">
                        <a:pos x="T42" y="T43"/>
                      </a:cxn>
                      <a:cxn ang="T120">
                        <a:pos x="T44" y="T45"/>
                      </a:cxn>
                      <a:cxn ang="T121">
                        <a:pos x="T46" y="T47"/>
                      </a:cxn>
                      <a:cxn ang="T122">
                        <a:pos x="T48" y="T49"/>
                      </a:cxn>
                      <a:cxn ang="T123">
                        <a:pos x="T50" y="T51"/>
                      </a:cxn>
                      <a:cxn ang="T124">
                        <a:pos x="T52" y="T53"/>
                      </a:cxn>
                      <a:cxn ang="T125">
                        <a:pos x="T54" y="T55"/>
                      </a:cxn>
                      <a:cxn ang="T126">
                        <a:pos x="T56" y="T57"/>
                      </a:cxn>
                      <a:cxn ang="T127">
                        <a:pos x="T58" y="T59"/>
                      </a:cxn>
                      <a:cxn ang="T128">
                        <a:pos x="T60" y="T61"/>
                      </a:cxn>
                      <a:cxn ang="T129">
                        <a:pos x="T62" y="T63"/>
                      </a:cxn>
                      <a:cxn ang="T130">
                        <a:pos x="T64" y="T65"/>
                      </a:cxn>
                      <a:cxn ang="T131">
                        <a:pos x="T66" y="T67"/>
                      </a:cxn>
                      <a:cxn ang="T132">
                        <a:pos x="T68" y="T69"/>
                      </a:cxn>
                      <a:cxn ang="T133">
                        <a:pos x="T70" y="T71"/>
                      </a:cxn>
                      <a:cxn ang="T134">
                        <a:pos x="T72" y="T73"/>
                      </a:cxn>
                      <a:cxn ang="T135">
                        <a:pos x="T74" y="T75"/>
                      </a:cxn>
                      <a:cxn ang="T136">
                        <a:pos x="T76" y="T77"/>
                      </a:cxn>
                      <a:cxn ang="T137">
                        <a:pos x="T78" y="T79"/>
                      </a:cxn>
                      <a:cxn ang="T138">
                        <a:pos x="T80" y="T81"/>
                      </a:cxn>
                      <a:cxn ang="T139">
                        <a:pos x="T82" y="T83"/>
                      </a:cxn>
                      <a:cxn ang="T140">
                        <a:pos x="T84" y="T85"/>
                      </a:cxn>
                      <a:cxn ang="T141">
                        <a:pos x="T86" y="T87"/>
                      </a:cxn>
                      <a:cxn ang="T142">
                        <a:pos x="T88" y="T89"/>
                      </a:cxn>
                      <a:cxn ang="T143">
                        <a:pos x="T90" y="T91"/>
                      </a:cxn>
                      <a:cxn ang="T144">
                        <a:pos x="T92" y="T93"/>
                      </a:cxn>
                      <a:cxn ang="T145">
                        <a:pos x="T94" y="T95"/>
                      </a:cxn>
                      <a:cxn ang="T146">
                        <a:pos x="T96" y="T97"/>
                      </a:cxn>
                    </a:cxnLst>
                    <a:rect l="T147" t="T148" r="T149" b="T150"/>
                    <a:pathLst>
                      <a:path w="306" h="356">
                        <a:moveTo>
                          <a:pt x="276" y="216"/>
                        </a:moveTo>
                        <a:lnTo>
                          <a:pt x="292" y="236"/>
                        </a:lnTo>
                        <a:lnTo>
                          <a:pt x="293" y="239"/>
                        </a:lnTo>
                        <a:lnTo>
                          <a:pt x="291" y="244"/>
                        </a:lnTo>
                        <a:lnTo>
                          <a:pt x="283" y="251"/>
                        </a:lnTo>
                        <a:lnTo>
                          <a:pt x="277" y="252"/>
                        </a:lnTo>
                        <a:lnTo>
                          <a:pt x="273" y="254"/>
                        </a:lnTo>
                        <a:lnTo>
                          <a:pt x="268" y="260"/>
                        </a:lnTo>
                        <a:lnTo>
                          <a:pt x="265" y="265"/>
                        </a:lnTo>
                        <a:lnTo>
                          <a:pt x="265" y="269"/>
                        </a:lnTo>
                        <a:lnTo>
                          <a:pt x="252" y="275"/>
                        </a:lnTo>
                        <a:lnTo>
                          <a:pt x="251" y="277"/>
                        </a:lnTo>
                        <a:lnTo>
                          <a:pt x="247" y="280"/>
                        </a:lnTo>
                        <a:lnTo>
                          <a:pt x="243" y="291"/>
                        </a:lnTo>
                        <a:lnTo>
                          <a:pt x="241" y="303"/>
                        </a:lnTo>
                        <a:lnTo>
                          <a:pt x="232" y="318"/>
                        </a:lnTo>
                        <a:lnTo>
                          <a:pt x="227" y="326"/>
                        </a:lnTo>
                        <a:lnTo>
                          <a:pt x="224" y="338"/>
                        </a:lnTo>
                        <a:lnTo>
                          <a:pt x="220" y="344"/>
                        </a:lnTo>
                        <a:lnTo>
                          <a:pt x="217" y="348"/>
                        </a:lnTo>
                        <a:lnTo>
                          <a:pt x="214" y="351"/>
                        </a:lnTo>
                        <a:lnTo>
                          <a:pt x="207" y="356"/>
                        </a:lnTo>
                        <a:lnTo>
                          <a:pt x="154" y="321"/>
                        </a:lnTo>
                        <a:lnTo>
                          <a:pt x="150" y="314"/>
                        </a:lnTo>
                        <a:lnTo>
                          <a:pt x="147" y="301"/>
                        </a:lnTo>
                        <a:lnTo>
                          <a:pt x="147" y="295"/>
                        </a:lnTo>
                        <a:lnTo>
                          <a:pt x="145" y="292"/>
                        </a:lnTo>
                        <a:lnTo>
                          <a:pt x="11" y="213"/>
                        </a:lnTo>
                        <a:lnTo>
                          <a:pt x="4" y="208"/>
                        </a:lnTo>
                        <a:lnTo>
                          <a:pt x="10" y="198"/>
                        </a:lnTo>
                        <a:lnTo>
                          <a:pt x="17" y="198"/>
                        </a:lnTo>
                        <a:lnTo>
                          <a:pt x="23" y="193"/>
                        </a:lnTo>
                        <a:lnTo>
                          <a:pt x="32" y="189"/>
                        </a:lnTo>
                        <a:lnTo>
                          <a:pt x="32" y="186"/>
                        </a:lnTo>
                        <a:lnTo>
                          <a:pt x="25" y="186"/>
                        </a:lnTo>
                        <a:lnTo>
                          <a:pt x="17" y="187"/>
                        </a:lnTo>
                        <a:lnTo>
                          <a:pt x="11" y="189"/>
                        </a:lnTo>
                        <a:lnTo>
                          <a:pt x="7" y="190"/>
                        </a:lnTo>
                        <a:lnTo>
                          <a:pt x="5" y="184"/>
                        </a:lnTo>
                        <a:lnTo>
                          <a:pt x="0" y="178"/>
                        </a:lnTo>
                        <a:lnTo>
                          <a:pt x="1" y="168"/>
                        </a:lnTo>
                        <a:lnTo>
                          <a:pt x="5" y="164"/>
                        </a:lnTo>
                        <a:lnTo>
                          <a:pt x="17" y="145"/>
                        </a:lnTo>
                        <a:lnTo>
                          <a:pt x="25" y="137"/>
                        </a:lnTo>
                        <a:lnTo>
                          <a:pt x="25" y="134"/>
                        </a:lnTo>
                        <a:lnTo>
                          <a:pt x="32" y="126"/>
                        </a:lnTo>
                        <a:lnTo>
                          <a:pt x="37" y="119"/>
                        </a:lnTo>
                        <a:lnTo>
                          <a:pt x="39" y="108"/>
                        </a:lnTo>
                        <a:lnTo>
                          <a:pt x="39" y="95"/>
                        </a:lnTo>
                        <a:lnTo>
                          <a:pt x="38" y="86"/>
                        </a:lnTo>
                        <a:lnTo>
                          <a:pt x="38" y="74"/>
                        </a:lnTo>
                        <a:lnTo>
                          <a:pt x="37" y="69"/>
                        </a:lnTo>
                        <a:lnTo>
                          <a:pt x="32" y="64"/>
                        </a:lnTo>
                        <a:lnTo>
                          <a:pt x="28" y="63"/>
                        </a:lnTo>
                        <a:lnTo>
                          <a:pt x="25" y="60"/>
                        </a:lnTo>
                        <a:lnTo>
                          <a:pt x="22" y="57"/>
                        </a:lnTo>
                        <a:lnTo>
                          <a:pt x="18" y="51"/>
                        </a:lnTo>
                        <a:lnTo>
                          <a:pt x="15" y="33"/>
                        </a:lnTo>
                        <a:lnTo>
                          <a:pt x="13" y="30"/>
                        </a:lnTo>
                        <a:lnTo>
                          <a:pt x="13" y="29"/>
                        </a:lnTo>
                        <a:lnTo>
                          <a:pt x="13" y="25"/>
                        </a:lnTo>
                        <a:lnTo>
                          <a:pt x="11" y="22"/>
                        </a:lnTo>
                        <a:lnTo>
                          <a:pt x="3" y="22"/>
                        </a:lnTo>
                        <a:lnTo>
                          <a:pt x="1" y="20"/>
                        </a:lnTo>
                        <a:lnTo>
                          <a:pt x="0" y="19"/>
                        </a:lnTo>
                        <a:lnTo>
                          <a:pt x="11" y="4"/>
                        </a:lnTo>
                        <a:lnTo>
                          <a:pt x="18" y="0"/>
                        </a:lnTo>
                        <a:lnTo>
                          <a:pt x="27" y="0"/>
                        </a:lnTo>
                        <a:lnTo>
                          <a:pt x="48" y="1"/>
                        </a:lnTo>
                        <a:lnTo>
                          <a:pt x="58" y="1"/>
                        </a:lnTo>
                        <a:lnTo>
                          <a:pt x="71" y="0"/>
                        </a:lnTo>
                        <a:lnTo>
                          <a:pt x="81" y="2"/>
                        </a:lnTo>
                        <a:lnTo>
                          <a:pt x="91" y="1"/>
                        </a:lnTo>
                        <a:lnTo>
                          <a:pt x="103" y="2"/>
                        </a:lnTo>
                        <a:lnTo>
                          <a:pt x="116" y="7"/>
                        </a:lnTo>
                        <a:lnTo>
                          <a:pt x="141" y="23"/>
                        </a:lnTo>
                        <a:lnTo>
                          <a:pt x="149" y="32"/>
                        </a:lnTo>
                        <a:lnTo>
                          <a:pt x="164" y="37"/>
                        </a:lnTo>
                        <a:lnTo>
                          <a:pt x="176" y="37"/>
                        </a:lnTo>
                        <a:lnTo>
                          <a:pt x="192" y="41"/>
                        </a:lnTo>
                        <a:lnTo>
                          <a:pt x="207" y="41"/>
                        </a:lnTo>
                        <a:lnTo>
                          <a:pt x="225" y="33"/>
                        </a:lnTo>
                        <a:lnTo>
                          <a:pt x="236" y="22"/>
                        </a:lnTo>
                        <a:lnTo>
                          <a:pt x="248" y="17"/>
                        </a:lnTo>
                        <a:lnTo>
                          <a:pt x="262" y="14"/>
                        </a:lnTo>
                        <a:lnTo>
                          <a:pt x="286" y="26"/>
                        </a:lnTo>
                        <a:lnTo>
                          <a:pt x="295" y="25"/>
                        </a:lnTo>
                        <a:lnTo>
                          <a:pt x="302" y="26"/>
                        </a:lnTo>
                        <a:lnTo>
                          <a:pt x="306" y="25"/>
                        </a:lnTo>
                        <a:lnTo>
                          <a:pt x="305" y="28"/>
                        </a:lnTo>
                        <a:lnTo>
                          <a:pt x="290" y="51"/>
                        </a:lnTo>
                        <a:lnTo>
                          <a:pt x="274" y="67"/>
                        </a:lnTo>
                        <a:lnTo>
                          <a:pt x="272" y="68"/>
                        </a:lnTo>
                        <a:lnTo>
                          <a:pt x="272" y="106"/>
                        </a:lnTo>
                        <a:lnTo>
                          <a:pt x="272" y="142"/>
                        </a:lnTo>
                        <a:lnTo>
                          <a:pt x="272" y="180"/>
                        </a:lnTo>
                        <a:lnTo>
                          <a:pt x="272" y="211"/>
                        </a:lnTo>
                        <a:lnTo>
                          <a:pt x="276" y="216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8" name="Freeform 116"/>
                  <p:cNvSpPr>
                    <a:spLocks/>
                  </p:cNvSpPr>
                  <p:nvPr/>
                </p:nvSpPr>
                <p:spPr bwMode="auto">
                  <a:xfrm>
                    <a:off x="2191" y="2856"/>
                    <a:ext cx="483" cy="396"/>
                  </a:xfrm>
                  <a:custGeom>
                    <a:avLst/>
                    <a:gdLst>
                      <a:gd name="T0" fmla="*/ 32929 w 451"/>
                      <a:gd name="T1" fmla="*/ 347 h 377"/>
                      <a:gd name="T2" fmla="*/ 34887 w 451"/>
                      <a:gd name="T3" fmla="*/ 722 h 377"/>
                      <a:gd name="T4" fmla="*/ 38779 w 451"/>
                      <a:gd name="T5" fmla="*/ 1024 h 377"/>
                      <a:gd name="T6" fmla="*/ 39031 w 451"/>
                      <a:gd name="T7" fmla="*/ 1310 h 377"/>
                      <a:gd name="T8" fmla="*/ 40382 w 451"/>
                      <a:gd name="T9" fmla="*/ 1583 h 377"/>
                      <a:gd name="T10" fmla="*/ 41252 w 451"/>
                      <a:gd name="T11" fmla="*/ 2259 h 377"/>
                      <a:gd name="T12" fmla="*/ 41192 w 451"/>
                      <a:gd name="T13" fmla="*/ 2607 h 377"/>
                      <a:gd name="T14" fmla="*/ 40470 w 451"/>
                      <a:gd name="T15" fmla="*/ 2999 h 377"/>
                      <a:gd name="T16" fmla="*/ 40220 w 451"/>
                      <a:gd name="T17" fmla="*/ 3939 h 377"/>
                      <a:gd name="T18" fmla="*/ 40802 w 451"/>
                      <a:gd name="T19" fmla="*/ 4217 h 377"/>
                      <a:gd name="T20" fmla="*/ 39412 w 451"/>
                      <a:gd name="T21" fmla="*/ 4407 h 377"/>
                      <a:gd name="T22" fmla="*/ 38779 w 451"/>
                      <a:gd name="T23" fmla="*/ 5145 h 377"/>
                      <a:gd name="T24" fmla="*/ 38779 w 451"/>
                      <a:gd name="T25" fmla="*/ 5559 h 377"/>
                      <a:gd name="T26" fmla="*/ 39872 w 451"/>
                      <a:gd name="T27" fmla="*/ 5683 h 377"/>
                      <a:gd name="T28" fmla="*/ 28962 w 451"/>
                      <a:gd name="T29" fmla="*/ 7204 h 377"/>
                      <a:gd name="T30" fmla="*/ 28403 w 451"/>
                      <a:gd name="T31" fmla="*/ 7318 h 377"/>
                      <a:gd name="T32" fmla="*/ 26434 w 451"/>
                      <a:gd name="T33" fmla="*/ 7358 h 377"/>
                      <a:gd name="T34" fmla="*/ 24057 w 451"/>
                      <a:gd name="T35" fmla="*/ 7567 h 377"/>
                      <a:gd name="T36" fmla="*/ 23806 w 451"/>
                      <a:gd name="T37" fmla="*/ 7994 h 377"/>
                      <a:gd name="T38" fmla="*/ 23040 w 451"/>
                      <a:gd name="T39" fmla="*/ 8237 h 377"/>
                      <a:gd name="T40" fmla="*/ 21521 w 451"/>
                      <a:gd name="T41" fmla="*/ 8324 h 377"/>
                      <a:gd name="T42" fmla="*/ 20095 w 451"/>
                      <a:gd name="T43" fmla="*/ 8481 h 377"/>
                      <a:gd name="T44" fmla="*/ 18578 w 451"/>
                      <a:gd name="T45" fmla="*/ 9058 h 377"/>
                      <a:gd name="T46" fmla="*/ 17912 w 451"/>
                      <a:gd name="T47" fmla="*/ 9281 h 377"/>
                      <a:gd name="T48" fmla="*/ 16129 w 451"/>
                      <a:gd name="T49" fmla="*/ 9675 h 377"/>
                      <a:gd name="T50" fmla="*/ 15060 w 451"/>
                      <a:gd name="T51" fmla="*/ 9563 h 377"/>
                      <a:gd name="T52" fmla="*/ 11599 w 451"/>
                      <a:gd name="T53" fmla="*/ 9563 h 377"/>
                      <a:gd name="T54" fmla="*/ 10268 w 451"/>
                      <a:gd name="T55" fmla="*/ 9200 h 377"/>
                      <a:gd name="T56" fmla="*/ 7469 w 451"/>
                      <a:gd name="T57" fmla="*/ 9058 h 377"/>
                      <a:gd name="T58" fmla="*/ 3431 w 451"/>
                      <a:gd name="T59" fmla="*/ 9088 h 377"/>
                      <a:gd name="T60" fmla="*/ 1353 w 451"/>
                      <a:gd name="T61" fmla="*/ 8652 h 377"/>
                      <a:gd name="T62" fmla="*/ 0 w 451"/>
                      <a:gd name="T63" fmla="*/ 8237 h 377"/>
                      <a:gd name="T64" fmla="*/ 0 w 451"/>
                      <a:gd name="T65" fmla="*/ 4702 h 377"/>
                      <a:gd name="T66" fmla="*/ 6974 w 451"/>
                      <a:gd name="T67" fmla="*/ 4573 h 377"/>
                      <a:gd name="T68" fmla="*/ 6974 w 451"/>
                      <a:gd name="T69" fmla="*/ 3835 h 377"/>
                      <a:gd name="T70" fmla="*/ 7289 w 451"/>
                      <a:gd name="T71" fmla="*/ 3036 h 377"/>
                      <a:gd name="T72" fmla="*/ 7469 w 451"/>
                      <a:gd name="T73" fmla="*/ 2718 h 377"/>
                      <a:gd name="T74" fmla="*/ 8008 w 451"/>
                      <a:gd name="T75" fmla="*/ 2493 h 377"/>
                      <a:gd name="T76" fmla="*/ 8615 w 451"/>
                      <a:gd name="T77" fmla="*/ 3036 h 377"/>
                      <a:gd name="T78" fmla="*/ 10472 w 451"/>
                      <a:gd name="T79" fmla="*/ 2933 h 377"/>
                      <a:gd name="T80" fmla="*/ 12081 w 451"/>
                      <a:gd name="T81" fmla="*/ 3242 h 377"/>
                      <a:gd name="T82" fmla="*/ 15800 w 451"/>
                      <a:gd name="T83" fmla="*/ 3646 h 377"/>
                      <a:gd name="T84" fmla="*/ 18097 w 451"/>
                      <a:gd name="T85" fmla="*/ 3476 h 377"/>
                      <a:gd name="T86" fmla="*/ 21790 w 451"/>
                      <a:gd name="T87" fmla="*/ 3995 h 377"/>
                      <a:gd name="T88" fmla="*/ 23387 w 451"/>
                      <a:gd name="T89" fmla="*/ 4653 h 377"/>
                      <a:gd name="T90" fmla="*/ 26062 w 451"/>
                      <a:gd name="T91" fmla="*/ 4888 h 377"/>
                      <a:gd name="T92" fmla="*/ 27026 w 451"/>
                      <a:gd name="T93" fmla="*/ 4965 h 377"/>
                      <a:gd name="T94" fmla="*/ 27526 w 451"/>
                      <a:gd name="T95" fmla="*/ 4803 h 377"/>
                      <a:gd name="T96" fmla="*/ 27026 w 451"/>
                      <a:gd name="T97" fmla="*/ 3939 h 377"/>
                      <a:gd name="T98" fmla="*/ 24439 w 451"/>
                      <a:gd name="T99" fmla="*/ 3882 h 377"/>
                      <a:gd name="T100" fmla="*/ 23123 w 451"/>
                      <a:gd name="T101" fmla="*/ 3333 h 377"/>
                      <a:gd name="T102" fmla="*/ 24654 w 451"/>
                      <a:gd name="T103" fmla="*/ 2151 h 377"/>
                      <a:gd name="T104" fmla="*/ 23978 w 451"/>
                      <a:gd name="T105" fmla="*/ 968 h 377"/>
                      <a:gd name="T106" fmla="*/ 25032 w 451"/>
                      <a:gd name="T107" fmla="*/ 382 h 377"/>
                      <a:gd name="T108" fmla="*/ 26434 w 451"/>
                      <a:gd name="T109" fmla="*/ 8 h 377"/>
                      <a:gd name="T110" fmla="*/ 30438 w 451"/>
                      <a:gd name="T111" fmla="*/ 364 h 377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451"/>
                      <a:gd name="T169" fmla="*/ 0 h 377"/>
                      <a:gd name="T170" fmla="*/ 451 w 451"/>
                      <a:gd name="T171" fmla="*/ 377 h 377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451" h="377">
                        <a:moveTo>
                          <a:pt x="340" y="15"/>
                        </a:moveTo>
                        <a:lnTo>
                          <a:pt x="347" y="22"/>
                        </a:lnTo>
                        <a:lnTo>
                          <a:pt x="353" y="14"/>
                        </a:lnTo>
                        <a:lnTo>
                          <a:pt x="357" y="13"/>
                        </a:lnTo>
                        <a:lnTo>
                          <a:pt x="362" y="15"/>
                        </a:lnTo>
                        <a:lnTo>
                          <a:pt x="369" y="21"/>
                        </a:lnTo>
                        <a:lnTo>
                          <a:pt x="374" y="25"/>
                        </a:lnTo>
                        <a:lnTo>
                          <a:pt x="378" y="28"/>
                        </a:lnTo>
                        <a:lnTo>
                          <a:pt x="385" y="30"/>
                        </a:lnTo>
                        <a:lnTo>
                          <a:pt x="405" y="39"/>
                        </a:lnTo>
                        <a:lnTo>
                          <a:pt x="413" y="41"/>
                        </a:lnTo>
                        <a:lnTo>
                          <a:pt x="421" y="41"/>
                        </a:lnTo>
                        <a:lnTo>
                          <a:pt x="422" y="43"/>
                        </a:lnTo>
                        <a:lnTo>
                          <a:pt x="424" y="46"/>
                        </a:lnTo>
                        <a:lnTo>
                          <a:pt x="424" y="47"/>
                        </a:lnTo>
                        <a:lnTo>
                          <a:pt x="424" y="51"/>
                        </a:lnTo>
                        <a:lnTo>
                          <a:pt x="426" y="51"/>
                        </a:lnTo>
                        <a:lnTo>
                          <a:pt x="427" y="56"/>
                        </a:lnTo>
                        <a:lnTo>
                          <a:pt x="433" y="56"/>
                        </a:lnTo>
                        <a:lnTo>
                          <a:pt x="437" y="62"/>
                        </a:lnTo>
                        <a:lnTo>
                          <a:pt x="439" y="65"/>
                        </a:lnTo>
                        <a:lnTo>
                          <a:pt x="442" y="72"/>
                        </a:lnTo>
                        <a:lnTo>
                          <a:pt x="445" y="76"/>
                        </a:lnTo>
                        <a:lnTo>
                          <a:pt x="447" y="89"/>
                        </a:lnTo>
                        <a:lnTo>
                          <a:pt x="451" y="91"/>
                        </a:lnTo>
                        <a:lnTo>
                          <a:pt x="451" y="95"/>
                        </a:lnTo>
                        <a:lnTo>
                          <a:pt x="451" y="98"/>
                        </a:lnTo>
                        <a:lnTo>
                          <a:pt x="445" y="102"/>
                        </a:lnTo>
                        <a:lnTo>
                          <a:pt x="443" y="102"/>
                        </a:lnTo>
                        <a:lnTo>
                          <a:pt x="440" y="104"/>
                        </a:lnTo>
                        <a:lnTo>
                          <a:pt x="439" y="110"/>
                        </a:lnTo>
                        <a:lnTo>
                          <a:pt x="440" y="117"/>
                        </a:lnTo>
                        <a:lnTo>
                          <a:pt x="436" y="127"/>
                        </a:lnTo>
                        <a:lnTo>
                          <a:pt x="437" y="133"/>
                        </a:lnTo>
                        <a:lnTo>
                          <a:pt x="437" y="143"/>
                        </a:lnTo>
                        <a:lnTo>
                          <a:pt x="436" y="153"/>
                        </a:lnTo>
                        <a:lnTo>
                          <a:pt x="437" y="155"/>
                        </a:lnTo>
                        <a:lnTo>
                          <a:pt x="439" y="159"/>
                        </a:lnTo>
                        <a:lnTo>
                          <a:pt x="443" y="160"/>
                        </a:lnTo>
                        <a:lnTo>
                          <a:pt x="443" y="164"/>
                        </a:lnTo>
                        <a:lnTo>
                          <a:pt x="443" y="167"/>
                        </a:lnTo>
                        <a:lnTo>
                          <a:pt x="436" y="168"/>
                        </a:lnTo>
                        <a:lnTo>
                          <a:pt x="432" y="170"/>
                        </a:lnTo>
                        <a:lnTo>
                          <a:pt x="428" y="171"/>
                        </a:lnTo>
                        <a:lnTo>
                          <a:pt x="428" y="172"/>
                        </a:lnTo>
                        <a:lnTo>
                          <a:pt x="426" y="183"/>
                        </a:lnTo>
                        <a:lnTo>
                          <a:pt x="424" y="193"/>
                        </a:lnTo>
                        <a:lnTo>
                          <a:pt x="421" y="201"/>
                        </a:lnTo>
                        <a:lnTo>
                          <a:pt x="416" y="208"/>
                        </a:lnTo>
                        <a:lnTo>
                          <a:pt x="416" y="210"/>
                        </a:lnTo>
                        <a:lnTo>
                          <a:pt x="416" y="216"/>
                        </a:lnTo>
                        <a:lnTo>
                          <a:pt x="421" y="216"/>
                        </a:lnTo>
                        <a:lnTo>
                          <a:pt x="423" y="221"/>
                        </a:lnTo>
                        <a:lnTo>
                          <a:pt x="429" y="221"/>
                        </a:lnTo>
                        <a:lnTo>
                          <a:pt x="430" y="222"/>
                        </a:lnTo>
                        <a:lnTo>
                          <a:pt x="432" y="223"/>
                        </a:lnTo>
                        <a:lnTo>
                          <a:pt x="424" y="223"/>
                        </a:lnTo>
                        <a:lnTo>
                          <a:pt x="309" y="263"/>
                        </a:lnTo>
                        <a:lnTo>
                          <a:pt x="314" y="273"/>
                        </a:lnTo>
                        <a:lnTo>
                          <a:pt x="315" y="282"/>
                        </a:lnTo>
                        <a:lnTo>
                          <a:pt x="319" y="284"/>
                        </a:lnTo>
                        <a:lnTo>
                          <a:pt x="318" y="285"/>
                        </a:lnTo>
                        <a:lnTo>
                          <a:pt x="313" y="285"/>
                        </a:lnTo>
                        <a:lnTo>
                          <a:pt x="308" y="286"/>
                        </a:lnTo>
                        <a:lnTo>
                          <a:pt x="303" y="285"/>
                        </a:lnTo>
                        <a:lnTo>
                          <a:pt x="298" y="284"/>
                        </a:lnTo>
                        <a:lnTo>
                          <a:pt x="296" y="284"/>
                        </a:lnTo>
                        <a:lnTo>
                          <a:pt x="287" y="287"/>
                        </a:lnTo>
                        <a:lnTo>
                          <a:pt x="275" y="289"/>
                        </a:lnTo>
                        <a:lnTo>
                          <a:pt x="271" y="292"/>
                        </a:lnTo>
                        <a:lnTo>
                          <a:pt x="266" y="296"/>
                        </a:lnTo>
                        <a:lnTo>
                          <a:pt x="261" y="296"/>
                        </a:lnTo>
                        <a:lnTo>
                          <a:pt x="258" y="299"/>
                        </a:lnTo>
                        <a:lnTo>
                          <a:pt x="257" y="302"/>
                        </a:lnTo>
                        <a:lnTo>
                          <a:pt x="257" y="309"/>
                        </a:lnTo>
                        <a:lnTo>
                          <a:pt x="257" y="312"/>
                        </a:lnTo>
                        <a:lnTo>
                          <a:pt x="257" y="315"/>
                        </a:lnTo>
                        <a:lnTo>
                          <a:pt x="255" y="318"/>
                        </a:lnTo>
                        <a:lnTo>
                          <a:pt x="255" y="320"/>
                        </a:lnTo>
                        <a:lnTo>
                          <a:pt x="249" y="320"/>
                        </a:lnTo>
                        <a:lnTo>
                          <a:pt x="240" y="319"/>
                        </a:lnTo>
                        <a:lnTo>
                          <a:pt x="236" y="321"/>
                        </a:lnTo>
                        <a:lnTo>
                          <a:pt x="235" y="324"/>
                        </a:lnTo>
                        <a:lnTo>
                          <a:pt x="233" y="324"/>
                        </a:lnTo>
                        <a:lnTo>
                          <a:pt x="228" y="331"/>
                        </a:lnTo>
                        <a:lnTo>
                          <a:pt x="223" y="330"/>
                        </a:lnTo>
                        <a:lnTo>
                          <a:pt x="219" y="331"/>
                        </a:lnTo>
                        <a:lnTo>
                          <a:pt x="218" y="331"/>
                        </a:lnTo>
                        <a:lnTo>
                          <a:pt x="216" y="335"/>
                        </a:lnTo>
                        <a:lnTo>
                          <a:pt x="213" y="336"/>
                        </a:lnTo>
                        <a:lnTo>
                          <a:pt x="209" y="344"/>
                        </a:lnTo>
                        <a:lnTo>
                          <a:pt x="202" y="351"/>
                        </a:lnTo>
                        <a:lnTo>
                          <a:pt x="199" y="355"/>
                        </a:lnTo>
                        <a:lnTo>
                          <a:pt x="199" y="358"/>
                        </a:lnTo>
                        <a:lnTo>
                          <a:pt x="197" y="362"/>
                        </a:lnTo>
                        <a:lnTo>
                          <a:pt x="194" y="363"/>
                        </a:lnTo>
                        <a:lnTo>
                          <a:pt x="191" y="370"/>
                        </a:lnTo>
                        <a:lnTo>
                          <a:pt x="185" y="375"/>
                        </a:lnTo>
                        <a:lnTo>
                          <a:pt x="181" y="375"/>
                        </a:lnTo>
                        <a:lnTo>
                          <a:pt x="176" y="377"/>
                        </a:lnTo>
                        <a:lnTo>
                          <a:pt x="173" y="376"/>
                        </a:lnTo>
                        <a:lnTo>
                          <a:pt x="172" y="372"/>
                        </a:lnTo>
                        <a:lnTo>
                          <a:pt x="169" y="372"/>
                        </a:lnTo>
                        <a:lnTo>
                          <a:pt x="164" y="372"/>
                        </a:lnTo>
                        <a:lnTo>
                          <a:pt x="161" y="372"/>
                        </a:lnTo>
                        <a:lnTo>
                          <a:pt x="148" y="373"/>
                        </a:lnTo>
                        <a:lnTo>
                          <a:pt x="138" y="369"/>
                        </a:lnTo>
                        <a:lnTo>
                          <a:pt x="125" y="372"/>
                        </a:lnTo>
                        <a:lnTo>
                          <a:pt x="123" y="370"/>
                        </a:lnTo>
                        <a:lnTo>
                          <a:pt x="120" y="368"/>
                        </a:lnTo>
                        <a:lnTo>
                          <a:pt x="116" y="367"/>
                        </a:lnTo>
                        <a:lnTo>
                          <a:pt x="110" y="358"/>
                        </a:lnTo>
                        <a:lnTo>
                          <a:pt x="108" y="357"/>
                        </a:lnTo>
                        <a:lnTo>
                          <a:pt x="97" y="355"/>
                        </a:lnTo>
                        <a:lnTo>
                          <a:pt x="83" y="355"/>
                        </a:lnTo>
                        <a:lnTo>
                          <a:pt x="80" y="351"/>
                        </a:lnTo>
                        <a:lnTo>
                          <a:pt x="51" y="359"/>
                        </a:lnTo>
                        <a:lnTo>
                          <a:pt x="45" y="360"/>
                        </a:lnTo>
                        <a:lnTo>
                          <a:pt x="39" y="357"/>
                        </a:lnTo>
                        <a:lnTo>
                          <a:pt x="37" y="353"/>
                        </a:lnTo>
                        <a:lnTo>
                          <a:pt x="30" y="350"/>
                        </a:lnTo>
                        <a:lnTo>
                          <a:pt x="27" y="346"/>
                        </a:lnTo>
                        <a:lnTo>
                          <a:pt x="20" y="341"/>
                        </a:lnTo>
                        <a:lnTo>
                          <a:pt x="16" y="336"/>
                        </a:lnTo>
                        <a:lnTo>
                          <a:pt x="7" y="331"/>
                        </a:lnTo>
                        <a:lnTo>
                          <a:pt x="4" y="325"/>
                        </a:lnTo>
                        <a:lnTo>
                          <a:pt x="0" y="321"/>
                        </a:lnTo>
                        <a:lnTo>
                          <a:pt x="0" y="320"/>
                        </a:lnTo>
                        <a:lnTo>
                          <a:pt x="0" y="295"/>
                        </a:lnTo>
                        <a:lnTo>
                          <a:pt x="0" y="258"/>
                        </a:lnTo>
                        <a:lnTo>
                          <a:pt x="0" y="220"/>
                        </a:lnTo>
                        <a:lnTo>
                          <a:pt x="0" y="184"/>
                        </a:lnTo>
                        <a:lnTo>
                          <a:pt x="41" y="184"/>
                        </a:lnTo>
                        <a:lnTo>
                          <a:pt x="83" y="184"/>
                        </a:lnTo>
                        <a:lnTo>
                          <a:pt x="77" y="181"/>
                        </a:lnTo>
                        <a:lnTo>
                          <a:pt x="75" y="179"/>
                        </a:lnTo>
                        <a:lnTo>
                          <a:pt x="73" y="175"/>
                        </a:lnTo>
                        <a:lnTo>
                          <a:pt x="73" y="165"/>
                        </a:lnTo>
                        <a:lnTo>
                          <a:pt x="75" y="160"/>
                        </a:lnTo>
                        <a:lnTo>
                          <a:pt x="75" y="150"/>
                        </a:lnTo>
                        <a:lnTo>
                          <a:pt x="75" y="140"/>
                        </a:lnTo>
                        <a:lnTo>
                          <a:pt x="77" y="132"/>
                        </a:lnTo>
                        <a:lnTo>
                          <a:pt x="78" y="122"/>
                        </a:lnTo>
                        <a:lnTo>
                          <a:pt x="78" y="119"/>
                        </a:lnTo>
                        <a:lnTo>
                          <a:pt x="78" y="116"/>
                        </a:lnTo>
                        <a:lnTo>
                          <a:pt x="78" y="109"/>
                        </a:lnTo>
                        <a:lnTo>
                          <a:pt x="78" y="106"/>
                        </a:lnTo>
                        <a:lnTo>
                          <a:pt x="80" y="106"/>
                        </a:lnTo>
                        <a:lnTo>
                          <a:pt x="78" y="102"/>
                        </a:lnTo>
                        <a:lnTo>
                          <a:pt x="77" y="102"/>
                        </a:lnTo>
                        <a:lnTo>
                          <a:pt x="83" y="99"/>
                        </a:lnTo>
                        <a:lnTo>
                          <a:pt x="87" y="98"/>
                        </a:lnTo>
                        <a:lnTo>
                          <a:pt x="89" y="99"/>
                        </a:lnTo>
                        <a:lnTo>
                          <a:pt x="93" y="106"/>
                        </a:lnTo>
                        <a:lnTo>
                          <a:pt x="92" y="116"/>
                        </a:lnTo>
                        <a:lnTo>
                          <a:pt x="94" y="119"/>
                        </a:lnTo>
                        <a:lnTo>
                          <a:pt x="96" y="119"/>
                        </a:lnTo>
                        <a:lnTo>
                          <a:pt x="105" y="116"/>
                        </a:lnTo>
                        <a:lnTo>
                          <a:pt x="109" y="114"/>
                        </a:lnTo>
                        <a:lnTo>
                          <a:pt x="113" y="114"/>
                        </a:lnTo>
                        <a:lnTo>
                          <a:pt x="121" y="111"/>
                        </a:lnTo>
                        <a:lnTo>
                          <a:pt x="126" y="117"/>
                        </a:lnTo>
                        <a:lnTo>
                          <a:pt x="128" y="122"/>
                        </a:lnTo>
                        <a:lnTo>
                          <a:pt x="132" y="127"/>
                        </a:lnTo>
                        <a:lnTo>
                          <a:pt x="141" y="130"/>
                        </a:lnTo>
                        <a:lnTo>
                          <a:pt x="150" y="136"/>
                        </a:lnTo>
                        <a:lnTo>
                          <a:pt x="163" y="140"/>
                        </a:lnTo>
                        <a:lnTo>
                          <a:pt x="171" y="142"/>
                        </a:lnTo>
                        <a:lnTo>
                          <a:pt x="176" y="140"/>
                        </a:lnTo>
                        <a:lnTo>
                          <a:pt x="185" y="136"/>
                        </a:lnTo>
                        <a:lnTo>
                          <a:pt x="192" y="135"/>
                        </a:lnTo>
                        <a:lnTo>
                          <a:pt x="195" y="136"/>
                        </a:lnTo>
                        <a:lnTo>
                          <a:pt x="210" y="148"/>
                        </a:lnTo>
                        <a:lnTo>
                          <a:pt x="219" y="153"/>
                        </a:lnTo>
                        <a:lnTo>
                          <a:pt x="227" y="155"/>
                        </a:lnTo>
                        <a:lnTo>
                          <a:pt x="235" y="155"/>
                        </a:lnTo>
                        <a:lnTo>
                          <a:pt x="240" y="161"/>
                        </a:lnTo>
                        <a:lnTo>
                          <a:pt x="244" y="169"/>
                        </a:lnTo>
                        <a:lnTo>
                          <a:pt x="245" y="174"/>
                        </a:lnTo>
                        <a:lnTo>
                          <a:pt x="255" y="181"/>
                        </a:lnTo>
                        <a:lnTo>
                          <a:pt x="265" y="187"/>
                        </a:lnTo>
                        <a:lnTo>
                          <a:pt x="271" y="190"/>
                        </a:lnTo>
                        <a:lnTo>
                          <a:pt x="278" y="190"/>
                        </a:lnTo>
                        <a:lnTo>
                          <a:pt x="282" y="190"/>
                        </a:lnTo>
                        <a:lnTo>
                          <a:pt x="285" y="188"/>
                        </a:lnTo>
                        <a:lnTo>
                          <a:pt x="288" y="188"/>
                        </a:lnTo>
                        <a:lnTo>
                          <a:pt x="289" y="188"/>
                        </a:lnTo>
                        <a:lnTo>
                          <a:pt x="293" y="194"/>
                        </a:lnTo>
                        <a:lnTo>
                          <a:pt x="296" y="195"/>
                        </a:lnTo>
                        <a:lnTo>
                          <a:pt x="298" y="195"/>
                        </a:lnTo>
                        <a:lnTo>
                          <a:pt x="299" y="193"/>
                        </a:lnTo>
                        <a:lnTo>
                          <a:pt x="299" y="188"/>
                        </a:lnTo>
                        <a:lnTo>
                          <a:pt x="298" y="184"/>
                        </a:lnTo>
                        <a:lnTo>
                          <a:pt x="298" y="159"/>
                        </a:lnTo>
                        <a:lnTo>
                          <a:pt x="296" y="153"/>
                        </a:lnTo>
                        <a:lnTo>
                          <a:pt x="293" y="153"/>
                        </a:lnTo>
                        <a:lnTo>
                          <a:pt x="285" y="157"/>
                        </a:lnTo>
                        <a:lnTo>
                          <a:pt x="278" y="155"/>
                        </a:lnTo>
                        <a:lnTo>
                          <a:pt x="270" y="153"/>
                        </a:lnTo>
                        <a:lnTo>
                          <a:pt x="265" y="152"/>
                        </a:lnTo>
                        <a:lnTo>
                          <a:pt x="257" y="143"/>
                        </a:lnTo>
                        <a:lnTo>
                          <a:pt x="252" y="138"/>
                        </a:lnTo>
                        <a:lnTo>
                          <a:pt x="252" y="136"/>
                        </a:lnTo>
                        <a:lnTo>
                          <a:pt x="251" y="130"/>
                        </a:lnTo>
                        <a:lnTo>
                          <a:pt x="252" y="124"/>
                        </a:lnTo>
                        <a:lnTo>
                          <a:pt x="255" y="117"/>
                        </a:lnTo>
                        <a:lnTo>
                          <a:pt x="265" y="91"/>
                        </a:lnTo>
                        <a:lnTo>
                          <a:pt x="266" y="85"/>
                        </a:lnTo>
                        <a:lnTo>
                          <a:pt x="267" y="68"/>
                        </a:lnTo>
                        <a:lnTo>
                          <a:pt x="265" y="58"/>
                        </a:lnTo>
                        <a:lnTo>
                          <a:pt x="260" y="44"/>
                        </a:lnTo>
                        <a:lnTo>
                          <a:pt x="260" y="38"/>
                        </a:lnTo>
                        <a:lnTo>
                          <a:pt x="261" y="36"/>
                        </a:lnTo>
                        <a:lnTo>
                          <a:pt x="264" y="28"/>
                        </a:lnTo>
                        <a:lnTo>
                          <a:pt x="267" y="24"/>
                        </a:lnTo>
                        <a:lnTo>
                          <a:pt x="271" y="15"/>
                        </a:lnTo>
                        <a:lnTo>
                          <a:pt x="274" y="13"/>
                        </a:lnTo>
                        <a:lnTo>
                          <a:pt x="277" y="11"/>
                        </a:lnTo>
                        <a:lnTo>
                          <a:pt x="278" y="11"/>
                        </a:lnTo>
                        <a:lnTo>
                          <a:pt x="287" y="8"/>
                        </a:lnTo>
                        <a:lnTo>
                          <a:pt x="330" y="0"/>
                        </a:lnTo>
                        <a:lnTo>
                          <a:pt x="331" y="3"/>
                        </a:lnTo>
                        <a:lnTo>
                          <a:pt x="331" y="7"/>
                        </a:lnTo>
                        <a:lnTo>
                          <a:pt x="331" y="14"/>
                        </a:lnTo>
                        <a:lnTo>
                          <a:pt x="335" y="15"/>
                        </a:lnTo>
                        <a:lnTo>
                          <a:pt x="340" y="15"/>
                        </a:lnTo>
                        <a:close/>
                      </a:path>
                    </a:pathLst>
                  </a:custGeom>
                  <a:solidFill>
                    <a:srgbClr val="7891B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19" name="Freeform 117"/>
                  <p:cNvSpPr>
                    <a:spLocks/>
                  </p:cNvSpPr>
                  <p:nvPr/>
                </p:nvSpPr>
                <p:spPr bwMode="auto">
                  <a:xfrm>
                    <a:off x="2191" y="2856"/>
                    <a:ext cx="483" cy="396"/>
                  </a:xfrm>
                  <a:custGeom>
                    <a:avLst/>
                    <a:gdLst>
                      <a:gd name="T0" fmla="*/ 32929 w 451"/>
                      <a:gd name="T1" fmla="*/ 347 h 377"/>
                      <a:gd name="T2" fmla="*/ 34887 w 451"/>
                      <a:gd name="T3" fmla="*/ 722 h 377"/>
                      <a:gd name="T4" fmla="*/ 38779 w 451"/>
                      <a:gd name="T5" fmla="*/ 1024 h 377"/>
                      <a:gd name="T6" fmla="*/ 39031 w 451"/>
                      <a:gd name="T7" fmla="*/ 1310 h 377"/>
                      <a:gd name="T8" fmla="*/ 40382 w 451"/>
                      <a:gd name="T9" fmla="*/ 1583 h 377"/>
                      <a:gd name="T10" fmla="*/ 41252 w 451"/>
                      <a:gd name="T11" fmla="*/ 2259 h 377"/>
                      <a:gd name="T12" fmla="*/ 41192 w 451"/>
                      <a:gd name="T13" fmla="*/ 2607 h 377"/>
                      <a:gd name="T14" fmla="*/ 40470 w 451"/>
                      <a:gd name="T15" fmla="*/ 2999 h 377"/>
                      <a:gd name="T16" fmla="*/ 40220 w 451"/>
                      <a:gd name="T17" fmla="*/ 3939 h 377"/>
                      <a:gd name="T18" fmla="*/ 40802 w 451"/>
                      <a:gd name="T19" fmla="*/ 4217 h 377"/>
                      <a:gd name="T20" fmla="*/ 39412 w 451"/>
                      <a:gd name="T21" fmla="*/ 4407 h 377"/>
                      <a:gd name="T22" fmla="*/ 38779 w 451"/>
                      <a:gd name="T23" fmla="*/ 5145 h 377"/>
                      <a:gd name="T24" fmla="*/ 38779 w 451"/>
                      <a:gd name="T25" fmla="*/ 5559 h 377"/>
                      <a:gd name="T26" fmla="*/ 39872 w 451"/>
                      <a:gd name="T27" fmla="*/ 5683 h 377"/>
                      <a:gd name="T28" fmla="*/ 28962 w 451"/>
                      <a:gd name="T29" fmla="*/ 7204 h 377"/>
                      <a:gd name="T30" fmla="*/ 28403 w 451"/>
                      <a:gd name="T31" fmla="*/ 7318 h 377"/>
                      <a:gd name="T32" fmla="*/ 26434 w 451"/>
                      <a:gd name="T33" fmla="*/ 7358 h 377"/>
                      <a:gd name="T34" fmla="*/ 24057 w 451"/>
                      <a:gd name="T35" fmla="*/ 7567 h 377"/>
                      <a:gd name="T36" fmla="*/ 23806 w 451"/>
                      <a:gd name="T37" fmla="*/ 7994 h 377"/>
                      <a:gd name="T38" fmla="*/ 23040 w 451"/>
                      <a:gd name="T39" fmla="*/ 8237 h 377"/>
                      <a:gd name="T40" fmla="*/ 21521 w 451"/>
                      <a:gd name="T41" fmla="*/ 8324 h 377"/>
                      <a:gd name="T42" fmla="*/ 20095 w 451"/>
                      <a:gd name="T43" fmla="*/ 8481 h 377"/>
                      <a:gd name="T44" fmla="*/ 18578 w 451"/>
                      <a:gd name="T45" fmla="*/ 9058 h 377"/>
                      <a:gd name="T46" fmla="*/ 17912 w 451"/>
                      <a:gd name="T47" fmla="*/ 9281 h 377"/>
                      <a:gd name="T48" fmla="*/ 16129 w 451"/>
                      <a:gd name="T49" fmla="*/ 9675 h 377"/>
                      <a:gd name="T50" fmla="*/ 15060 w 451"/>
                      <a:gd name="T51" fmla="*/ 9563 h 377"/>
                      <a:gd name="T52" fmla="*/ 11599 w 451"/>
                      <a:gd name="T53" fmla="*/ 9563 h 377"/>
                      <a:gd name="T54" fmla="*/ 10268 w 451"/>
                      <a:gd name="T55" fmla="*/ 9200 h 377"/>
                      <a:gd name="T56" fmla="*/ 7469 w 451"/>
                      <a:gd name="T57" fmla="*/ 9058 h 377"/>
                      <a:gd name="T58" fmla="*/ 3431 w 451"/>
                      <a:gd name="T59" fmla="*/ 9088 h 377"/>
                      <a:gd name="T60" fmla="*/ 1353 w 451"/>
                      <a:gd name="T61" fmla="*/ 8652 h 377"/>
                      <a:gd name="T62" fmla="*/ 0 w 451"/>
                      <a:gd name="T63" fmla="*/ 8237 h 377"/>
                      <a:gd name="T64" fmla="*/ 0 w 451"/>
                      <a:gd name="T65" fmla="*/ 4702 h 377"/>
                      <a:gd name="T66" fmla="*/ 6974 w 451"/>
                      <a:gd name="T67" fmla="*/ 4573 h 377"/>
                      <a:gd name="T68" fmla="*/ 6974 w 451"/>
                      <a:gd name="T69" fmla="*/ 3835 h 377"/>
                      <a:gd name="T70" fmla="*/ 7289 w 451"/>
                      <a:gd name="T71" fmla="*/ 3036 h 377"/>
                      <a:gd name="T72" fmla="*/ 7469 w 451"/>
                      <a:gd name="T73" fmla="*/ 2718 h 377"/>
                      <a:gd name="T74" fmla="*/ 8008 w 451"/>
                      <a:gd name="T75" fmla="*/ 2493 h 377"/>
                      <a:gd name="T76" fmla="*/ 8615 w 451"/>
                      <a:gd name="T77" fmla="*/ 3036 h 377"/>
                      <a:gd name="T78" fmla="*/ 10472 w 451"/>
                      <a:gd name="T79" fmla="*/ 2933 h 377"/>
                      <a:gd name="T80" fmla="*/ 12081 w 451"/>
                      <a:gd name="T81" fmla="*/ 3242 h 377"/>
                      <a:gd name="T82" fmla="*/ 15800 w 451"/>
                      <a:gd name="T83" fmla="*/ 3646 h 377"/>
                      <a:gd name="T84" fmla="*/ 18097 w 451"/>
                      <a:gd name="T85" fmla="*/ 3476 h 377"/>
                      <a:gd name="T86" fmla="*/ 21790 w 451"/>
                      <a:gd name="T87" fmla="*/ 3995 h 377"/>
                      <a:gd name="T88" fmla="*/ 23387 w 451"/>
                      <a:gd name="T89" fmla="*/ 4653 h 377"/>
                      <a:gd name="T90" fmla="*/ 26062 w 451"/>
                      <a:gd name="T91" fmla="*/ 4888 h 377"/>
                      <a:gd name="T92" fmla="*/ 27026 w 451"/>
                      <a:gd name="T93" fmla="*/ 4965 h 377"/>
                      <a:gd name="T94" fmla="*/ 27526 w 451"/>
                      <a:gd name="T95" fmla="*/ 4803 h 377"/>
                      <a:gd name="T96" fmla="*/ 27026 w 451"/>
                      <a:gd name="T97" fmla="*/ 3939 h 377"/>
                      <a:gd name="T98" fmla="*/ 24439 w 451"/>
                      <a:gd name="T99" fmla="*/ 3882 h 377"/>
                      <a:gd name="T100" fmla="*/ 23123 w 451"/>
                      <a:gd name="T101" fmla="*/ 3333 h 377"/>
                      <a:gd name="T102" fmla="*/ 24654 w 451"/>
                      <a:gd name="T103" fmla="*/ 2151 h 377"/>
                      <a:gd name="T104" fmla="*/ 23978 w 451"/>
                      <a:gd name="T105" fmla="*/ 968 h 377"/>
                      <a:gd name="T106" fmla="*/ 25032 w 451"/>
                      <a:gd name="T107" fmla="*/ 382 h 377"/>
                      <a:gd name="T108" fmla="*/ 26434 w 451"/>
                      <a:gd name="T109" fmla="*/ 8 h 377"/>
                      <a:gd name="T110" fmla="*/ 30438 w 451"/>
                      <a:gd name="T111" fmla="*/ 364 h 377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451"/>
                      <a:gd name="T169" fmla="*/ 0 h 377"/>
                      <a:gd name="T170" fmla="*/ 451 w 451"/>
                      <a:gd name="T171" fmla="*/ 377 h 377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451" h="377">
                        <a:moveTo>
                          <a:pt x="340" y="15"/>
                        </a:moveTo>
                        <a:lnTo>
                          <a:pt x="347" y="22"/>
                        </a:lnTo>
                        <a:lnTo>
                          <a:pt x="353" y="14"/>
                        </a:lnTo>
                        <a:lnTo>
                          <a:pt x="357" y="13"/>
                        </a:lnTo>
                        <a:lnTo>
                          <a:pt x="362" y="15"/>
                        </a:lnTo>
                        <a:lnTo>
                          <a:pt x="369" y="21"/>
                        </a:lnTo>
                        <a:lnTo>
                          <a:pt x="374" y="25"/>
                        </a:lnTo>
                        <a:lnTo>
                          <a:pt x="378" y="28"/>
                        </a:lnTo>
                        <a:lnTo>
                          <a:pt x="385" y="30"/>
                        </a:lnTo>
                        <a:lnTo>
                          <a:pt x="405" y="39"/>
                        </a:lnTo>
                        <a:lnTo>
                          <a:pt x="413" y="41"/>
                        </a:lnTo>
                        <a:lnTo>
                          <a:pt x="421" y="41"/>
                        </a:lnTo>
                        <a:lnTo>
                          <a:pt x="422" y="43"/>
                        </a:lnTo>
                        <a:lnTo>
                          <a:pt x="424" y="46"/>
                        </a:lnTo>
                        <a:lnTo>
                          <a:pt x="424" y="47"/>
                        </a:lnTo>
                        <a:lnTo>
                          <a:pt x="424" y="51"/>
                        </a:lnTo>
                        <a:lnTo>
                          <a:pt x="426" y="51"/>
                        </a:lnTo>
                        <a:lnTo>
                          <a:pt x="427" y="56"/>
                        </a:lnTo>
                        <a:lnTo>
                          <a:pt x="433" y="56"/>
                        </a:lnTo>
                        <a:lnTo>
                          <a:pt x="437" y="62"/>
                        </a:lnTo>
                        <a:lnTo>
                          <a:pt x="439" y="65"/>
                        </a:lnTo>
                        <a:lnTo>
                          <a:pt x="442" y="72"/>
                        </a:lnTo>
                        <a:lnTo>
                          <a:pt x="445" y="76"/>
                        </a:lnTo>
                        <a:lnTo>
                          <a:pt x="447" y="89"/>
                        </a:lnTo>
                        <a:lnTo>
                          <a:pt x="451" y="91"/>
                        </a:lnTo>
                        <a:lnTo>
                          <a:pt x="451" y="95"/>
                        </a:lnTo>
                        <a:lnTo>
                          <a:pt x="451" y="98"/>
                        </a:lnTo>
                        <a:lnTo>
                          <a:pt x="445" y="102"/>
                        </a:lnTo>
                        <a:lnTo>
                          <a:pt x="443" y="102"/>
                        </a:lnTo>
                        <a:lnTo>
                          <a:pt x="440" y="104"/>
                        </a:lnTo>
                        <a:lnTo>
                          <a:pt x="439" y="110"/>
                        </a:lnTo>
                        <a:lnTo>
                          <a:pt x="440" y="117"/>
                        </a:lnTo>
                        <a:lnTo>
                          <a:pt x="436" y="127"/>
                        </a:lnTo>
                        <a:lnTo>
                          <a:pt x="437" y="133"/>
                        </a:lnTo>
                        <a:lnTo>
                          <a:pt x="437" y="143"/>
                        </a:lnTo>
                        <a:lnTo>
                          <a:pt x="436" y="153"/>
                        </a:lnTo>
                        <a:lnTo>
                          <a:pt x="437" y="155"/>
                        </a:lnTo>
                        <a:lnTo>
                          <a:pt x="439" y="159"/>
                        </a:lnTo>
                        <a:lnTo>
                          <a:pt x="443" y="160"/>
                        </a:lnTo>
                        <a:lnTo>
                          <a:pt x="443" y="164"/>
                        </a:lnTo>
                        <a:lnTo>
                          <a:pt x="443" y="167"/>
                        </a:lnTo>
                        <a:lnTo>
                          <a:pt x="436" y="168"/>
                        </a:lnTo>
                        <a:lnTo>
                          <a:pt x="432" y="170"/>
                        </a:lnTo>
                        <a:lnTo>
                          <a:pt x="428" y="171"/>
                        </a:lnTo>
                        <a:lnTo>
                          <a:pt x="428" y="172"/>
                        </a:lnTo>
                        <a:lnTo>
                          <a:pt x="426" y="183"/>
                        </a:lnTo>
                        <a:lnTo>
                          <a:pt x="424" y="193"/>
                        </a:lnTo>
                        <a:lnTo>
                          <a:pt x="421" y="201"/>
                        </a:lnTo>
                        <a:lnTo>
                          <a:pt x="416" y="208"/>
                        </a:lnTo>
                        <a:lnTo>
                          <a:pt x="416" y="210"/>
                        </a:lnTo>
                        <a:lnTo>
                          <a:pt x="416" y="216"/>
                        </a:lnTo>
                        <a:lnTo>
                          <a:pt x="421" y="216"/>
                        </a:lnTo>
                        <a:lnTo>
                          <a:pt x="423" y="221"/>
                        </a:lnTo>
                        <a:lnTo>
                          <a:pt x="429" y="221"/>
                        </a:lnTo>
                        <a:lnTo>
                          <a:pt x="430" y="222"/>
                        </a:lnTo>
                        <a:lnTo>
                          <a:pt x="432" y="223"/>
                        </a:lnTo>
                        <a:lnTo>
                          <a:pt x="424" y="223"/>
                        </a:lnTo>
                        <a:lnTo>
                          <a:pt x="309" y="263"/>
                        </a:lnTo>
                        <a:lnTo>
                          <a:pt x="314" y="273"/>
                        </a:lnTo>
                        <a:lnTo>
                          <a:pt x="315" y="282"/>
                        </a:lnTo>
                        <a:lnTo>
                          <a:pt x="319" y="284"/>
                        </a:lnTo>
                        <a:lnTo>
                          <a:pt x="318" y="285"/>
                        </a:lnTo>
                        <a:lnTo>
                          <a:pt x="313" y="285"/>
                        </a:lnTo>
                        <a:lnTo>
                          <a:pt x="308" y="286"/>
                        </a:lnTo>
                        <a:lnTo>
                          <a:pt x="303" y="285"/>
                        </a:lnTo>
                        <a:lnTo>
                          <a:pt x="298" y="284"/>
                        </a:lnTo>
                        <a:lnTo>
                          <a:pt x="296" y="284"/>
                        </a:lnTo>
                        <a:lnTo>
                          <a:pt x="287" y="287"/>
                        </a:lnTo>
                        <a:lnTo>
                          <a:pt x="275" y="289"/>
                        </a:lnTo>
                        <a:lnTo>
                          <a:pt x="271" y="292"/>
                        </a:lnTo>
                        <a:lnTo>
                          <a:pt x="266" y="296"/>
                        </a:lnTo>
                        <a:lnTo>
                          <a:pt x="261" y="296"/>
                        </a:lnTo>
                        <a:lnTo>
                          <a:pt x="258" y="299"/>
                        </a:lnTo>
                        <a:lnTo>
                          <a:pt x="257" y="302"/>
                        </a:lnTo>
                        <a:lnTo>
                          <a:pt x="257" y="309"/>
                        </a:lnTo>
                        <a:lnTo>
                          <a:pt x="257" y="312"/>
                        </a:lnTo>
                        <a:lnTo>
                          <a:pt x="257" y="315"/>
                        </a:lnTo>
                        <a:lnTo>
                          <a:pt x="255" y="318"/>
                        </a:lnTo>
                        <a:lnTo>
                          <a:pt x="255" y="320"/>
                        </a:lnTo>
                        <a:lnTo>
                          <a:pt x="249" y="320"/>
                        </a:lnTo>
                        <a:lnTo>
                          <a:pt x="240" y="319"/>
                        </a:lnTo>
                        <a:lnTo>
                          <a:pt x="236" y="321"/>
                        </a:lnTo>
                        <a:lnTo>
                          <a:pt x="235" y="324"/>
                        </a:lnTo>
                        <a:lnTo>
                          <a:pt x="233" y="324"/>
                        </a:lnTo>
                        <a:lnTo>
                          <a:pt x="228" y="331"/>
                        </a:lnTo>
                        <a:lnTo>
                          <a:pt x="223" y="330"/>
                        </a:lnTo>
                        <a:lnTo>
                          <a:pt x="219" y="331"/>
                        </a:lnTo>
                        <a:lnTo>
                          <a:pt x="218" y="331"/>
                        </a:lnTo>
                        <a:lnTo>
                          <a:pt x="216" y="335"/>
                        </a:lnTo>
                        <a:lnTo>
                          <a:pt x="213" y="336"/>
                        </a:lnTo>
                        <a:lnTo>
                          <a:pt x="209" y="344"/>
                        </a:lnTo>
                        <a:lnTo>
                          <a:pt x="202" y="351"/>
                        </a:lnTo>
                        <a:lnTo>
                          <a:pt x="199" y="355"/>
                        </a:lnTo>
                        <a:lnTo>
                          <a:pt x="199" y="358"/>
                        </a:lnTo>
                        <a:lnTo>
                          <a:pt x="197" y="362"/>
                        </a:lnTo>
                        <a:lnTo>
                          <a:pt x="194" y="363"/>
                        </a:lnTo>
                        <a:lnTo>
                          <a:pt x="191" y="370"/>
                        </a:lnTo>
                        <a:lnTo>
                          <a:pt x="185" y="375"/>
                        </a:lnTo>
                        <a:lnTo>
                          <a:pt x="181" y="375"/>
                        </a:lnTo>
                        <a:lnTo>
                          <a:pt x="176" y="377"/>
                        </a:lnTo>
                        <a:lnTo>
                          <a:pt x="173" y="376"/>
                        </a:lnTo>
                        <a:lnTo>
                          <a:pt x="172" y="372"/>
                        </a:lnTo>
                        <a:lnTo>
                          <a:pt x="169" y="372"/>
                        </a:lnTo>
                        <a:lnTo>
                          <a:pt x="164" y="372"/>
                        </a:lnTo>
                        <a:lnTo>
                          <a:pt x="161" y="372"/>
                        </a:lnTo>
                        <a:lnTo>
                          <a:pt x="148" y="373"/>
                        </a:lnTo>
                        <a:lnTo>
                          <a:pt x="138" y="369"/>
                        </a:lnTo>
                        <a:lnTo>
                          <a:pt x="125" y="372"/>
                        </a:lnTo>
                        <a:lnTo>
                          <a:pt x="123" y="370"/>
                        </a:lnTo>
                        <a:lnTo>
                          <a:pt x="120" y="368"/>
                        </a:lnTo>
                        <a:lnTo>
                          <a:pt x="116" y="367"/>
                        </a:lnTo>
                        <a:lnTo>
                          <a:pt x="110" y="358"/>
                        </a:lnTo>
                        <a:lnTo>
                          <a:pt x="108" y="357"/>
                        </a:lnTo>
                        <a:lnTo>
                          <a:pt x="97" y="355"/>
                        </a:lnTo>
                        <a:lnTo>
                          <a:pt x="83" y="355"/>
                        </a:lnTo>
                        <a:lnTo>
                          <a:pt x="80" y="351"/>
                        </a:lnTo>
                        <a:lnTo>
                          <a:pt x="51" y="359"/>
                        </a:lnTo>
                        <a:lnTo>
                          <a:pt x="45" y="360"/>
                        </a:lnTo>
                        <a:lnTo>
                          <a:pt x="39" y="357"/>
                        </a:lnTo>
                        <a:lnTo>
                          <a:pt x="37" y="353"/>
                        </a:lnTo>
                        <a:lnTo>
                          <a:pt x="30" y="350"/>
                        </a:lnTo>
                        <a:lnTo>
                          <a:pt x="27" y="346"/>
                        </a:lnTo>
                        <a:lnTo>
                          <a:pt x="20" y="341"/>
                        </a:lnTo>
                        <a:lnTo>
                          <a:pt x="16" y="336"/>
                        </a:lnTo>
                        <a:lnTo>
                          <a:pt x="7" y="331"/>
                        </a:lnTo>
                        <a:lnTo>
                          <a:pt x="4" y="325"/>
                        </a:lnTo>
                        <a:lnTo>
                          <a:pt x="0" y="321"/>
                        </a:lnTo>
                        <a:lnTo>
                          <a:pt x="0" y="320"/>
                        </a:lnTo>
                        <a:lnTo>
                          <a:pt x="0" y="295"/>
                        </a:lnTo>
                        <a:lnTo>
                          <a:pt x="0" y="258"/>
                        </a:lnTo>
                        <a:lnTo>
                          <a:pt x="0" y="220"/>
                        </a:lnTo>
                        <a:lnTo>
                          <a:pt x="0" y="184"/>
                        </a:lnTo>
                        <a:lnTo>
                          <a:pt x="41" y="184"/>
                        </a:lnTo>
                        <a:lnTo>
                          <a:pt x="83" y="184"/>
                        </a:lnTo>
                        <a:lnTo>
                          <a:pt x="77" y="181"/>
                        </a:lnTo>
                        <a:lnTo>
                          <a:pt x="75" y="179"/>
                        </a:lnTo>
                        <a:lnTo>
                          <a:pt x="73" y="175"/>
                        </a:lnTo>
                        <a:lnTo>
                          <a:pt x="73" y="165"/>
                        </a:lnTo>
                        <a:lnTo>
                          <a:pt x="75" y="160"/>
                        </a:lnTo>
                        <a:lnTo>
                          <a:pt x="75" y="150"/>
                        </a:lnTo>
                        <a:lnTo>
                          <a:pt x="75" y="140"/>
                        </a:lnTo>
                        <a:lnTo>
                          <a:pt x="77" y="132"/>
                        </a:lnTo>
                        <a:lnTo>
                          <a:pt x="78" y="122"/>
                        </a:lnTo>
                        <a:lnTo>
                          <a:pt x="78" y="119"/>
                        </a:lnTo>
                        <a:lnTo>
                          <a:pt x="78" y="116"/>
                        </a:lnTo>
                        <a:lnTo>
                          <a:pt x="78" y="109"/>
                        </a:lnTo>
                        <a:lnTo>
                          <a:pt x="78" y="106"/>
                        </a:lnTo>
                        <a:lnTo>
                          <a:pt x="80" y="106"/>
                        </a:lnTo>
                        <a:lnTo>
                          <a:pt x="78" y="102"/>
                        </a:lnTo>
                        <a:lnTo>
                          <a:pt x="77" y="102"/>
                        </a:lnTo>
                        <a:lnTo>
                          <a:pt x="83" y="99"/>
                        </a:lnTo>
                        <a:lnTo>
                          <a:pt x="87" y="98"/>
                        </a:lnTo>
                        <a:lnTo>
                          <a:pt x="89" y="99"/>
                        </a:lnTo>
                        <a:lnTo>
                          <a:pt x="93" y="106"/>
                        </a:lnTo>
                        <a:lnTo>
                          <a:pt x="92" y="116"/>
                        </a:lnTo>
                        <a:lnTo>
                          <a:pt x="94" y="119"/>
                        </a:lnTo>
                        <a:lnTo>
                          <a:pt x="96" y="119"/>
                        </a:lnTo>
                        <a:lnTo>
                          <a:pt x="105" y="116"/>
                        </a:lnTo>
                        <a:lnTo>
                          <a:pt x="109" y="114"/>
                        </a:lnTo>
                        <a:lnTo>
                          <a:pt x="113" y="114"/>
                        </a:lnTo>
                        <a:lnTo>
                          <a:pt x="121" y="111"/>
                        </a:lnTo>
                        <a:lnTo>
                          <a:pt x="126" y="117"/>
                        </a:lnTo>
                        <a:lnTo>
                          <a:pt x="128" y="122"/>
                        </a:lnTo>
                        <a:lnTo>
                          <a:pt x="132" y="127"/>
                        </a:lnTo>
                        <a:lnTo>
                          <a:pt x="141" y="130"/>
                        </a:lnTo>
                        <a:lnTo>
                          <a:pt x="150" y="136"/>
                        </a:lnTo>
                        <a:lnTo>
                          <a:pt x="163" y="140"/>
                        </a:lnTo>
                        <a:lnTo>
                          <a:pt x="171" y="142"/>
                        </a:lnTo>
                        <a:lnTo>
                          <a:pt x="176" y="140"/>
                        </a:lnTo>
                        <a:lnTo>
                          <a:pt x="185" y="136"/>
                        </a:lnTo>
                        <a:lnTo>
                          <a:pt x="192" y="135"/>
                        </a:lnTo>
                        <a:lnTo>
                          <a:pt x="195" y="136"/>
                        </a:lnTo>
                        <a:lnTo>
                          <a:pt x="210" y="148"/>
                        </a:lnTo>
                        <a:lnTo>
                          <a:pt x="219" y="153"/>
                        </a:lnTo>
                        <a:lnTo>
                          <a:pt x="227" y="155"/>
                        </a:lnTo>
                        <a:lnTo>
                          <a:pt x="235" y="155"/>
                        </a:lnTo>
                        <a:lnTo>
                          <a:pt x="240" y="161"/>
                        </a:lnTo>
                        <a:lnTo>
                          <a:pt x="244" y="169"/>
                        </a:lnTo>
                        <a:lnTo>
                          <a:pt x="245" y="174"/>
                        </a:lnTo>
                        <a:lnTo>
                          <a:pt x="255" y="181"/>
                        </a:lnTo>
                        <a:lnTo>
                          <a:pt x="265" y="187"/>
                        </a:lnTo>
                        <a:lnTo>
                          <a:pt x="271" y="190"/>
                        </a:lnTo>
                        <a:lnTo>
                          <a:pt x="278" y="190"/>
                        </a:lnTo>
                        <a:lnTo>
                          <a:pt x="282" y="190"/>
                        </a:lnTo>
                        <a:lnTo>
                          <a:pt x="285" y="188"/>
                        </a:lnTo>
                        <a:lnTo>
                          <a:pt x="288" y="188"/>
                        </a:lnTo>
                        <a:lnTo>
                          <a:pt x="289" y="188"/>
                        </a:lnTo>
                        <a:lnTo>
                          <a:pt x="293" y="194"/>
                        </a:lnTo>
                        <a:lnTo>
                          <a:pt x="296" y="195"/>
                        </a:lnTo>
                        <a:lnTo>
                          <a:pt x="298" y="195"/>
                        </a:lnTo>
                        <a:lnTo>
                          <a:pt x="299" y="193"/>
                        </a:lnTo>
                        <a:lnTo>
                          <a:pt x="299" y="188"/>
                        </a:lnTo>
                        <a:lnTo>
                          <a:pt x="298" y="184"/>
                        </a:lnTo>
                        <a:lnTo>
                          <a:pt x="298" y="159"/>
                        </a:lnTo>
                        <a:lnTo>
                          <a:pt x="296" y="153"/>
                        </a:lnTo>
                        <a:lnTo>
                          <a:pt x="293" y="153"/>
                        </a:lnTo>
                        <a:lnTo>
                          <a:pt x="285" y="157"/>
                        </a:lnTo>
                        <a:lnTo>
                          <a:pt x="278" y="155"/>
                        </a:lnTo>
                        <a:lnTo>
                          <a:pt x="270" y="153"/>
                        </a:lnTo>
                        <a:lnTo>
                          <a:pt x="265" y="152"/>
                        </a:lnTo>
                        <a:lnTo>
                          <a:pt x="257" y="143"/>
                        </a:lnTo>
                        <a:lnTo>
                          <a:pt x="252" y="138"/>
                        </a:lnTo>
                        <a:lnTo>
                          <a:pt x="252" y="136"/>
                        </a:lnTo>
                        <a:lnTo>
                          <a:pt x="251" y="130"/>
                        </a:lnTo>
                        <a:lnTo>
                          <a:pt x="252" y="124"/>
                        </a:lnTo>
                        <a:lnTo>
                          <a:pt x="255" y="117"/>
                        </a:lnTo>
                        <a:lnTo>
                          <a:pt x="265" y="91"/>
                        </a:lnTo>
                        <a:lnTo>
                          <a:pt x="266" y="85"/>
                        </a:lnTo>
                        <a:lnTo>
                          <a:pt x="267" y="68"/>
                        </a:lnTo>
                        <a:lnTo>
                          <a:pt x="265" y="58"/>
                        </a:lnTo>
                        <a:lnTo>
                          <a:pt x="260" y="44"/>
                        </a:lnTo>
                        <a:lnTo>
                          <a:pt x="260" y="38"/>
                        </a:lnTo>
                        <a:lnTo>
                          <a:pt x="261" y="36"/>
                        </a:lnTo>
                        <a:lnTo>
                          <a:pt x="264" y="28"/>
                        </a:lnTo>
                        <a:lnTo>
                          <a:pt x="267" y="24"/>
                        </a:lnTo>
                        <a:lnTo>
                          <a:pt x="271" y="15"/>
                        </a:lnTo>
                        <a:lnTo>
                          <a:pt x="274" y="13"/>
                        </a:lnTo>
                        <a:lnTo>
                          <a:pt x="277" y="11"/>
                        </a:lnTo>
                        <a:lnTo>
                          <a:pt x="278" y="11"/>
                        </a:lnTo>
                        <a:lnTo>
                          <a:pt x="287" y="8"/>
                        </a:lnTo>
                        <a:lnTo>
                          <a:pt x="330" y="0"/>
                        </a:lnTo>
                        <a:lnTo>
                          <a:pt x="331" y="3"/>
                        </a:lnTo>
                        <a:lnTo>
                          <a:pt x="331" y="7"/>
                        </a:lnTo>
                        <a:lnTo>
                          <a:pt x="331" y="14"/>
                        </a:lnTo>
                        <a:lnTo>
                          <a:pt x="335" y="15"/>
                        </a:lnTo>
                        <a:lnTo>
                          <a:pt x="340" y="15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0" name="Freeform 118"/>
                  <p:cNvSpPr>
                    <a:spLocks/>
                  </p:cNvSpPr>
                  <p:nvPr/>
                </p:nvSpPr>
                <p:spPr bwMode="auto">
                  <a:xfrm>
                    <a:off x="1958" y="3414"/>
                    <a:ext cx="679" cy="514"/>
                  </a:xfrm>
                  <a:custGeom>
                    <a:avLst/>
                    <a:gdLst>
                      <a:gd name="T0" fmla="*/ 58499 w 634"/>
                      <a:gd name="T1" fmla="*/ 4456 h 490"/>
                      <a:gd name="T2" fmla="*/ 57645 w 634"/>
                      <a:gd name="T3" fmla="*/ 5147 h 490"/>
                      <a:gd name="T4" fmla="*/ 54996 w 634"/>
                      <a:gd name="T5" fmla="*/ 6227 h 490"/>
                      <a:gd name="T6" fmla="*/ 52664 w 634"/>
                      <a:gd name="T7" fmla="*/ 6808 h 490"/>
                      <a:gd name="T8" fmla="*/ 50622 w 634"/>
                      <a:gd name="T9" fmla="*/ 7771 h 490"/>
                      <a:gd name="T10" fmla="*/ 46454 w 634"/>
                      <a:gd name="T11" fmla="*/ 8702 h 490"/>
                      <a:gd name="T12" fmla="*/ 41726 w 634"/>
                      <a:gd name="T13" fmla="*/ 9795 h 490"/>
                      <a:gd name="T14" fmla="*/ 36792 w 634"/>
                      <a:gd name="T15" fmla="*/ 10576 h 490"/>
                      <a:gd name="T16" fmla="*/ 33227 w 634"/>
                      <a:gd name="T17" fmla="*/ 10639 h 490"/>
                      <a:gd name="T18" fmla="*/ 32042 w 634"/>
                      <a:gd name="T19" fmla="*/ 10888 h 490"/>
                      <a:gd name="T20" fmla="*/ 28969 w 634"/>
                      <a:gd name="T21" fmla="*/ 11052 h 490"/>
                      <a:gd name="T22" fmla="*/ 24108 w 634"/>
                      <a:gd name="T23" fmla="*/ 10983 h 490"/>
                      <a:gd name="T24" fmla="*/ 20440 w 634"/>
                      <a:gd name="T25" fmla="*/ 10888 h 490"/>
                      <a:gd name="T26" fmla="*/ 19085 w 634"/>
                      <a:gd name="T27" fmla="*/ 11203 h 490"/>
                      <a:gd name="T28" fmla="*/ 15912 w 634"/>
                      <a:gd name="T29" fmla="*/ 11203 h 490"/>
                      <a:gd name="T30" fmla="*/ 13309 w 634"/>
                      <a:gd name="T31" fmla="*/ 11442 h 490"/>
                      <a:gd name="T32" fmla="*/ 10998 w 634"/>
                      <a:gd name="T33" fmla="*/ 11442 h 490"/>
                      <a:gd name="T34" fmla="*/ 8584 w 634"/>
                      <a:gd name="T35" fmla="*/ 11215 h 490"/>
                      <a:gd name="T36" fmla="*/ 7689 w 634"/>
                      <a:gd name="T37" fmla="*/ 10959 h 490"/>
                      <a:gd name="T38" fmla="*/ 7289 w 634"/>
                      <a:gd name="T39" fmla="*/ 11203 h 490"/>
                      <a:gd name="T40" fmla="*/ 6806 w 634"/>
                      <a:gd name="T41" fmla="*/ 10822 h 490"/>
                      <a:gd name="T42" fmla="*/ 6093 w 634"/>
                      <a:gd name="T43" fmla="*/ 10352 h 490"/>
                      <a:gd name="T44" fmla="*/ 5544 w 634"/>
                      <a:gd name="T45" fmla="*/ 10006 h 490"/>
                      <a:gd name="T46" fmla="*/ 4980 w 634"/>
                      <a:gd name="T47" fmla="*/ 9696 h 490"/>
                      <a:gd name="T48" fmla="*/ 6086 w 634"/>
                      <a:gd name="T49" fmla="*/ 8734 h 490"/>
                      <a:gd name="T50" fmla="*/ 3431 w 634"/>
                      <a:gd name="T51" fmla="*/ 7841 h 490"/>
                      <a:gd name="T52" fmla="*/ 3 w 634"/>
                      <a:gd name="T53" fmla="*/ 6227 h 490"/>
                      <a:gd name="T54" fmla="*/ 3 w 634"/>
                      <a:gd name="T55" fmla="*/ 5940 h 490"/>
                      <a:gd name="T56" fmla="*/ 2124 w 634"/>
                      <a:gd name="T57" fmla="*/ 5661 h 490"/>
                      <a:gd name="T58" fmla="*/ 5544 w 634"/>
                      <a:gd name="T59" fmla="*/ 6249 h 490"/>
                      <a:gd name="T60" fmla="*/ 9184 w 634"/>
                      <a:gd name="T61" fmla="*/ 6249 h 490"/>
                      <a:gd name="T62" fmla="*/ 12083 w 634"/>
                      <a:gd name="T63" fmla="*/ 5886 h 490"/>
                      <a:gd name="T64" fmla="*/ 12083 w 634"/>
                      <a:gd name="T65" fmla="*/ 2422 h 490"/>
                      <a:gd name="T66" fmla="*/ 13860 w 634"/>
                      <a:gd name="T67" fmla="*/ 2751 h 490"/>
                      <a:gd name="T68" fmla="*/ 15628 w 634"/>
                      <a:gd name="T69" fmla="*/ 3494 h 490"/>
                      <a:gd name="T70" fmla="*/ 15266 w 634"/>
                      <a:gd name="T71" fmla="*/ 4231 h 490"/>
                      <a:gd name="T72" fmla="*/ 20387 w 634"/>
                      <a:gd name="T73" fmla="*/ 4212 h 490"/>
                      <a:gd name="T74" fmla="*/ 22510 w 634"/>
                      <a:gd name="T75" fmla="*/ 3615 h 490"/>
                      <a:gd name="T76" fmla="*/ 25256 w 634"/>
                      <a:gd name="T77" fmla="*/ 3026 h 490"/>
                      <a:gd name="T78" fmla="*/ 29467 w 634"/>
                      <a:gd name="T79" fmla="*/ 3331 h 490"/>
                      <a:gd name="T80" fmla="*/ 32595 w 634"/>
                      <a:gd name="T81" fmla="*/ 3040 h 490"/>
                      <a:gd name="T82" fmla="*/ 37387 w 634"/>
                      <a:gd name="T83" fmla="*/ 1559 h 490"/>
                      <a:gd name="T84" fmla="*/ 41704 w 634"/>
                      <a:gd name="T85" fmla="*/ 576 h 490"/>
                      <a:gd name="T86" fmla="*/ 45927 w 634"/>
                      <a:gd name="T87" fmla="*/ 3 h 490"/>
                      <a:gd name="T88" fmla="*/ 49705 w 634"/>
                      <a:gd name="T89" fmla="*/ 8 h 490"/>
                      <a:gd name="T90" fmla="*/ 53554 w 634"/>
                      <a:gd name="T91" fmla="*/ 476 h 490"/>
                      <a:gd name="T92" fmla="*/ 54622 w 634"/>
                      <a:gd name="T93" fmla="*/ 1300 h 490"/>
                      <a:gd name="T94" fmla="*/ 53554 w 634"/>
                      <a:gd name="T95" fmla="*/ 3331 h 490"/>
                      <a:gd name="T96" fmla="*/ 51257 w 634"/>
                      <a:gd name="T97" fmla="*/ 4099 h 490"/>
                      <a:gd name="T98" fmla="*/ 54622 w 634"/>
                      <a:gd name="T99" fmla="*/ 4655 h 490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634"/>
                      <a:gd name="T151" fmla="*/ 0 h 490"/>
                      <a:gd name="T152" fmla="*/ 634 w 634"/>
                      <a:gd name="T153" fmla="*/ 490 h 490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634" h="490">
                        <a:moveTo>
                          <a:pt x="604" y="181"/>
                        </a:moveTo>
                        <a:lnTo>
                          <a:pt x="629" y="180"/>
                        </a:lnTo>
                        <a:lnTo>
                          <a:pt x="634" y="181"/>
                        </a:lnTo>
                        <a:lnTo>
                          <a:pt x="633" y="190"/>
                        </a:lnTo>
                        <a:lnTo>
                          <a:pt x="630" y="196"/>
                        </a:lnTo>
                        <a:lnTo>
                          <a:pt x="627" y="204"/>
                        </a:lnTo>
                        <a:lnTo>
                          <a:pt x="626" y="212"/>
                        </a:lnTo>
                        <a:lnTo>
                          <a:pt x="625" y="221"/>
                        </a:lnTo>
                        <a:lnTo>
                          <a:pt x="622" y="227"/>
                        </a:lnTo>
                        <a:lnTo>
                          <a:pt x="617" y="248"/>
                        </a:lnTo>
                        <a:lnTo>
                          <a:pt x="612" y="255"/>
                        </a:lnTo>
                        <a:lnTo>
                          <a:pt x="596" y="265"/>
                        </a:lnTo>
                        <a:lnTo>
                          <a:pt x="591" y="268"/>
                        </a:lnTo>
                        <a:lnTo>
                          <a:pt x="585" y="272"/>
                        </a:lnTo>
                        <a:lnTo>
                          <a:pt x="578" y="279"/>
                        </a:lnTo>
                        <a:lnTo>
                          <a:pt x="570" y="289"/>
                        </a:lnTo>
                        <a:lnTo>
                          <a:pt x="567" y="295"/>
                        </a:lnTo>
                        <a:lnTo>
                          <a:pt x="564" y="300"/>
                        </a:lnTo>
                        <a:lnTo>
                          <a:pt x="562" y="305"/>
                        </a:lnTo>
                        <a:lnTo>
                          <a:pt x="547" y="330"/>
                        </a:lnTo>
                        <a:lnTo>
                          <a:pt x="540" y="336"/>
                        </a:lnTo>
                        <a:lnTo>
                          <a:pt x="527" y="354"/>
                        </a:lnTo>
                        <a:lnTo>
                          <a:pt x="510" y="366"/>
                        </a:lnTo>
                        <a:lnTo>
                          <a:pt x="503" y="371"/>
                        </a:lnTo>
                        <a:lnTo>
                          <a:pt x="498" y="378"/>
                        </a:lnTo>
                        <a:lnTo>
                          <a:pt x="486" y="392"/>
                        </a:lnTo>
                        <a:lnTo>
                          <a:pt x="468" y="409"/>
                        </a:lnTo>
                        <a:lnTo>
                          <a:pt x="453" y="418"/>
                        </a:lnTo>
                        <a:lnTo>
                          <a:pt x="446" y="425"/>
                        </a:lnTo>
                        <a:lnTo>
                          <a:pt x="440" y="430"/>
                        </a:lnTo>
                        <a:lnTo>
                          <a:pt x="414" y="445"/>
                        </a:lnTo>
                        <a:lnTo>
                          <a:pt x="398" y="452"/>
                        </a:lnTo>
                        <a:lnTo>
                          <a:pt x="390" y="453"/>
                        </a:lnTo>
                        <a:lnTo>
                          <a:pt x="375" y="452"/>
                        </a:lnTo>
                        <a:lnTo>
                          <a:pt x="367" y="452"/>
                        </a:lnTo>
                        <a:lnTo>
                          <a:pt x="360" y="453"/>
                        </a:lnTo>
                        <a:lnTo>
                          <a:pt x="355" y="456"/>
                        </a:lnTo>
                        <a:lnTo>
                          <a:pt x="357" y="461"/>
                        </a:lnTo>
                        <a:lnTo>
                          <a:pt x="357" y="466"/>
                        </a:lnTo>
                        <a:lnTo>
                          <a:pt x="346" y="464"/>
                        </a:lnTo>
                        <a:lnTo>
                          <a:pt x="338" y="462"/>
                        </a:lnTo>
                        <a:lnTo>
                          <a:pt x="329" y="463"/>
                        </a:lnTo>
                        <a:lnTo>
                          <a:pt x="324" y="471"/>
                        </a:lnTo>
                        <a:lnTo>
                          <a:pt x="314" y="471"/>
                        </a:lnTo>
                        <a:lnTo>
                          <a:pt x="288" y="464"/>
                        </a:lnTo>
                        <a:lnTo>
                          <a:pt x="278" y="462"/>
                        </a:lnTo>
                        <a:lnTo>
                          <a:pt x="268" y="463"/>
                        </a:lnTo>
                        <a:lnTo>
                          <a:pt x="262" y="467"/>
                        </a:lnTo>
                        <a:lnTo>
                          <a:pt x="257" y="467"/>
                        </a:lnTo>
                        <a:lnTo>
                          <a:pt x="240" y="463"/>
                        </a:lnTo>
                        <a:lnTo>
                          <a:pt x="235" y="463"/>
                        </a:lnTo>
                        <a:lnTo>
                          <a:pt x="222" y="464"/>
                        </a:lnTo>
                        <a:lnTo>
                          <a:pt x="219" y="467"/>
                        </a:lnTo>
                        <a:lnTo>
                          <a:pt x="216" y="471"/>
                        </a:lnTo>
                        <a:lnTo>
                          <a:pt x="209" y="472"/>
                        </a:lnTo>
                        <a:lnTo>
                          <a:pt x="207" y="477"/>
                        </a:lnTo>
                        <a:lnTo>
                          <a:pt x="202" y="478"/>
                        </a:lnTo>
                        <a:lnTo>
                          <a:pt x="188" y="477"/>
                        </a:lnTo>
                        <a:lnTo>
                          <a:pt x="185" y="479"/>
                        </a:lnTo>
                        <a:lnTo>
                          <a:pt x="173" y="477"/>
                        </a:lnTo>
                        <a:lnTo>
                          <a:pt x="166" y="478"/>
                        </a:lnTo>
                        <a:lnTo>
                          <a:pt x="164" y="481"/>
                        </a:lnTo>
                        <a:lnTo>
                          <a:pt x="151" y="482"/>
                        </a:lnTo>
                        <a:lnTo>
                          <a:pt x="144" y="488"/>
                        </a:lnTo>
                        <a:lnTo>
                          <a:pt x="137" y="490"/>
                        </a:lnTo>
                        <a:lnTo>
                          <a:pt x="130" y="490"/>
                        </a:lnTo>
                        <a:lnTo>
                          <a:pt x="124" y="488"/>
                        </a:lnTo>
                        <a:lnTo>
                          <a:pt x="118" y="488"/>
                        </a:lnTo>
                        <a:lnTo>
                          <a:pt x="109" y="485"/>
                        </a:lnTo>
                        <a:lnTo>
                          <a:pt x="109" y="481"/>
                        </a:lnTo>
                        <a:lnTo>
                          <a:pt x="106" y="477"/>
                        </a:lnTo>
                        <a:lnTo>
                          <a:pt x="93" y="478"/>
                        </a:lnTo>
                        <a:lnTo>
                          <a:pt x="90" y="477"/>
                        </a:lnTo>
                        <a:lnTo>
                          <a:pt x="90" y="474"/>
                        </a:lnTo>
                        <a:lnTo>
                          <a:pt x="90" y="466"/>
                        </a:lnTo>
                        <a:lnTo>
                          <a:pt x="83" y="466"/>
                        </a:lnTo>
                        <a:lnTo>
                          <a:pt x="78" y="467"/>
                        </a:lnTo>
                        <a:lnTo>
                          <a:pt x="78" y="469"/>
                        </a:lnTo>
                        <a:lnTo>
                          <a:pt x="78" y="472"/>
                        </a:lnTo>
                        <a:lnTo>
                          <a:pt x="78" y="477"/>
                        </a:lnTo>
                        <a:lnTo>
                          <a:pt x="76" y="477"/>
                        </a:lnTo>
                        <a:lnTo>
                          <a:pt x="73" y="472"/>
                        </a:lnTo>
                        <a:lnTo>
                          <a:pt x="73" y="466"/>
                        </a:lnTo>
                        <a:lnTo>
                          <a:pt x="73" y="461"/>
                        </a:lnTo>
                        <a:lnTo>
                          <a:pt x="75" y="456"/>
                        </a:lnTo>
                        <a:lnTo>
                          <a:pt x="75" y="452"/>
                        </a:lnTo>
                        <a:lnTo>
                          <a:pt x="70" y="446"/>
                        </a:lnTo>
                        <a:lnTo>
                          <a:pt x="66" y="440"/>
                        </a:lnTo>
                        <a:lnTo>
                          <a:pt x="63" y="437"/>
                        </a:lnTo>
                        <a:lnTo>
                          <a:pt x="58" y="431"/>
                        </a:lnTo>
                        <a:lnTo>
                          <a:pt x="61" y="430"/>
                        </a:lnTo>
                        <a:lnTo>
                          <a:pt x="60" y="426"/>
                        </a:lnTo>
                        <a:lnTo>
                          <a:pt x="55" y="423"/>
                        </a:lnTo>
                        <a:lnTo>
                          <a:pt x="52" y="423"/>
                        </a:lnTo>
                        <a:lnTo>
                          <a:pt x="54" y="416"/>
                        </a:lnTo>
                        <a:lnTo>
                          <a:pt x="55" y="413"/>
                        </a:lnTo>
                        <a:lnTo>
                          <a:pt x="64" y="415"/>
                        </a:lnTo>
                        <a:lnTo>
                          <a:pt x="71" y="406"/>
                        </a:lnTo>
                        <a:lnTo>
                          <a:pt x="68" y="382"/>
                        </a:lnTo>
                        <a:lnTo>
                          <a:pt x="65" y="374"/>
                        </a:lnTo>
                        <a:lnTo>
                          <a:pt x="49" y="355"/>
                        </a:lnTo>
                        <a:lnTo>
                          <a:pt x="45" y="347"/>
                        </a:lnTo>
                        <a:lnTo>
                          <a:pt x="41" y="339"/>
                        </a:lnTo>
                        <a:lnTo>
                          <a:pt x="37" y="333"/>
                        </a:lnTo>
                        <a:lnTo>
                          <a:pt x="26" y="311"/>
                        </a:lnTo>
                        <a:lnTo>
                          <a:pt x="20" y="294"/>
                        </a:lnTo>
                        <a:lnTo>
                          <a:pt x="10" y="272"/>
                        </a:lnTo>
                        <a:lnTo>
                          <a:pt x="3" y="265"/>
                        </a:lnTo>
                        <a:lnTo>
                          <a:pt x="1" y="262"/>
                        </a:lnTo>
                        <a:lnTo>
                          <a:pt x="2" y="258"/>
                        </a:lnTo>
                        <a:lnTo>
                          <a:pt x="0" y="255"/>
                        </a:lnTo>
                        <a:lnTo>
                          <a:pt x="3" y="255"/>
                        </a:lnTo>
                        <a:lnTo>
                          <a:pt x="7" y="254"/>
                        </a:lnTo>
                        <a:lnTo>
                          <a:pt x="10" y="250"/>
                        </a:lnTo>
                        <a:lnTo>
                          <a:pt x="14" y="242"/>
                        </a:lnTo>
                        <a:lnTo>
                          <a:pt x="23" y="242"/>
                        </a:lnTo>
                        <a:lnTo>
                          <a:pt x="41" y="253"/>
                        </a:lnTo>
                        <a:lnTo>
                          <a:pt x="41" y="260"/>
                        </a:lnTo>
                        <a:lnTo>
                          <a:pt x="49" y="268"/>
                        </a:lnTo>
                        <a:lnTo>
                          <a:pt x="60" y="268"/>
                        </a:lnTo>
                        <a:lnTo>
                          <a:pt x="71" y="267"/>
                        </a:lnTo>
                        <a:lnTo>
                          <a:pt x="85" y="267"/>
                        </a:lnTo>
                        <a:lnTo>
                          <a:pt x="90" y="268"/>
                        </a:lnTo>
                        <a:lnTo>
                          <a:pt x="99" y="268"/>
                        </a:lnTo>
                        <a:lnTo>
                          <a:pt x="111" y="258"/>
                        </a:lnTo>
                        <a:lnTo>
                          <a:pt x="121" y="253"/>
                        </a:lnTo>
                        <a:lnTo>
                          <a:pt x="128" y="251"/>
                        </a:lnTo>
                        <a:lnTo>
                          <a:pt x="131" y="250"/>
                        </a:lnTo>
                        <a:lnTo>
                          <a:pt x="131" y="214"/>
                        </a:lnTo>
                        <a:lnTo>
                          <a:pt x="131" y="176"/>
                        </a:lnTo>
                        <a:lnTo>
                          <a:pt x="131" y="138"/>
                        </a:lnTo>
                        <a:lnTo>
                          <a:pt x="131" y="104"/>
                        </a:lnTo>
                        <a:lnTo>
                          <a:pt x="135" y="104"/>
                        </a:lnTo>
                        <a:lnTo>
                          <a:pt x="140" y="108"/>
                        </a:lnTo>
                        <a:lnTo>
                          <a:pt x="141" y="111"/>
                        </a:lnTo>
                        <a:lnTo>
                          <a:pt x="150" y="117"/>
                        </a:lnTo>
                        <a:lnTo>
                          <a:pt x="153" y="123"/>
                        </a:lnTo>
                        <a:lnTo>
                          <a:pt x="162" y="130"/>
                        </a:lnTo>
                        <a:lnTo>
                          <a:pt x="167" y="138"/>
                        </a:lnTo>
                        <a:lnTo>
                          <a:pt x="169" y="149"/>
                        </a:lnTo>
                        <a:lnTo>
                          <a:pt x="169" y="153"/>
                        </a:lnTo>
                        <a:lnTo>
                          <a:pt x="167" y="160"/>
                        </a:lnTo>
                        <a:lnTo>
                          <a:pt x="161" y="175"/>
                        </a:lnTo>
                        <a:lnTo>
                          <a:pt x="165" y="180"/>
                        </a:lnTo>
                        <a:lnTo>
                          <a:pt x="172" y="181"/>
                        </a:lnTo>
                        <a:lnTo>
                          <a:pt x="182" y="183"/>
                        </a:lnTo>
                        <a:lnTo>
                          <a:pt x="195" y="183"/>
                        </a:lnTo>
                        <a:lnTo>
                          <a:pt x="220" y="178"/>
                        </a:lnTo>
                        <a:lnTo>
                          <a:pt x="226" y="168"/>
                        </a:lnTo>
                        <a:lnTo>
                          <a:pt x="230" y="164"/>
                        </a:lnTo>
                        <a:lnTo>
                          <a:pt x="238" y="159"/>
                        </a:lnTo>
                        <a:lnTo>
                          <a:pt x="245" y="153"/>
                        </a:lnTo>
                        <a:lnTo>
                          <a:pt x="248" y="149"/>
                        </a:lnTo>
                        <a:lnTo>
                          <a:pt x="252" y="142"/>
                        </a:lnTo>
                        <a:lnTo>
                          <a:pt x="264" y="130"/>
                        </a:lnTo>
                        <a:lnTo>
                          <a:pt x="274" y="128"/>
                        </a:lnTo>
                        <a:lnTo>
                          <a:pt x="283" y="128"/>
                        </a:lnTo>
                        <a:lnTo>
                          <a:pt x="292" y="131"/>
                        </a:lnTo>
                        <a:lnTo>
                          <a:pt x="308" y="140"/>
                        </a:lnTo>
                        <a:lnTo>
                          <a:pt x="318" y="142"/>
                        </a:lnTo>
                        <a:lnTo>
                          <a:pt x="337" y="137"/>
                        </a:lnTo>
                        <a:lnTo>
                          <a:pt x="344" y="137"/>
                        </a:lnTo>
                        <a:lnTo>
                          <a:pt x="350" y="134"/>
                        </a:lnTo>
                        <a:lnTo>
                          <a:pt x="353" y="130"/>
                        </a:lnTo>
                        <a:lnTo>
                          <a:pt x="364" y="108"/>
                        </a:lnTo>
                        <a:lnTo>
                          <a:pt x="374" y="97"/>
                        </a:lnTo>
                        <a:lnTo>
                          <a:pt x="393" y="84"/>
                        </a:lnTo>
                        <a:lnTo>
                          <a:pt x="405" y="67"/>
                        </a:lnTo>
                        <a:lnTo>
                          <a:pt x="414" y="58"/>
                        </a:lnTo>
                        <a:lnTo>
                          <a:pt x="427" y="45"/>
                        </a:lnTo>
                        <a:lnTo>
                          <a:pt x="441" y="37"/>
                        </a:lnTo>
                        <a:lnTo>
                          <a:pt x="452" y="26"/>
                        </a:lnTo>
                        <a:lnTo>
                          <a:pt x="479" y="14"/>
                        </a:lnTo>
                        <a:lnTo>
                          <a:pt x="488" y="8"/>
                        </a:lnTo>
                        <a:lnTo>
                          <a:pt x="496" y="5"/>
                        </a:lnTo>
                        <a:lnTo>
                          <a:pt x="498" y="3"/>
                        </a:lnTo>
                        <a:lnTo>
                          <a:pt x="505" y="0"/>
                        </a:lnTo>
                        <a:lnTo>
                          <a:pt x="511" y="1"/>
                        </a:lnTo>
                        <a:lnTo>
                          <a:pt x="529" y="7"/>
                        </a:lnTo>
                        <a:lnTo>
                          <a:pt x="537" y="8"/>
                        </a:lnTo>
                        <a:lnTo>
                          <a:pt x="546" y="7"/>
                        </a:lnTo>
                        <a:lnTo>
                          <a:pt x="555" y="7"/>
                        </a:lnTo>
                        <a:lnTo>
                          <a:pt x="569" y="11"/>
                        </a:lnTo>
                        <a:lnTo>
                          <a:pt x="580" y="22"/>
                        </a:lnTo>
                        <a:lnTo>
                          <a:pt x="584" y="22"/>
                        </a:lnTo>
                        <a:lnTo>
                          <a:pt x="585" y="22"/>
                        </a:lnTo>
                        <a:lnTo>
                          <a:pt x="586" y="36"/>
                        </a:lnTo>
                        <a:lnTo>
                          <a:pt x="591" y="56"/>
                        </a:lnTo>
                        <a:lnTo>
                          <a:pt x="598" y="86"/>
                        </a:lnTo>
                        <a:lnTo>
                          <a:pt x="602" y="145"/>
                        </a:lnTo>
                        <a:lnTo>
                          <a:pt x="596" y="150"/>
                        </a:lnTo>
                        <a:lnTo>
                          <a:pt x="580" y="142"/>
                        </a:lnTo>
                        <a:lnTo>
                          <a:pt x="570" y="147"/>
                        </a:lnTo>
                        <a:lnTo>
                          <a:pt x="565" y="154"/>
                        </a:lnTo>
                        <a:lnTo>
                          <a:pt x="559" y="165"/>
                        </a:lnTo>
                        <a:lnTo>
                          <a:pt x="556" y="175"/>
                        </a:lnTo>
                        <a:lnTo>
                          <a:pt x="559" y="183"/>
                        </a:lnTo>
                        <a:lnTo>
                          <a:pt x="564" y="195"/>
                        </a:lnTo>
                        <a:lnTo>
                          <a:pt x="581" y="197"/>
                        </a:lnTo>
                        <a:lnTo>
                          <a:pt x="591" y="198"/>
                        </a:lnTo>
                        <a:lnTo>
                          <a:pt x="595" y="193"/>
                        </a:lnTo>
                        <a:lnTo>
                          <a:pt x="600" y="183"/>
                        </a:lnTo>
                        <a:lnTo>
                          <a:pt x="604" y="181"/>
                        </a:lnTo>
                        <a:close/>
                      </a:path>
                    </a:pathLst>
                  </a:custGeom>
                  <a:solidFill>
                    <a:srgbClr val="7891B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1" name="Freeform 119"/>
                  <p:cNvSpPr>
                    <a:spLocks/>
                  </p:cNvSpPr>
                  <p:nvPr/>
                </p:nvSpPr>
                <p:spPr bwMode="auto">
                  <a:xfrm>
                    <a:off x="1958" y="3414"/>
                    <a:ext cx="679" cy="514"/>
                  </a:xfrm>
                  <a:custGeom>
                    <a:avLst/>
                    <a:gdLst>
                      <a:gd name="T0" fmla="*/ 58499 w 634"/>
                      <a:gd name="T1" fmla="*/ 4456 h 490"/>
                      <a:gd name="T2" fmla="*/ 57645 w 634"/>
                      <a:gd name="T3" fmla="*/ 5147 h 490"/>
                      <a:gd name="T4" fmla="*/ 54996 w 634"/>
                      <a:gd name="T5" fmla="*/ 6227 h 490"/>
                      <a:gd name="T6" fmla="*/ 52664 w 634"/>
                      <a:gd name="T7" fmla="*/ 6808 h 490"/>
                      <a:gd name="T8" fmla="*/ 50622 w 634"/>
                      <a:gd name="T9" fmla="*/ 7771 h 490"/>
                      <a:gd name="T10" fmla="*/ 46454 w 634"/>
                      <a:gd name="T11" fmla="*/ 8702 h 490"/>
                      <a:gd name="T12" fmla="*/ 41726 w 634"/>
                      <a:gd name="T13" fmla="*/ 9795 h 490"/>
                      <a:gd name="T14" fmla="*/ 36792 w 634"/>
                      <a:gd name="T15" fmla="*/ 10576 h 490"/>
                      <a:gd name="T16" fmla="*/ 33227 w 634"/>
                      <a:gd name="T17" fmla="*/ 10639 h 490"/>
                      <a:gd name="T18" fmla="*/ 32042 w 634"/>
                      <a:gd name="T19" fmla="*/ 10888 h 490"/>
                      <a:gd name="T20" fmla="*/ 28969 w 634"/>
                      <a:gd name="T21" fmla="*/ 11052 h 490"/>
                      <a:gd name="T22" fmla="*/ 24108 w 634"/>
                      <a:gd name="T23" fmla="*/ 10983 h 490"/>
                      <a:gd name="T24" fmla="*/ 20440 w 634"/>
                      <a:gd name="T25" fmla="*/ 10888 h 490"/>
                      <a:gd name="T26" fmla="*/ 19085 w 634"/>
                      <a:gd name="T27" fmla="*/ 11203 h 490"/>
                      <a:gd name="T28" fmla="*/ 15912 w 634"/>
                      <a:gd name="T29" fmla="*/ 11203 h 490"/>
                      <a:gd name="T30" fmla="*/ 13309 w 634"/>
                      <a:gd name="T31" fmla="*/ 11442 h 490"/>
                      <a:gd name="T32" fmla="*/ 10998 w 634"/>
                      <a:gd name="T33" fmla="*/ 11442 h 490"/>
                      <a:gd name="T34" fmla="*/ 8584 w 634"/>
                      <a:gd name="T35" fmla="*/ 11215 h 490"/>
                      <a:gd name="T36" fmla="*/ 7689 w 634"/>
                      <a:gd name="T37" fmla="*/ 10959 h 490"/>
                      <a:gd name="T38" fmla="*/ 7289 w 634"/>
                      <a:gd name="T39" fmla="*/ 11203 h 490"/>
                      <a:gd name="T40" fmla="*/ 6806 w 634"/>
                      <a:gd name="T41" fmla="*/ 10822 h 490"/>
                      <a:gd name="T42" fmla="*/ 6093 w 634"/>
                      <a:gd name="T43" fmla="*/ 10352 h 490"/>
                      <a:gd name="T44" fmla="*/ 5544 w 634"/>
                      <a:gd name="T45" fmla="*/ 10006 h 490"/>
                      <a:gd name="T46" fmla="*/ 4980 w 634"/>
                      <a:gd name="T47" fmla="*/ 9696 h 490"/>
                      <a:gd name="T48" fmla="*/ 6086 w 634"/>
                      <a:gd name="T49" fmla="*/ 8734 h 490"/>
                      <a:gd name="T50" fmla="*/ 3431 w 634"/>
                      <a:gd name="T51" fmla="*/ 7841 h 490"/>
                      <a:gd name="T52" fmla="*/ 3 w 634"/>
                      <a:gd name="T53" fmla="*/ 6227 h 490"/>
                      <a:gd name="T54" fmla="*/ 3 w 634"/>
                      <a:gd name="T55" fmla="*/ 5940 h 490"/>
                      <a:gd name="T56" fmla="*/ 2124 w 634"/>
                      <a:gd name="T57" fmla="*/ 5661 h 490"/>
                      <a:gd name="T58" fmla="*/ 5544 w 634"/>
                      <a:gd name="T59" fmla="*/ 6249 h 490"/>
                      <a:gd name="T60" fmla="*/ 9184 w 634"/>
                      <a:gd name="T61" fmla="*/ 6249 h 490"/>
                      <a:gd name="T62" fmla="*/ 12083 w 634"/>
                      <a:gd name="T63" fmla="*/ 5886 h 490"/>
                      <a:gd name="T64" fmla="*/ 12083 w 634"/>
                      <a:gd name="T65" fmla="*/ 2422 h 490"/>
                      <a:gd name="T66" fmla="*/ 13860 w 634"/>
                      <a:gd name="T67" fmla="*/ 2751 h 490"/>
                      <a:gd name="T68" fmla="*/ 15628 w 634"/>
                      <a:gd name="T69" fmla="*/ 3494 h 490"/>
                      <a:gd name="T70" fmla="*/ 15266 w 634"/>
                      <a:gd name="T71" fmla="*/ 4231 h 490"/>
                      <a:gd name="T72" fmla="*/ 20387 w 634"/>
                      <a:gd name="T73" fmla="*/ 4212 h 490"/>
                      <a:gd name="T74" fmla="*/ 22510 w 634"/>
                      <a:gd name="T75" fmla="*/ 3615 h 490"/>
                      <a:gd name="T76" fmla="*/ 25256 w 634"/>
                      <a:gd name="T77" fmla="*/ 3026 h 490"/>
                      <a:gd name="T78" fmla="*/ 29467 w 634"/>
                      <a:gd name="T79" fmla="*/ 3331 h 490"/>
                      <a:gd name="T80" fmla="*/ 32595 w 634"/>
                      <a:gd name="T81" fmla="*/ 3040 h 490"/>
                      <a:gd name="T82" fmla="*/ 37387 w 634"/>
                      <a:gd name="T83" fmla="*/ 1559 h 490"/>
                      <a:gd name="T84" fmla="*/ 41704 w 634"/>
                      <a:gd name="T85" fmla="*/ 576 h 490"/>
                      <a:gd name="T86" fmla="*/ 45927 w 634"/>
                      <a:gd name="T87" fmla="*/ 3 h 490"/>
                      <a:gd name="T88" fmla="*/ 49705 w 634"/>
                      <a:gd name="T89" fmla="*/ 8 h 490"/>
                      <a:gd name="T90" fmla="*/ 53554 w 634"/>
                      <a:gd name="T91" fmla="*/ 476 h 490"/>
                      <a:gd name="T92" fmla="*/ 54622 w 634"/>
                      <a:gd name="T93" fmla="*/ 1300 h 490"/>
                      <a:gd name="T94" fmla="*/ 53554 w 634"/>
                      <a:gd name="T95" fmla="*/ 3331 h 490"/>
                      <a:gd name="T96" fmla="*/ 51257 w 634"/>
                      <a:gd name="T97" fmla="*/ 4099 h 490"/>
                      <a:gd name="T98" fmla="*/ 54622 w 634"/>
                      <a:gd name="T99" fmla="*/ 4655 h 490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634"/>
                      <a:gd name="T151" fmla="*/ 0 h 490"/>
                      <a:gd name="T152" fmla="*/ 634 w 634"/>
                      <a:gd name="T153" fmla="*/ 490 h 490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634" h="490">
                        <a:moveTo>
                          <a:pt x="604" y="181"/>
                        </a:moveTo>
                        <a:lnTo>
                          <a:pt x="629" y="180"/>
                        </a:lnTo>
                        <a:lnTo>
                          <a:pt x="634" y="181"/>
                        </a:lnTo>
                        <a:lnTo>
                          <a:pt x="633" y="190"/>
                        </a:lnTo>
                        <a:lnTo>
                          <a:pt x="630" y="196"/>
                        </a:lnTo>
                        <a:lnTo>
                          <a:pt x="627" y="204"/>
                        </a:lnTo>
                        <a:lnTo>
                          <a:pt x="626" y="212"/>
                        </a:lnTo>
                        <a:lnTo>
                          <a:pt x="625" y="221"/>
                        </a:lnTo>
                        <a:lnTo>
                          <a:pt x="622" y="227"/>
                        </a:lnTo>
                        <a:lnTo>
                          <a:pt x="617" y="248"/>
                        </a:lnTo>
                        <a:lnTo>
                          <a:pt x="612" y="255"/>
                        </a:lnTo>
                        <a:lnTo>
                          <a:pt x="596" y="265"/>
                        </a:lnTo>
                        <a:lnTo>
                          <a:pt x="591" y="268"/>
                        </a:lnTo>
                        <a:lnTo>
                          <a:pt x="585" y="272"/>
                        </a:lnTo>
                        <a:lnTo>
                          <a:pt x="578" y="279"/>
                        </a:lnTo>
                        <a:lnTo>
                          <a:pt x="570" y="289"/>
                        </a:lnTo>
                        <a:lnTo>
                          <a:pt x="567" y="295"/>
                        </a:lnTo>
                        <a:lnTo>
                          <a:pt x="564" y="300"/>
                        </a:lnTo>
                        <a:lnTo>
                          <a:pt x="562" y="305"/>
                        </a:lnTo>
                        <a:lnTo>
                          <a:pt x="547" y="330"/>
                        </a:lnTo>
                        <a:lnTo>
                          <a:pt x="540" y="336"/>
                        </a:lnTo>
                        <a:lnTo>
                          <a:pt x="527" y="354"/>
                        </a:lnTo>
                        <a:lnTo>
                          <a:pt x="510" y="366"/>
                        </a:lnTo>
                        <a:lnTo>
                          <a:pt x="503" y="371"/>
                        </a:lnTo>
                        <a:lnTo>
                          <a:pt x="498" y="378"/>
                        </a:lnTo>
                        <a:lnTo>
                          <a:pt x="486" y="392"/>
                        </a:lnTo>
                        <a:lnTo>
                          <a:pt x="468" y="409"/>
                        </a:lnTo>
                        <a:lnTo>
                          <a:pt x="453" y="418"/>
                        </a:lnTo>
                        <a:lnTo>
                          <a:pt x="446" y="425"/>
                        </a:lnTo>
                        <a:lnTo>
                          <a:pt x="440" y="430"/>
                        </a:lnTo>
                        <a:lnTo>
                          <a:pt x="414" y="445"/>
                        </a:lnTo>
                        <a:lnTo>
                          <a:pt x="398" y="452"/>
                        </a:lnTo>
                        <a:lnTo>
                          <a:pt x="390" y="453"/>
                        </a:lnTo>
                        <a:lnTo>
                          <a:pt x="375" y="452"/>
                        </a:lnTo>
                        <a:lnTo>
                          <a:pt x="367" y="452"/>
                        </a:lnTo>
                        <a:lnTo>
                          <a:pt x="360" y="453"/>
                        </a:lnTo>
                        <a:lnTo>
                          <a:pt x="355" y="456"/>
                        </a:lnTo>
                        <a:lnTo>
                          <a:pt x="357" y="461"/>
                        </a:lnTo>
                        <a:lnTo>
                          <a:pt x="357" y="466"/>
                        </a:lnTo>
                        <a:lnTo>
                          <a:pt x="346" y="464"/>
                        </a:lnTo>
                        <a:lnTo>
                          <a:pt x="338" y="462"/>
                        </a:lnTo>
                        <a:lnTo>
                          <a:pt x="329" y="463"/>
                        </a:lnTo>
                        <a:lnTo>
                          <a:pt x="324" y="471"/>
                        </a:lnTo>
                        <a:lnTo>
                          <a:pt x="314" y="471"/>
                        </a:lnTo>
                        <a:lnTo>
                          <a:pt x="288" y="464"/>
                        </a:lnTo>
                        <a:lnTo>
                          <a:pt x="278" y="462"/>
                        </a:lnTo>
                        <a:lnTo>
                          <a:pt x="268" y="463"/>
                        </a:lnTo>
                        <a:lnTo>
                          <a:pt x="262" y="467"/>
                        </a:lnTo>
                        <a:lnTo>
                          <a:pt x="257" y="467"/>
                        </a:lnTo>
                        <a:lnTo>
                          <a:pt x="240" y="463"/>
                        </a:lnTo>
                        <a:lnTo>
                          <a:pt x="235" y="463"/>
                        </a:lnTo>
                        <a:lnTo>
                          <a:pt x="222" y="464"/>
                        </a:lnTo>
                        <a:lnTo>
                          <a:pt x="219" y="467"/>
                        </a:lnTo>
                        <a:lnTo>
                          <a:pt x="216" y="471"/>
                        </a:lnTo>
                        <a:lnTo>
                          <a:pt x="209" y="472"/>
                        </a:lnTo>
                        <a:lnTo>
                          <a:pt x="207" y="477"/>
                        </a:lnTo>
                        <a:lnTo>
                          <a:pt x="202" y="478"/>
                        </a:lnTo>
                        <a:lnTo>
                          <a:pt x="188" y="477"/>
                        </a:lnTo>
                        <a:lnTo>
                          <a:pt x="185" y="479"/>
                        </a:lnTo>
                        <a:lnTo>
                          <a:pt x="173" y="477"/>
                        </a:lnTo>
                        <a:lnTo>
                          <a:pt x="166" y="478"/>
                        </a:lnTo>
                        <a:lnTo>
                          <a:pt x="164" y="481"/>
                        </a:lnTo>
                        <a:lnTo>
                          <a:pt x="151" y="482"/>
                        </a:lnTo>
                        <a:lnTo>
                          <a:pt x="144" y="488"/>
                        </a:lnTo>
                        <a:lnTo>
                          <a:pt x="137" y="490"/>
                        </a:lnTo>
                        <a:lnTo>
                          <a:pt x="130" y="490"/>
                        </a:lnTo>
                        <a:lnTo>
                          <a:pt x="124" y="488"/>
                        </a:lnTo>
                        <a:lnTo>
                          <a:pt x="118" y="488"/>
                        </a:lnTo>
                        <a:lnTo>
                          <a:pt x="109" y="485"/>
                        </a:lnTo>
                        <a:lnTo>
                          <a:pt x="109" y="481"/>
                        </a:lnTo>
                        <a:lnTo>
                          <a:pt x="106" y="477"/>
                        </a:lnTo>
                        <a:lnTo>
                          <a:pt x="93" y="478"/>
                        </a:lnTo>
                        <a:lnTo>
                          <a:pt x="90" y="477"/>
                        </a:lnTo>
                        <a:lnTo>
                          <a:pt x="90" y="474"/>
                        </a:lnTo>
                        <a:lnTo>
                          <a:pt x="90" y="466"/>
                        </a:lnTo>
                        <a:lnTo>
                          <a:pt x="83" y="466"/>
                        </a:lnTo>
                        <a:lnTo>
                          <a:pt x="78" y="467"/>
                        </a:lnTo>
                        <a:lnTo>
                          <a:pt x="78" y="469"/>
                        </a:lnTo>
                        <a:lnTo>
                          <a:pt x="78" y="472"/>
                        </a:lnTo>
                        <a:lnTo>
                          <a:pt x="78" y="477"/>
                        </a:lnTo>
                        <a:lnTo>
                          <a:pt x="76" y="477"/>
                        </a:lnTo>
                        <a:lnTo>
                          <a:pt x="73" y="472"/>
                        </a:lnTo>
                        <a:lnTo>
                          <a:pt x="73" y="466"/>
                        </a:lnTo>
                        <a:lnTo>
                          <a:pt x="73" y="461"/>
                        </a:lnTo>
                        <a:lnTo>
                          <a:pt x="75" y="456"/>
                        </a:lnTo>
                        <a:lnTo>
                          <a:pt x="75" y="452"/>
                        </a:lnTo>
                        <a:lnTo>
                          <a:pt x="70" y="446"/>
                        </a:lnTo>
                        <a:lnTo>
                          <a:pt x="66" y="440"/>
                        </a:lnTo>
                        <a:lnTo>
                          <a:pt x="63" y="437"/>
                        </a:lnTo>
                        <a:lnTo>
                          <a:pt x="58" y="431"/>
                        </a:lnTo>
                        <a:lnTo>
                          <a:pt x="61" y="430"/>
                        </a:lnTo>
                        <a:lnTo>
                          <a:pt x="60" y="426"/>
                        </a:lnTo>
                        <a:lnTo>
                          <a:pt x="55" y="423"/>
                        </a:lnTo>
                        <a:lnTo>
                          <a:pt x="52" y="423"/>
                        </a:lnTo>
                        <a:lnTo>
                          <a:pt x="54" y="416"/>
                        </a:lnTo>
                        <a:lnTo>
                          <a:pt x="55" y="413"/>
                        </a:lnTo>
                        <a:lnTo>
                          <a:pt x="64" y="415"/>
                        </a:lnTo>
                        <a:lnTo>
                          <a:pt x="71" y="406"/>
                        </a:lnTo>
                        <a:lnTo>
                          <a:pt x="68" y="382"/>
                        </a:lnTo>
                        <a:lnTo>
                          <a:pt x="65" y="374"/>
                        </a:lnTo>
                        <a:lnTo>
                          <a:pt x="49" y="355"/>
                        </a:lnTo>
                        <a:lnTo>
                          <a:pt x="45" y="347"/>
                        </a:lnTo>
                        <a:lnTo>
                          <a:pt x="41" y="339"/>
                        </a:lnTo>
                        <a:lnTo>
                          <a:pt x="37" y="333"/>
                        </a:lnTo>
                        <a:lnTo>
                          <a:pt x="26" y="311"/>
                        </a:lnTo>
                        <a:lnTo>
                          <a:pt x="20" y="294"/>
                        </a:lnTo>
                        <a:lnTo>
                          <a:pt x="10" y="272"/>
                        </a:lnTo>
                        <a:lnTo>
                          <a:pt x="3" y="265"/>
                        </a:lnTo>
                        <a:lnTo>
                          <a:pt x="1" y="262"/>
                        </a:lnTo>
                        <a:lnTo>
                          <a:pt x="2" y="258"/>
                        </a:lnTo>
                        <a:lnTo>
                          <a:pt x="0" y="255"/>
                        </a:lnTo>
                        <a:lnTo>
                          <a:pt x="3" y="255"/>
                        </a:lnTo>
                        <a:lnTo>
                          <a:pt x="7" y="254"/>
                        </a:lnTo>
                        <a:lnTo>
                          <a:pt x="10" y="250"/>
                        </a:lnTo>
                        <a:lnTo>
                          <a:pt x="14" y="242"/>
                        </a:lnTo>
                        <a:lnTo>
                          <a:pt x="23" y="242"/>
                        </a:lnTo>
                        <a:lnTo>
                          <a:pt x="41" y="253"/>
                        </a:lnTo>
                        <a:lnTo>
                          <a:pt x="41" y="260"/>
                        </a:lnTo>
                        <a:lnTo>
                          <a:pt x="49" y="268"/>
                        </a:lnTo>
                        <a:lnTo>
                          <a:pt x="60" y="268"/>
                        </a:lnTo>
                        <a:lnTo>
                          <a:pt x="71" y="267"/>
                        </a:lnTo>
                        <a:lnTo>
                          <a:pt x="85" y="267"/>
                        </a:lnTo>
                        <a:lnTo>
                          <a:pt x="90" y="268"/>
                        </a:lnTo>
                        <a:lnTo>
                          <a:pt x="99" y="268"/>
                        </a:lnTo>
                        <a:lnTo>
                          <a:pt x="111" y="258"/>
                        </a:lnTo>
                        <a:lnTo>
                          <a:pt x="121" y="253"/>
                        </a:lnTo>
                        <a:lnTo>
                          <a:pt x="128" y="251"/>
                        </a:lnTo>
                        <a:lnTo>
                          <a:pt x="131" y="250"/>
                        </a:lnTo>
                        <a:lnTo>
                          <a:pt x="131" y="214"/>
                        </a:lnTo>
                        <a:lnTo>
                          <a:pt x="131" y="176"/>
                        </a:lnTo>
                        <a:lnTo>
                          <a:pt x="131" y="138"/>
                        </a:lnTo>
                        <a:lnTo>
                          <a:pt x="131" y="104"/>
                        </a:lnTo>
                        <a:lnTo>
                          <a:pt x="135" y="104"/>
                        </a:lnTo>
                        <a:lnTo>
                          <a:pt x="140" y="108"/>
                        </a:lnTo>
                        <a:lnTo>
                          <a:pt x="141" y="111"/>
                        </a:lnTo>
                        <a:lnTo>
                          <a:pt x="150" y="117"/>
                        </a:lnTo>
                        <a:lnTo>
                          <a:pt x="153" y="123"/>
                        </a:lnTo>
                        <a:lnTo>
                          <a:pt x="162" y="130"/>
                        </a:lnTo>
                        <a:lnTo>
                          <a:pt x="167" y="138"/>
                        </a:lnTo>
                        <a:lnTo>
                          <a:pt x="169" y="149"/>
                        </a:lnTo>
                        <a:lnTo>
                          <a:pt x="169" y="153"/>
                        </a:lnTo>
                        <a:lnTo>
                          <a:pt x="167" y="160"/>
                        </a:lnTo>
                        <a:lnTo>
                          <a:pt x="161" y="175"/>
                        </a:lnTo>
                        <a:lnTo>
                          <a:pt x="165" y="180"/>
                        </a:lnTo>
                        <a:lnTo>
                          <a:pt x="172" y="181"/>
                        </a:lnTo>
                        <a:lnTo>
                          <a:pt x="182" y="183"/>
                        </a:lnTo>
                        <a:lnTo>
                          <a:pt x="195" y="183"/>
                        </a:lnTo>
                        <a:lnTo>
                          <a:pt x="220" y="178"/>
                        </a:lnTo>
                        <a:lnTo>
                          <a:pt x="226" y="168"/>
                        </a:lnTo>
                        <a:lnTo>
                          <a:pt x="230" y="164"/>
                        </a:lnTo>
                        <a:lnTo>
                          <a:pt x="238" y="159"/>
                        </a:lnTo>
                        <a:lnTo>
                          <a:pt x="245" y="153"/>
                        </a:lnTo>
                        <a:lnTo>
                          <a:pt x="248" y="149"/>
                        </a:lnTo>
                        <a:lnTo>
                          <a:pt x="252" y="142"/>
                        </a:lnTo>
                        <a:lnTo>
                          <a:pt x="264" y="130"/>
                        </a:lnTo>
                        <a:lnTo>
                          <a:pt x="274" y="128"/>
                        </a:lnTo>
                        <a:lnTo>
                          <a:pt x="283" y="128"/>
                        </a:lnTo>
                        <a:lnTo>
                          <a:pt x="292" y="131"/>
                        </a:lnTo>
                        <a:lnTo>
                          <a:pt x="308" y="140"/>
                        </a:lnTo>
                        <a:lnTo>
                          <a:pt x="318" y="142"/>
                        </a:lnTo>
                        <a:lnTo>
                          <a:pt x="337" y="137"/>
                        </a:lnTo>
                        <a:lnTo>
                          <a:pt x="344" y="137"/>
                        </a:lnTo>
                        <a:lnTo>
                          <a:pt x="350" y="134"/>
                        </a:lnTo>
                        <a:lnTo>
                          <a:pt x="353" y="130"/>
                        </a:lnTo>
                        <a:lnTo>
                          <a:pt x="364" y="108"/>
                        </a:lnTo>
                        <a:lnTo>
                          <a:pt x="374" y="97"/>
                        </a:lnTo>
                        <a:lnTo>
                          <a:pt x="393" y="84"/>
                        </a:lnTo>
                        <a:lnTo>
                          <a:pt x="405" y="67"/>
                        </a:lnTo>
                        <a:lnTo>
                          <a:pt x="414" y="58"/>
                        </a:lnTo>
                        <a:lnTo>
                          <a:pt x="427" y="45"/>
                        </a:lnTo>
                        <a:lnTo>
                          <a:pt x="441" y="37"/>
                        </a:lnTo>
                        <a:lnTo>
                          <a:pt x="452" y="26"/>
                        </a:lnTo>
                        <a:lnTo>
                          <a:pt x="479" y="14"/>
                        </a:lnTo>
                        <a:lnTo>
                          <a:pt x="488" y="8"/>
                        </a:lnTo>
                        <a:lnTo>
                          <a:pt x="496" y="5"/>
                        </a:lnTo>
                        <a:lnTo>
                          <a:pt x="498" y="3"/>
                        </a:lnTo>
                        <a:lnTo>
                          <a:pt x="505" y="0"/>
                        </a:lnTo>
                        <a:lnTo>
                          <a:pt x="511" y="1"/>
                        </a:lnTo>
                        <a:lnTo>
                          <a:pt x="529" y="7"/>
                        </a:lnTo>
                        <a:lnTo>
                          <a:pt x="537" y="8"/>
                        </a:lnTo>
                        <a:lnTo>
                          <a:pt x="546" y="7"/>
                        </a:lnTo>
                        <a:lnTo>
                          <a:pt x="555" y="7"/>
                        </a:lnTo>
                        <a:lnTo>
                          <a:pt x="569" y="11"/>
                        </a:lnTo>
                        <a:lnTo>
                          <a:pt x="580" y="22"/>
                        </a:lnTo>
                        <a:lnTo>
                          <a:pt x="584" y="22"/>
                        </a:lnTo>
                        <a:lnTo>
                          <a:pt x="585" y="22"/>
                        </a:lnTo>
                        <a:lnTo>
                          <a:pt x="586" y="36"/>
                        </a:lnTo>
                        <a:lnTo>
                          <a:pt x="591" y="56"/>
                        </a:lnTo>
                        <a:lnTo>
                          <a:pt x="598" y="86"/>
                        </a:lnTo>
                        <a:lnTo>
                          <a:pt x="602" y="145"/>
                        </a:lnTo>
                        <a:lnTo>
                          <a:pt x="596" y="150"/>
                        </a:lnTo>
                        <a:lnTo>
                          <a:pt x="580" y="142"/>
                        </a:lnTo>
                        <a:lnTo>
                          <a:pt x="570" y="147"/>
                        </a:lnTo>
                        <a:lnTo>
                          <a:pt x="565" y="154"/>
                        </a:lnTo>
                        <a:lnTo>
                          <a:pt x="559" y="165"/>
                        </a:lnTo>
                        <a:lnTo>
                          <a:pt x="556" y="175"/>
                        </a:lnTo>
                        <a:lnTo>
                          <a:pt x="559" y="183"/>
                        </a:lnTo>
                        <a:lnTo>
                          <a:pt x="564" y="195"/>
                        </a:lnTo>
                        <a:lnTo>
                          <a:pt x="581" y="197"/>
                        </a:lnTo>
                        <a:lnTo>
                          <a:pt x="591" y="198"/>
                        </a:lnTo>
                        <a:lnTo>
                          <a:pt x="595" y="193"/>
                        </a:lnTo>
                        <a:lnTo>
                          <a:pt x="600" y="183"/>
                        </a:lnTo>
                        <a:lnTo>
                          <a:pt x="604" y="181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122" name="Picture 120"/>
                  <p:cNvPicPr>
                    <a:picLocks noChangeAspect="1" noChangeArrowheads="1"/>
                  </p:cNvPicPr>
                  <p:nvPr/>
                </p:nvPicPr>
                <p:blipFill>
                  <a:blip r:embed="rId1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396" y="3673"/>
                    <a:ext cx="114" cy="10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23" name="Picture 121"/>
                  <p:cNvPicPr>
                    <a:picLocks noChangeAspect="1" noChangeArrowheads="1"/>
                  </p:cNvPicPr>
                  <p:nvPr/>
                </p:nvPicPr>
                <p:blipFill>
                  <a:blip r:embed="rId1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396" y="3673"/>
                    <a:ext cx="114" cy="10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24" name="Freeform 122"/>
                  <p:cNvSpPr>
                    <a:spLocks/>
                  </p:cNvSpPr>
                  <p:nvPr/>
                </p:nvSpPr>
                <p:spPr bwMode="auto">
                  <a:xfrm>
                    <a:off x="2401" y="3678"/>
                    <a:ext cx="95" cy="83"/>
                  </a:xfrm>
                  <a:custGeom>
                    <a:avLst/>
                    <a:gdLst>
                      <a:gd name="T0" fmla="*/ 6545 w 89"/>
                      <a:gd name="T1" fmla="*/ 898 h 79"/>
                      <a:gd name="T2" fmla="*/ 6545 w 89"/>
                      <a:gd name="T3" fmla="*/ 763 h 79"/>
                      <a:gd name="T4" fmla="*/ 6505 w 89"/>
                      <a:gd name="T5" fmla="*/ 802 h 79"/>
                      <a:gd name="T6" fmla="*/ 6267 w 89"/>
                      <a:gd name="T7" fmla="*/ 626 h 79"/>
                      <a:gd name="T8" fmla="*/ 5745 w 89"/>
                      <a:gd name="T9" fmla="*/ 422 h 79"/>
                      <a:gd name="T10" fmla="*/ 5500 w 89"/>
                      <a:gd name="T11" fmla="*/ 314 h 79"/>
                      <a:gd name="T12" fmla="*/ 5010 w 89"/>
                      <a:gd name="T13" fmla="*/ 3 h 79"/>
                      <a:gd name="T14" fmla="*/ 4237 w 89"/>
                      <a:gd name="T15" fmla="*/ 0 h 79"/>
                      <a:gd name="T16" fmla="*/ 3483 w 89"/>
                      <a:gd name="T17" fmla="*/ 1 h 79"/>
                      <a:gd name="T18" fmla="*/ 2046 w 89"/>
                      <a:gd name="T19" fmla="*/ 299 h 79"/>
                      <a:gd name="T20" fmla="*/ 1397 w 89"/>
                      <a:gd name="T21" fmla="*/ 402 h 79"/>
                      <a:gd name="T22" fmla="*/ 3 w 89"/>
                      <a:gd name="T23" fmla="*/ 943 h 79"/>
                      <a:gd name="T24" fmla="*/ 0 w 89"/>
                      <a:gd name="T25" fmla="*/ 1149 h 79"/>
                      <a:gd name="T26" fmla="*/ 3 w 89"/>
                      <a:gd name="T27" fmla="*/ 1382 h 79"/>
                      <a:gd name="T28" fmla="*/ 638 w 89"/>
                      <a:gd name="T29" fmla="*/ 1584 h 79"/>
                      <a:gd name="T30" fmla="*/ 1076 w 89"/>
                      <a:gd name="T31" fmla="*/ 1790 h 79"/>
                      <a:gd name="T32" fmla="*/ 2184 w 89"/>
                      <a:gd name="T33" fmla="*/ 2052 h 79"/>
                      <a:gd name="T34" fmla="*/ 2835 w 89"/>
                      <a:gd name="T35" fmla="*/ 2028 h 79"/>
                      <a:gd name="T36" fmla="*/ 3230 w 89"/>
                      <a:gd name="T37" fmla="*/ 1953 h 79"/>
                      <a:gd name="T38" fmla="*/ 3718 w 89"/>
                      <a:gd name="T39" fmla="*/ 1748 h 79"/>
                      <a:gd name="T40" fmla="*/ 5320 w 89"/>
                      <a:gd name="T41" fmla="*/ 1544 h 79"/>
                      <a:gd name="T42" fmla="*/ 6545 w 89"/>
                      <a:gd name="T43" fmla="*/ 898 h 7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89"/>
                      <a:gd name="T67" fmla="*/ 0 h 79"/>
                      <a:gd name="T68" fmla="*/ 89 w 89"/>
                      <a:gd name="T69" fmla="*/ 79 h 7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89" h="79">
                        <a:moveTo>
                          <a:pt x="89" y="35"/>
                        </a:moveTo>
                        <a:lnTo>
                          <a:pt x="89" y="29"/>
                        </a:lnTo>
                        <a:lnTo>
                          <a:pt x="88" y="30"/>
                        </a:lnTo>
                        <a:lnTo>
                          <a:pt x="85" y="25"/>
                        </a:lnTo>
                        <a:lnTo>
                          <a:pt x="78" y="17"/>
                        </a:lnTo>
                        <a:lnTo>
                          <a:pt x="75" y="11"/>
                        </a:lnTo>
                        <a:lnTo>
                          <a:pt x="67" y="3"/>
                        </a:lnTo>
                        <a:lnTo>
                          <a:pt x="58" y="0"/>
                        </a:lnTo>
                        <a:lnTo>
                          <a:pt x="48" y="1"/>
                        </a:lnTo>
                        <a:lnTo>
                          <a:pt x="28" y="10"/>
                        </a:lnTo>
                        <a:lnTo>
                          <a:pt x="20" y="16"/>
                        </a:lnTo>
                        <a:lnTo>
                          <a:pt x="3" y="37"/>
                        </a:lnTo>
                        <a:lnTo>
                          <a:pt x="0" y="45"/>
                        </a:lnTo>
                        <a:lnTo>
                          <a:pt x="3" y="53"/>
                        </a:lnTo>
                        <a:lnTo>
                          <a:pt x="8" y="61"/>
                        </a:lnTo>
                        <a:lnTo>
                          <a:pt x="16" y="69"/>
                        </a:lnTo>
                        <a:lnTo>
                          <a:pt x="30" y="79"/>
                        </a:lnTo>
                        <a:lnTo>
                          <a:pt x="38" y="78"/>
                        </a:lnTo>
                        <a:lnTo>
                          <a:pt x="44" y="75"/>
                        </a:lnTo>
                        <a:lnTo>
                          <a:pt x="51" y="67"/>
                        </a:lnTo>
                        <a:lnTo>
                          <a:pt x="71" y="60"/>
                        </a:lnTo>
                        <a:lnTo>
                          <a:pt x="89" y="3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5" name="Freeform 123"/>
                  <p:cNvSpPr>
                    <a:spLocks/>
                  </p:cNvSpPr>
                  <p:nvPr/>
                </p:nvSpPr>
                <p:spPr bwMode="auto">
                  <a:xfrm>
                    <a:off x="2401" y="3678"/>
                    <a:ext cx="95" cy="83"/>
                  </a:xfrm>
                  <a:custGeom>
                    <a:avLst/>
                    <a:gdLst>
                      <a:gd name="T0" fmla="*/ 6545 w 89"/>
                      <a:gd name="T1" fmla="*/ 898 h 79"/>
                      <a:gd name="T2" fmla="*/ 6545 w 89"/>
                      <a:gd name="T3" fmla="*/ 763 h 79"/>
                      <a:gd name="T4" fmla="*/ 6505 w 89"/>
                      <a:gd name="T5" fmla="*/ 802 h 79"/>
                      <a:gd name="T6" fmla="*/ 6267 w 89"/>
                      <a:gd name="T7" fmla="*/ 626 h 79"/>
                      <a:gd name="T8" fmla="*/ 5745 w 89"/>
                      <a:gd name="T9" fmla="*/ 422 h 79"/>
                      <a:gd name="T10" fmla="*/ 5500 w 89"/>
                      <a:gd name="T11" fmla="*/ 314 h 79"/>
                      <a:gd name="T12" fmla="*/ 5010 w 89"/>
                      <a:gd name="T13" fmla="*/ 3 h 79"/>
                      <a:gd name="T14" fmla="*/ 4237 w 89"/>
                      <a:gd name="T15" fmla="*/ 0 h 79"/>
                      <a:gd name="T16" fmla="*/ 3483 w 89"/>
                      <a:gd name="T17" fmla="*/ 1 h 79"/>
                      <a:gd name="T18" fmla="*/ 2046 w 89"/>
                      <a:gd name="T19" fmla="*/ 299 h 79"/>
                      <a:gd name="T20" fmla="*/ 1397 w 89"/>
                      <a:gd name="T21" fmla="*/ 402 h 79"/>
                      <a:gd name="T22" fmla="*/ 3 w 89"/>
                      <a:gd name="T23" fmla="*/ 943 h 79"/>
                      <a:gd name="T24" fmla="*/ 0 w 89"/>
                      <a:gd name="T25" fmla="*/ 1149 h 79"/>
                      <a:gd name="T26" fmla="*/ 3 w 89"/>
                      <a:gd name="T27" fmla="*/ 1382 h 79"/>
                      <a:gd name="T28" fmla="*/ 638 w 89"/>
                      <a:gd name="T29" fmla="*/ 1584 h 79"/>
                      <a:gd name="T30" fmla="*/ 1076 w 89"/>
                      <a:gd name="T31" fmla="*/ 1790 h 79"/>
                      <a:gd name="T32" fmla="*/ 2184 w 89"/>
                      <a:gd name="T33" fmla="*/ 2052 h 79"/>
                      <a:gd name="T34" fmla="*/ 2835 w 89"/>
                      <a:gd name="T35" fmla="*/ 2028 h 79"/>
                      <a:gd name="T36" fmla="*/ 3230 w 89"/>
                      <a:gd name="T37" fmla="*/ 1953 h 79"/>
                      <a:gd name="T38" fmla="*/ 3718 w 89"/>
                      <a:gd name="T39" fmla="*/ 1748 h 79"/>
                      <a:gd name="T40" fmla="*/ 5320 w 89"/>
                      <a:gd name="T41" fmla="*/ 1544 h 79"/>
                      <a:gd name="T42" fmla="*/ 6545 w 89"/>
                      <a:gd name="T43" fmla="*/ 898 h 7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89"/>
                      <a:gd name="T67" fmla="*/ 0 h 79"/>
                      <a:gd name="T68" fmla="*/ 89 w 89"/>
                      <a:gd name="T69" fmla="*/ 79 h 7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89" h="79">
                        <a:moveTo>
                          <a:pt x="89" y="35"/>
                        </a:moveTo>
                        <a:lnTo>
                          <a:pt x="89" y="29"/>
                        </a:lnTo>
                        <a:lnTo>
                          <a:pt x="88" y="30"/>
                        </a:lnTo>
                        <a:lnTo>
                          <a:pt x="85" y="25"/>
                        </a:lnTo>
                        <a:lnTo>
                          <a:pt x="78" y="17"/>
                        </a:lnTo>
                        <a:lnTo>
                          <a:pt x="75" y="11"/>
                        </a:lnTo>
                        <a:lnTo>
                          <a:pt x="67" y="3"/>
                        </a:lnTo>
                        <a:lnTo>
                          <a:pt x="58" y="0"/>
                        </a:lnTo>
                        <a:lnTo>
                          <a:pt x="48" y="1"/>
                        </a:lnTo>
                        <a:lnTo>
                          <a:pt x="28" y="10"/>
                        </a:lnTo>
                        <a:lnTo>
                          <a:pt x="20" y="16"/>
                        </a:lnTo>
                        <a:lnTo>
                          <a:pt x="3" y="37"/>
                        </a:lnTo>
                        <a:lnTo>
                          <a:pt x="0" y="45"/>
                        </a:lnTo>
                        <a:lnTo>
                          <a:pt x="3" y="53"/>
                        </a:lnTo>
                        <a:lnTo>
                          <a:pt x="8" y="61"/>
                        </a:lnTo>
                        <a:lnTo>
                          <a:pt x="16" y="69"/>
                        </a:lnTo>
                        <a:lnTo>
                          <a:pt x="30" y="79"/>
                        </a:lnTo>
                        <a:lnTo>
                          <a:pt x="38" y="78"/>
                        </a:lnTo>
                        <a:lnTo>
                          <a:pt x="44" y="75"/>
                        </a:lnTo>
                        <a:lnTo>
                          <a:pt x="51" y="67"/>
                        </a:lnTo>
                        <a:lnTo>
                          <a:pt x="71" y="60"/>
                        </a:lnTo>
                        <a:lnTo>
                          <a:pt x="89" y="35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6" name="Freeform 124"/>
                  <p:cNvSpPr>
                    <a:spLocks/>
                  </p:cNvSpPr>
                  <p:nvPr/>
                </p:nvSpPr>
                <p:spPr bwMode="auto">
                  <a:xfrm>
                    <a:off x="2401" y="3678"/>
                    <a:ext cx="95" cy="83"/>
                  </a:xfrm>
                  <a:custGeom>
                    <a:avLst/>
                    <a:gdLst>
                      <a:gd name="T0" fmla="*/ 6267 w 89"/>
                      <a:gd name="T1" fmla="*/ 626 h 79"/>
                      <a:gd name="T2" fmla="*/ 6505 w 89"/>
                      <a:gd name="T3" fmla="*/ 802 h 79"/>
                      <a:gd name="T4" fmla="*/ 6545 w 89"/>
                      <a:gd name="T5" fmla="*/ 763 h 79"/>
                      <a:gd name="T6" fmla="*/ 6545 w 89"/>
                      <a:gd name="T7" fmla="*/ 898 h 79"/>
                      <a:gd name="T8" fmla="*/ 5320 w 89"/>
                      <a:gd name="T9" fmla="*/ 1544 h 79"/>
                      <a:gd name="T10" fmla="*/ 3718 w 89"/>
                      <a:gd name="T11" fmla="*/ 1748 h 79"/>
                      <a:gd name="T12" fmla="*/ 3230 w 89"/>
                      <a:gd name="T13" fmla="*/ 1953 h 79"/>
                      <a:gd name="T14" fmla="*/ 2835 w 89"/>
                      <a:gd name="T15" fmla="*/ 2028 h 79"/>
                      <a:gd name="T16" fmla="*/ 2184 w 89"/>
                      <a:gd name="T17" fmla="*/ 2052 h 79"/>
                      <a:gd name="T18" fmla="*/ 1076 w 89"/>
                      <a:gd name="T19" fmla="*/ 1790 h 79"/>
                      <a:gd name="T20" fmla="*/ 638 w 89"/>
                      <a:gd name="T21" fmla="*/ 1584 h 79"/>
                      <a:gd name="T22" fmla="*/ 3 w 89"/>
                      <a:gd name="T23" fmla="*/ 1382 h 79"/>
                      <a:gd name="T24" fmla="*/ 0 w 89"/>
                      <a:gd name="T25" fmla="*/ 1149 h 79"/>
                      <a:gd name="T26" fmla="*/ 3 w 89"/>
                      <a:gd name="T27" fmla="*/ 943 h 79"/>
                      <a:gd name="T28" fmla="*/ 1397 w 89"/>
                      <a:gd name="T29" fmla="*/ 402 h 79"/>
                      <a:gd name="T30" fmla="*/ 2046 w 89"/>
                      <a:gd name="T31" fmla="*/ 299 h 79"/>
                      <a:gd name="T32" fmla="*/ 3483 w 89"/>
                      <a:gd name="T33" fmla="*/ 1 h 79"/>
                      <a:gd name="T34" fmla="*/ 4237 w 89"/>
                      <a:gd name="T35" fmla="*/ 0 h 79"/>
                      <a:gd name="T36" fmla="*/ 5010 w 89"/>
                      <a:gd name="T37" fmla="*/ 3 h 79"/>
                      <a:gd name="T38" fmla="*/ 5500 w 89"/>
                      <a:gd name="T39" fmla="*/ 314 h 79"/>
                      <a:gd name="T40" fmla="*/ 5745 w 89"/>
                      <a:gd name="T41" fmla="*/ 422 h 79"/>
                      <a:gd name="T42" fmla="*/ 6267 w 89"/>
                      <a:gd name="T43" fmla="*/ 626 h 7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89"/>
                      <a:gd name="T67" fmla="*/ 0 h 79"/>
                      <a:gd name="T68" fmla="*/ 89 w 89"/>
                      <a:gd name="T69" fmla="*/ 79 h 7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89" h="79">
                        <a:moveTo>
                          <a:pt x="85" y="25"/>
                        </a:moveTo>
                        <a:lnTo>
                          <a:pt x="88" y="30"/>
                        </a:lnTo>
                        <a:lnTo>
                          <a:pt x="89" y="29"/>
                        </a:lnTo>
                        <a:lnTo>
                          <a:pt x="89" y="35"/>
                        </a:lnTo>
                        <a:lnTo>
                          <a:pt x="71" y="60"/>
                        </a:lnTo>
                        <a:lnTo>
                          <a:pt x="51" y="67"/>
                        </a:lnTo>
                        <a:lnTo>
                          <a:pt x="44" y="75"/>
                        </a:lnTo>
                        <a:lnTo>
                          <a:pt x="38" y="78"/>
                        </a:lnTo>
                        <a:lnTo>
                          <a:pt x="30" y="79"/>
                        </a:lnTo>
                        <a:lnTo>
                          <a:pt x="16" y="69"/>
                        </a:lnTo>
                        <a:lnTo>
                          <a:pt x="8" y="61"/>
                        </a:lnTo>
                        <a:lnTo>
                          <a:pt x="3" y="53"/>
                        </a:lnTo>
                        <a:lnTo>
                          <a:pt x="0" y="45"/>
                        </a:lnTo>
                        <a:lnTo>
                          <a:pt x="3" y="37"/>
                        </a:lnTo>
                        <a:lnTo>
                          <a:pt x="20" y="16"/>
                        </a:lnTo>
                        <a:lnTo>
                          <a:pt x="28" y="10"/>
                        </a:lnTo>
                        <a:lnTo>
                          <a:pt x="48" y="1"/>
                        </a:lnTo>
                        <a:lnTo>
                          <a:pt x="58" y="0"/>
                        </a:lnTo>
                        <a:lnTo>
                          <a:pt x="67" y="3"/>
                        </a:lnTo>
                        <a:lnTo>
                          <a:pt x="75" y="11"/>
                        </a:lnTo>
                        <a:lnTo>
                          <a:pt x="78" y="17"/>
                        </a:lnTo>
                        <a:lnTo>
                          <a:pt x="85" y="25"/>
                        </a:ln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7" name="Freeform 125"/>
                  <p:cNvSpPr>
                    <a:spLocks/>
                  </p:cNvSpPr>
                  <p:nvPr/>
                </p:nvSpPr>
                <p:spPr bwMode="auto">
                  <a:xfrm>
                    <a:off x="2401" y="3678"/>
                    <a:ext cx="95" cy="83"/>
                  </a:xfrm>
                  <a:custGeom>
                    <a:avLst/>
                    <a:gdLst>
                      <a:gd name="T0" fmla="*/ 6267 w 89"/>
                      <a:gd name="T1" fmla="*/ 626 h 79"/>
                      <a:gd name="T2" fmla="*/ 6505 w 89"/>
                      <a:gd name="T3" fmla="*/ 802 h 79"/>
                      <a:gd name="T4" fmla="*/ 6545 w 89"/>
                      <a:gd name="T5" fmla="*/ 763 h 79"/>
                      <a:gd name="T6" fmla="*/ 6545 w 89"/>
                      <a:gd name="T7" fmla="*/ 898 h 79"/>
                      <a:gd name="T8" fmla="*/ 5320 w 89"/>
                      <a:gd name="T9" fmla="*/ 1544 h 79"/>
                      <a:gd name="T10" fmla="*/ 3718 w 89"/>
                      <a:gd name="T11" fmla="*/ 1748 h 79"/>
                      <a:gd name="T12" fmla="*/ 3230 w 89"/>
                      <a:gd name="T13" fmla="*/ 1953 h 79"/>
                      <a:gd name="T14" fmla="*/ 2835 w 89"/>
                      <a:gd name="T15" fmla="*/ 2028 h 79"/>
                      <a:gd name="T16" fmla="*/ 2184 w 89"/>
                      <a:gd name="T17" fmla="*/ 2052 h 79"/>
                      <a:gd name="T18" fmla="*/ 1076 w 89"/>
                      <a:gd name="T19" fmla="*/ 1790 h 79"/>
                      <a:gd name="T20" fmla="*/ 638 w 89"/>
                      <a:gd name="T21" fmla="*/ 1584 h 79"/>
                      <a:gd name="T22" fmla="*/ 3 w 89"/>
                      <a:gd name="T23" fmla="*/ 1382 h 79"/>
                      <a:gd name="T24" fmla="*/ 0 w 89"/>
                      <a:gd name="T25" fmla="*/ 1149 h 79"/>
                      <a:gd name="T26" fmla="*/ 3 w 89"/>
                      <a:gd name="T27" fmla="*/ 943 h 79"/>
                      <a:gd name="T28" fmla="*/ 1397 w 89"/>
                      <a:gd name="T29" fmla="*/ 402 h 79"/>
                      <a:gd name="T30" fmla="*/ 2046 w 89"/>
                      <a:gd name="T31" fmla="*/ 299 h 79"/>
                      <a:gd name="T32" fmla="*/ 3483 w 89"/>
                      <a:gd name="T33" fmla="*/ 1 h 79"/>
                      <a:gd name="T34" fmla="*/ 4237 w 89"/>
                      <a:gd name="T35" fmla="*/ 0 h 79"/>
                      <a:gd name="T36" fmla="*/ 5010 w 89"/>
                      <a:gd name="T37" fmla="*/ 3 h 79"/>
                      <a:gd name="T38" fmla="*/ 5500 w 89"/>
                      <a:gd name="T39" fmla="*/ 314 h 79"/>
                      <a:gd name="T40" fmla="*/ 5745 w 89"/>
                      <a:gd name="T41" fmla="*/ 422 h 79"/>
                      <a:gd name="T42" fmla="*/ 6267 w 89"/>
                      <a:gd name="T43" fmla="*/ 626 h 79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89"/>
                      <a:gd name="T67" fmla="*/ 0 h 79"/>
                      <a:gd name="T68" fmla="*/ 89 w 89"/>
                      <a:gd name="T69" fmla="*/ 79 h 79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89" h="79">
                        <a:moveTo>
                          <a:pt x="85" y="25"/>
                        </a:moveTo>
                        <a:lnTo>
                          <a:pt x="88" y="30"/>
                        </a:lnTo>
                        <a:lnTo>
                          <a:pt x="89" y="29"/>
                        </a:lnTo>
                        <a:lnTo>
                          <a:pt x="89" y="35"/>
                        </a:lnTo>
                        <a:lnTo>
                          <a:pt x="71" y="60"/>
                        </a:lnTo>
                        <a:lnTo>
                          <a:pt x="51" y="67"/>
                        </a:lnTo>
                        <a:lnTo>
                          <a:pt x="44" y="75"/>
                        </a:lnTo>
                        <a:lnTo>
                          <a:pt x="38" y="78"/>
                        </a:lnTo>
                        <a:lnTo>
                          <a:pt x="30" y="79"/>
                        </a:lnTo>
                        <a:lnTo>
                          <a:pt x="16" y="69"/>
                        </a:lnTo>
                        <a:lnTo>
                          <a:pt x="8" y="61"/>
                        </a:lnTo>
                        <a:lnTo>
                          <a:pt x="3" y="53"/>
                        </a:lnTo>
                        <a:lnTo>
                          <a:pt x="0" y="45"/>
                        </a:lnTo>
                        <a:lnTo>
                          <a:pt x="3" y="37"/>
                        </a:lnTo>
                        <a:lnTo>
                          <a:pt x="20" y="16"/>
                        </a:lnTo>
                        <a:lnTo>
                          <a:pt x="28" y="10"/>
                        </a:lnTo>
                        <a:lnTo>
                          <a:pt x="48" y="1"/>
                        </a:lnTo>
                        <a:lnTo>
                          <a:pt x="58" y="0"/>
                        </a:lnTo>
                        <a:lnTo>
                          <a:pt x="67" y="3"/>
                        </a:lnTo>
                        <a:lnTo>
                          <a:pt x="75" y="11"/>
                        </a:lnTo>
                        <a:lnTo>
                          <a:pt x="78" y="17"/>
                        </a:lnTo>
                        <a:lnTo>
                          <a:pt x="85" y="25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28" name="Freeform 126"/>
                  <p:cNvSpPr>
                    <a:spLocks/>
                  </p:cNvSpPr>
                  <p:nvPr/>
                </p:nvSpPr>
                <p:spPr bwMode="auto">
                  <a:xfrm>
                    <a:off x="1758" y="2758"/>
                    <a:ext cx="522" cy="493"/>
                  </a:xfrm>
                  <a:custGeom>
                    <a:avLst/>
                    <a:gdLst>
                      <a:gd name="T0" fmla="*/ 1 w 488"/>
                      <a:gd name="T1" fmla="*/ 592 h 470"/>
                      <a:gd name="T2" fmla="*/ 3 w 488"/>
                      <a:gd name="T3" fmla="*/ 554 h 470"/>
                      <a:gd name="T4" fmla="*/ 20 w 488"/>
                      <a:gd name="T5" fmla="*/ 496 h 470"/>
                      <a:gd name="T6" fmla="*/ 34 w 488"/>
                      <a:gd name="T7" fmla="*/ 453 h 470"/>
                      <a:gd name="T8" fmla="*/ 45 w 488"/>
                      <a:gd name="T9" fmla="*/ 413 h 470"/>
                      <a:gd name="T10" fmla="*/ 65 w 488"/>
                      <a:gd name="T11" fmla="*/ 384 h 470"/>
                      <a:gd name="T12" fmla="*/ 109 w 488"/>
                      <a:gd name="T13" fmla="*/ 342 h 470"/>
                      <a:gd name="T14" fmla="*/ 121 w 488"/>
                      <a:gd name="T15" fmla="*/ 294 h 470"/>
                      <a:gd name="T16" fmla="*/ 121 w 488"/>
                      <a:gd name="T17" fmla="*/ 246 h 470"/>
                      <a:gd name="T18" fmla="*/ 94 w 488"/>
                      <a:gd name="T19" fmla="*/ 205 h 470"/>
                      <a:gd name="T20" fmla="*/ 99 w 488"/>
                      <a:gd name="T21" fmla="*/ 157 h 470"/>
                      <a:gd name="T22" fmla="*/ 77 w 488"/>
                      <a:gd name="T23" fmla="*/ 83 h 470"/>
                      <a:gd name="T24" fmla="*/ 49 w 488"/>
                      <a:gd name="T25" fmla="*/ 42 h 470"/>
                      <a:gd name="T26" fmla="*/ 42 w 488"/>
                      <a:gd name="T27" fmla="*/ 21 h 470"/>
                      <a:gd name="T28" fmla="*/ 98 w 488"/>
                      <a:gd name="T29" fmla="*/ 2 h 470"/>
                      <a:gd name="T30" fmla="*/ 163 w 488"/>
                      <a:gd name="T31" fmla="*/ 0 h 470"/>
                      <a:gd name="T32" fmla="*/ 217 w 488"/>
                      <a:gd name="T33" fmla="*/ 0 h 470"/>
                      <a:gd name="T34" fmla="*/ 278 w 488"/>
                      <a:gd name="T35" fmla="*/ 7 h 470"/>
                      <a:gd name="T36" fmla="*/ 296 w 488"/>
                      <a:gd name="T37" fmla="*/ 32 h 470"/>
                      <a:gd name="T38" fmla="*/ 309 w 488"/>
                      <a:gd name="T39" fmla="*/ 78 h 470"/>
                      <a:gd name="T40" fmla="*/ 371 w 488"/>
                      <a:gd name="T41" fmla="*/ 121 h 470"/>
                      <a:gd name="T42" fmla="*/ 446 w 488"/>
                      <a:gd name="T43" fmla="*/ 112 h 470"/>
                      <a:gd name="T44" fmla="*/ 456 w 488"/>
                      <a:gd name="T45" fmla="*/ 85 h 470"/>
                      <a:gd name="T46" fmla="*/ 507 w 488"/>
                      <a:gd name="T47" fmla="*/ 59 h 470"/>
                      <a:gd name="T48" fmla="*/ 582 w 488"/>
                      <a:gd name="T49" fmla="*/ 78 h 470"/>
                      <a:gd name="T50" fmla="*/ 595 w 488"/>
                      <a:gd name="T51" fmla="*/ 130 h 470"/>
                      <a:gd name="T52" fmla="*/ 595 w 488"/>
                      <a:gd name="T53" fmla="*/ 178 h 470"/>
                      <a:gd name="T54" fmla="*/ 609 w 488"/>
                      <a:gd name="T55" fmla="*/ 231 h 470"/>
                      <a:gd name="T56" fmla="*/ 600 w 488"/>
                      <a:gd name="T57" fmla="*/ 269 h 470"/>
                      <a:gd name="T58" fmla="*/ 605 w 488"/>
                      <a:gd name="T59" fmla="*/ 276 h 470"/>
                      <a:gd name="T60" fmla="*/ 625 w 488"/>
                      <a:gd name="T61" fmla="*/ 280 h 470"/>
                      <a:gd name="T62" fmla="*/ 696 w 488"/>
                      <a:gd name="T63" fmla="*/ 265 h 470"/>
                      <a:gd name="T64" fmla="*/ 719 w 488"/>
                      <a:gd name="T65" fmla="*/ 261 h 470"/>
                      <a:gd name="T66" fmla="*/ 722 w 488"/>
                      <a:gd name="T67" fmla="*/ 271 h 470"/>
                      <a:gd name="T68" fmla="*/ 719 w 488"/>
                      <a:gd name="T69" fmla="*/ 302 h 470"/>
                      <a:gd name="T70" fmla="*/ 716 w 488"/>
                      <a:gd name="T71" fmla="*/ 348 h 470"/>
                      <a:gd name="T72" fmla="*/ 732 w 488"/>
                      <a:gd name="T73" fmla="*/ 373 h 470"/>
                      <a:gd name="T74" fmla="*/ 603 w 488"/>
                      <a:gd name="T75" fmla="*/ 474 h 470"/>
                      <a:gd name="T76" fmla="*/ 610 w 488"/>
                      <a:gd name="T77" fmla="*/ 563 h 470"/>
                      <a:gd name="T78" fmla="*/ 645 w 488"/>
                      <a:gd name="T79" fmla="*/ 592 h 470"/>
                      <a:gd name="T80" fmla="*/ 671 w 488"/>
                      <a:gd name="T81" fmla="*/ 611 h 470"/>
                      <a:gd name="T82" fmla="*/ 570 w 488"/>
                      <a:gd name="T83" fmla="*/ 634 h 470"/>
                      <a:gd name="T84" fmla="*/ 523 w 488"/>
                      <a:gd name="T85" fmla="*/ 627 h 470"/>
                      <a:gd name="T86" fmla="*/ 428 w 488"/>
                      <a:gd name="T87" fmla="*/ 622 h 470"/>
                      <a:gd name="T88" fmla="*/ 367 w 488"/>
                      <a:gd name="T89" fmla="*/ 598 h 470"/>
                      <a:gd name="T90" fmla="*/ 158 w 488"/>
                      <a:gd name="T91" fmla="*/ 598 h 470"/>
                      <a:gd name="T92" fmla="*/ 105 w 488"/>
                      <a:gd name="T93" fmla="*/ 583 h 470"/>
                      <a:gd name="T94" fmla="*/ 55 w 488"/>
                      <a:gd name="T95" fmla="*/ 577 h 470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488"/>
                      <a:gd name="T145" fmla="*/ 0 h 470"/>
                      <a:gd name="T146" fmla="*/ 488 w 488"/>
                      <a:gd name="T147" fmla="*/ 470 h 470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488" h="470">
                        <a:moveTo>
                          <a:pt x="18" y="433"/>
                        </a:moveTo>
                        <a:lnTo>
                          <a:pt x="10" y="439"/>
                        </a:lnTo>
                        <a:lnTo>
                          <a:pt x="1" y="443"/>
                        </a:lnTo>
                        <a:lnTo>
                          <a:pt x="1" y="439"/>
                        </a:lnTo>
                        <a:lnTo>
                          <a:pt x="0" y="424"/>
                        </a:lnTo>
                        <a:lnTo>
                          <a:pt x="0" y="417"/>
                        </a:lnTo>
                        <a:lnTo>
                          <a:pt x="3" y="418"/>
                        </a:lnTo>
                        <a:lnTo>
                          <a:pt x="3" y="411"/>
                        </a:lnTo>
                        <a:lnTo>
                          <a:pt x="3" y="398"/>
                        </a:lnTo>
                        <a:lnTo>
                          <a:pt x="4" y="389"/>
                        </a:lnTo>
                        <a:lnTo>
                          <a:pt x="10" y="383"/>
                        </a:lnTo>
                        <a:lnTo>
                          <a:pt x="14" y="367"/>
                        </a:lnTo>
                        <a:lnTo>
                          <a:pt x="17" y="361"/>
                        </a:lnTo>
                        <a:lnTo>
                          <a:pt x="18" y="351"/>
                        </a:lnTo>
                        <a:lnTo>
                          <a:pt x="20" y="345"/>
                        </a:lnTo>
                        <a:lnTo>
                          <a:pt x="22" y="336"/>
                        </a:lnTo>
                        <a:lnTo>
                          <a:pt x="23" y="332"/>
                        </a:lnTo>
                        <a:lnTo>
                          <a:pt x="25" y="325"/>
                        </a:lnTo>
                        <a:lnTo>
                          <a:pt x="30" y="311"/>
                        </a:lnTo>
                        <a:lnTo>
                          <a:pt x="30" y="307"/>
                        </a:lnTo>
                        <a:lnTo>
                          <a:pt x="33" y="304"/>
                        </a:lnTo>
                        <a:lnTo>
                          <a:pt x="33" y="299"/>
                        </a:lnTo>
                        <a:lnTo>
                          <a:pt x="37" y="288"/>
                        </a:lnTo>
                        <a:lnTo>
                          <a:pt x="44" y="284"/>
                        </a:lnTo>
                        <a:lnTo>
                          <a:pt x="48" y="280"/>
                        </a:lnTo>
                        <a:lnTo>
                          <a:pt x="49" y="270"/>
                        </a:lnTo>
                        <a:lnTo>
                          <a:pt x="63" y="263"/>
                        </a:lnTo>
                        <a:lnTo>
                          <a:pt x="73" y="253"/>
                        </a:lnTo>
                        <a:lnTo>
                          <a:pt x="76" y="247"/>
                        </a:lnTo>
                        <a:lnTo>
                          <a:pt x="78" y="241"/>
                        </a:lnTo>
                        <a:lnTo>
                          <a:pt x="81" y="229"/>
                        </a:lnTo>
                        <a:lnTo>
                          <a:pt x="81" y="218"/>
                        </a:lnTo>
                        <a:lnTo>
                          <a:pt x="83" y="212"/>
                        </a:lnTo>
                        <a:lnTo>
                          <a:pt x="81" y="201"/>
                        </a:lnTo>
                        <a:lnTo>
                          <a:pt x="85" y="196"/>
                        </a:lnTo>
                        <a:lnTo>
                          <a:pt x="81" y="183"/>
                        </a:lnTo>
                        <a:lnTo>
                          <a:pt x="73" y="176"/>
                        </a:lnTo>
                        <a:lnTo>
                          <a:pt x="70" y="167"/>
                        </a:lnTo>
                        <a:lnTo>
                          <a:pt x="66" y="163"/>
                        </a:lnTo>
                        <a:lnTo>
                          <a:pt x="63" y="152"/>
                        </a:lnTo>
                        <a:lnTo>
                          <a:pt x="56" y="130"/>
                        </a:lnTo>
                        <a:lnTo>
                          <a:pt x="56" y="126"/>
                        </a:lnTo>
                        <a:lnTo>
                          <a:pt x="59" y="121"/>
                        </a:lnTo>
                        <a:lnTo>
                          <a:pt x="66" y="116"/>
                        </a:lnTo>
                        <a:lnTo>
                          <a:pt x="66" y="104"/>
                        </a:lnTo>
                        <a:lnTo>
                          <a:pt x="63" y="95"/>
                        </a:lnTo>
                        <a:lnTo>
                          <a:pt x="59" y="89"/>
                        </a:lnTo>
                        <a:lnTo>
                          <a:pt x="51" y="62"/>
                        </a:lnTo>
                        <a:lnTo>
                          <a:pt x="49" y="54"/>
                        </a:lnTo>
                        <a:lnTo>
                          <a:pt x="46" y="48"/>
                        </a:lnTo>
                        <a:lnTo>
                          <a:pt x="37" y="36"/>
                        </a:lnTo>
                        <a:lnTo>
                          <a:pt x="33" y="30"/>
                        </a:lnTo>
                        <a:lnTo>
                          <a:pt x="29" y="23"/>
                        </a:lnTo>
                        <a:lnTo>
                          <a:pt x="27" y="20"/>
                        </a:lnTo>
                        <a:lnTo>
                          <a:pt x="28" y="17"/>
                        </a:lnTo>
                        <a:lnTo>
                          <a:pt x="28" y="15"/>
                        </a:lnTo>
                        <a:lnTo>
                          <a:pt x="33" y="13"/>
                        </a:lnTo>
                        <a:lnTo>
                          <a:pt x="45" y="10"/>
                        </a:lnTo>
                        <a:lnTo>
                          <a:pt x="54" y="5"/>
                        </a:lnTo>
                        <a:lnTo>
                          <a:pt x="65" y="2"/>
                        </a:lnTo>
                        <a:lnTo>
                          <a:pt x="70" y="2"/>
                        </a:lnTo>
                        <a:lnTo>
                          <a:pt x="76" y="0"/>
                        </a:lnTo>
                        <a:lnTo>
                          <a:pt x="92" y="2"/>
                        </a:lnTo>
                        <a:lnTo>
                          <a:pt x="108" y="0"/>
                        </a:lnTo>
                        <a:lnTo>
                          <a:pt x="113" y="2"/>
                        </a:lnTo>
                        <a:lnTo>
                          <a:pt x="126" y="2"/>
                        </a:lnTo>
                        <a:lnTo>
                          <a:pt x="135" y="0"/>
                        </a:lnTo>
                        <a:lnTo>
                          <a:pt x="145" y="0"/>
                        </a:lnTo>
                        <a:lnTo>
                          <a:pt x="167" y="0"/>
                        </a:lnTo>
                        <a:lnTo>
                          <a:pt x="179" y="0"/>
                        </a:lnTo>
                        <a:lnTo>
                          <a:pt x="182" y="0"/>
                        </a:lnTo>
                        <a:lnTo>
                          <a:pt x="185" y="7"/>
                        </a:lnTo>
                        <a:lnTo>
                          <a:pt x="187" y="7"/>
                        </a:lnTo>
                        <a:lnTo>
                          <a:pt x="190" y="5"/>
                        </a:lnTo>
                        <a:lnTo>
                          <a:pt x="194" y="12"/>
                        </a:lnTo>
                        <a:lnTo>
                          <a:pt x="197" y="25"/>
                        </a:lnTo>
                        <a:lnTo>
                          <a:pt x="197" y="33"/>
                        </a:lnTo>
                        <a:lnTo>
                          <a:pt x="200" y="37"/>
                        </a:lnTo>
                        <a:lnTo>
                          <a:pt x="204" y="46"/>
                        </a:lnTo>
                        <a:lnTo>
                          <a:pt x="207" y="58"/>
                        </a:lnTo>
                        <a:lnTo>
                          <a:pt x="215" y="66"/>
                        </a:lnTo>
                        <a:lnTo>
                          <a:pt x="230" y="85"/>
                        </a:lnTo>
                        <a:lnTo>
                          <a:pt x="238" y="89"/>
                        </a:lnTo>
                        <a:lnTo>
                          <a:pt x="248" y="89"/>
                        </a:lnTo>
                        <a:lnTo>
                          <a:pt x="263" y="85"/>
                        </a:lnTo>
                        <a:lnTo>
                          <a:pt x="272" y="82"/>
                        </a:lnTo>
                        <a:lnTo>
                          <a:pt x="285" y="84"/>
                        </a:lnTo>
                        <a:lnTo>
                          <a:pt x="298" y="84"/>
                        </a:lnTo>
                        <a:lnTo>
                          <a:pt x="301" y="74"/>
                        </a:lnTo>
                        <a:lnTo>
                          <a:pt x="301" y="68"/>
                        </a:lnTo>
                        <a:lnTo>
                          <a:pt x="303" y="65"/>
                        </a:lnTo>
                        <a:lnTo>
                          <a:pt x="304" y="63"/>
                        </a:lnTo>
                        <a:lnTo>
                          <a:pt x="305" y="59"/>
                        </a:lnTo>
                        <a:lnTo>
                          <a:pt x="305" y="51"/>
                        </a:lnTo>
                        <a:lnTo>
                          <a:pt x="307" y="44"/>
                        </a:lnTo>
                        <a:lnTo>
                          <a:pt x="338" y="44"/>
                        </a:lnTo>
                        <a:lnTo>
                          <a:pt x="338" y="41"/>
                        </a:lnTo>
                        <a:lnTo>
                          <a:pt x="355" y="41"/>
                        </a:lnTo>
                        <a:lnTo>
                          <a:pt x="354" y="56"/>
                        </a:lnTo>
                        <a:lnTo>
                          <a:pt x="389" y="58"/>
                        </a:lnTo>
                        <a:lnTo>
                          <a:pt x="390" y="59"/>
                        </a:lnTo>
                        <a:lnTo>
                          <a:pt x="392" y="65"/>
                        </a:lnTo>
                        <a:lnTo>
                          <a:pt x="394" y="89"/>
                        </a:lnTo>
                        <a:lnTo>
                          <a:pt x="396" y="97"/>
                        </a:lnTo>
                        <a:lnTo>
                          <a:pt x="396" y="107"/>
                        </a:lnTo>
                        <a:lnTo>
                          <a:pt x="397" y="119"/>
                        </a:lnTo>
                        <a:lnTo>
                          <a:pt x="397" y="123"/>
                        </a:lnTo>
                        <a:lnTo>
                          <a:pt x="396" y="132"/>
                        </a:lnTo>
                        <a:lnTo>
                          <a:pt x="394" y="140"/>
                        </a:lnTo>
                        <a:lnTo>
                          <a:pt x="397" y="147"/>
                        </a:lnTo>
                        <a:lnTo>
                          <a:pt x="403" y="157"/>
                        </a:lnTo>
                        <a:lnTo>
                          <a:pt x="407" y="171"/>
                        </a:lnTo>
                        <a:lnTo>
                          <a:pt x="412" y="183"/>
                        </a:lnTo>
                        <a:lnTo>
                          <a:pt x="410" y="188"/>
                        </a:lnTo>
                        <a:lnTo>
                          <a:pt x="408" y="192"/>
                        </a:lnTo>
                        <a:lnTo>
                          <a:pt x="400" y="200"/>
                        </a:lnTo>
                        <a:lnTo>
                          <a:pt x="400" y="202"/>
                        </a:lnTo>
                        <a:lnTo>
                          <a:pt x="402" y="203"/>
                        </a:lnTo>
                        <a:lnTo>
                          <a:pt x="402" y="205"/>
                        </a:lnTo>
                        <a:lnTo>
                          <a:pt x="405" y="205"/>
                        </a:lnTo>
                        <a:lnTo>
                          <a:pt x="408" y="210"/>
                        </a:lnTo>
                        <a:lnTo>
                          <a:pt x="413" y="211"/>
                        </a:lnTo>
                        <a:lnTo>
                          <a:pt x="415" y="210"/>
                        </a:lnTo>
                        <a:lnTo>
                          <a:pt x="417" y="207"/>
                        </a:lnTo>
                        <a:lnTo>
                          <a:pt x="419" y="201"/>
                        </a:lnTo>
                        <a:lnTo>
                          <a:pt x="422" y="200"/>
                        </a:lnTo>
                        <a:lnTo>
                          <a:pt x="457" y="200"/>
                        </a:lnTo>
                        <a:lnTo>
                          <a:pt x="465" y="196"/>
                        </a:lnTo>
                        <a:lnTo>
                          <a:pt x="472" y="198"/>
                        </a:lnTo>
                        <a:lnTo>
                          <a:pt x="473" y="198"/>
                        </a:lnTo>
                        <a:lnTo>
                          <a:pt x="479" y="194"/>
                        </a:lnTo>
                        <a:lnTo>
                          <a:pt x="480" y="194"/>
                        </a:lnTo>
                        <a:lnTo>
                          <a:pt x="483" y="195"/>
                        </a:lnTo>
                        <a:lnTo>
                          <a:pt x="483" y="199"/>
                        </a:lnTo>
                        <a:lnTo>
                          <a:pt x="482" y="199"/>
                        </a:lnTo>
                        <a:lnTo>
                          <a:pt x="482" y="201"/>
                        </a:lnTo>
                        <a:lnTo>
                          <a:pt x="483" y="208"/>
                        </a:lnTo>
                        <a:lnTo>
                          <a:pt x="483" y="211"/>
                        </a:lnTo>
                        <a:lnTo>
                          <a:pt x="482" y="215"/>
                        </a:lnTo>
                        <a:lnTo>
                          <a:pt x="480" y="224"/>
                        </a:lnTo>
                        <a:lnTo>
                          <a:pt x="478" y="233"/>
                        </a:lnTo>
                        <a:lnTo>
                          <a:pt x="479" y="243"/>
                        </a:lnTo>
                        <a:lnTo>
                          <a:pt x="479" y="252"/>
                        </a:lnTo>
                        <a:lnTo>
                          <a:pt x="477" y="258"/>
                        </a:lnTo>
                        <a:lnTo>
                          <a:pt x="477" y="268"/>
                        </a:lnTo>
                        <a:lnTo>
                          <a:pt x="478" y="272"/>
                        </a:lnTo>
                        <a:lnTo>
                          <a:pt x="480" y="273"/>
                        </a:lnTo>
                        <a:lnTo>
                          <a:pt x="488" y="277"/>
                        </a:lnTo>
                        <a:lnTo>
                          <a:pt x="445" y="277"/>
                        </a:lnTo>
                        <a:lnTo>
                          <a:pt x="403" y="277"/>
                        </a:lnTo>
                        <a:lnTo>
                          <a:pt x="403" y="313"/>
                        </a:lnTo>
                        <a:lnTo>
                          <a:pt x="403" y="351"/>
                        </a:lnTo>
                        <a:lnTo>
                          <a:pt x="403" y="388"/>
                        </a:lnTo>
                        <a:lnTo>
                          <a:pt x="403" y="413"/>
                        </a:lnTo>
                        <a:lnTo>
                          <a:pt x="403" y="414"/>
                        </a:lnTo>
                        <a:lnTo>
                          <a:pt x="408" y="418"/>
                        </a:lnTo>
                        <a:lnTo>
                          <a:pt x="410" y="424"/>
                        </a:lnTo>
                        <a:lnTo>
                          <a:pt x="420" y="429"/>
                        </a:lnTo>
                        <a:lnTo>
                          <a:pt x="424" y="434"/>
                        </a:lnTo>
                        <a:lnTo>
                          <a:pt x="431" y="439"/>
                        </a:lnTo>
                        <a:lnTo>
                          <a:pt x="434" y="443"/>
                        </a:lnTo>
                        <a:lnTo>
                          <a:pt x="440" y="446"/>
                        </a:lnTo>
                        <a:lnTo>
                          <a:pt x="442" y="450"/>
                        </a:lnTo>
                        <a:lnTo>
                          <a:pt x="448" y="453"/>
                        </a:lnTo>
                        <a:lnTo>
                          <a:pt x="447" y="455"/>
                        </a:lnTo>
                        <a:lnTo>
                          <a:pt x="439" y="456"/>
                        </a:lnTo>
                        <a:lnTo>
                          <a:pt x="387" y="470"/>
                        </a:lnTo>
                        <a:lnTo>
                          <a:pt x="381" y="470"/>
                        </a:lnTo>
                        <a:lnTo>
                          <a:pt x="377" y="468"/>
                        </a:lnTo>
                        <a:lnTo>
                          <a:pt x="369" y="468"/>
                        </a:lnTo>
                        <a:lnTo>
                          <a:pt x="360" y="465"/>
                        </a:lnTo>
                        <a:lnTo>
                          <a:pt x="349" y="465"/>
                        </a:lnTo>
                        <a:lnTo>
                          <a:pt x="326" y="460"/>
                        </a:lnTo>
                        <a:lnTo>
                          <a:pt x="306" y="460"/>
                        </a:lnTo>
                        <a:lnTo>
                          <a:pt x="293" y="461"/>
                        </a:lnTo>
                        <a:lnTo>
                          <a:pt x="286" y="461"/>
                        </a:lnTo>
                        <a:lnTo>
                          <a:pt x="274" y="456"/>
                        </a:lnTo>
                        <a:lnTo>
                          <a:pt x="269" y="451"/>
                        </a:lnTo>
                        <a:lnTo>
                          <a:pt x="259" y="443"/>
                        </a:lnTo>
                        <a:lnTo>
                          <a:pt x="245" y="443"/>
                        </a:lnTo>
                        <a:lnTo>
                          <a:pt x="212" y="443"/>
                        </a:lnTo>
                        <a:lnTo>
                          <a:pt x="178" y="443"/>
                        </a:lnTo>
                        <a:lnTo>
                          <a:pt x="141" y="443"/>
                        </a:lnTo>
                        <a:lnTo>
                          <a:pt x="106" y="443"/>
                        </a:lnTo>
                        <a:lnTo>
                          <a:pt x="93" y="443"/>
                        </a:lnTo>
                        <a:lnTo>
                          <a:pt x="87" y="444"/>
                        </a:lnTo>
                        <a:lnTo>
                          <a:pt x="78" y="436"/>
                        </a:lnTo>
                        <a:lnTo>
                          <a:pt x="70" y="433"/>
                        </a:lnTo>
                        <a:lnTo>
                          <a:pt x="66" y="427"/>
                        </a:lnTo>
                        <a:lnTo>
                          <a:pt x="59" y="425"/>
                        </a:lnTo>
                        <a:lnTo>
                          <a:pt x="43" y="425"/>
                        </a:lnTo>
                        <a:lnTo>
                          <a:pt x="36" y="428"/>
                        </a:lnTo>
                        <a:lnTo>
                          <a:pt x="28" y="434"/>
                        </a:lnTo>
                        <a:lnTo>
                          <a:pt x="25" y="437"/>
                        </a:lnTo>
                        <a:lnTo>
                          <a:pt x="18" y="433"/>
                        </a:lnTo>
                        <a:close/>
                      </a:path>
                    </a:pathLst>
                  </a:custGeom>
                  <a:solidFill>
                    <a:srgbClr val="C0504D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>
                      <a:defRPr/>
                    </a:pPr>
                    <a:endParaRPr lang="en-US">
                      <a:latin typeface="Arial" panose="020B0604020202020204" pitchFamily="34" charset="0"/>
                      <a:ea typeface="ＭＳ Ｐゴシック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129" name="Freeform 127"/>
                  <p:cNvSpPr>
                    <a:spLocks/>
                  </p:cNvSpPr>
                  <p:nvPr/>
                </p:nvSpPr>
                <p:spPr bwMode="auto">
                  <a:xfrm>
                    <a:off x="1758" y="2758"/>
                    <a:ext cx="522" cy="494"/>
                  </a:xfrm>
                  <a:custGeom>
                    <a:avLst/>
                    <a:gdLst>
                      <a:gd name="T0" fmla="*/ 1 w 488"/>
                      <a:gd name="T1" fmla="*/ 11755 h 470"/>
                      <a:gd name="T2" fmla="*/ 3 w 488"/>
                      <a:gd name="T3" fmla="*/ 11003 h 470"/>
                      <a:gd name="T4" fmla="*/ 1147 w 488"/>
                      <a:gd name="T5" fmla="*/ 9848 h 470"/>
                      <a:gd name="T6" fmla="*/ 1966 w 488"/>
                      <a:gd name="T7" fmla="*/ 8983 h 470"/>
                      <a:gd name="T8" fmla="*/ 2575 w 488"/>
                      <a:gd name="T9" fmla="*/ 8179 h 470"/>
                      <a:gd name="T10" fmla="*/ 3710 w 488"/>
                      <a:gd name="T11" fmla="*/ 7656 h 470"/>
                      <a:gd name="T12" fmla="*/ 6204 w 488"/>
                      <a:gd name="T13" fmla="*/ 6787 h 470"/>
                      <a:gd name="T14" fmla="*/ 6897 w 488"/>
                      <a:gd name="T15" fmla="*/ 5845 h 470"/>
                      <a:gd name="T16" fmla="*/ 6897 w 488"/>
                      <a:gd name="T17" fmla="*/ 4904 h 470"/>
                      <a:gd name="T18" fmla="*/ 5401 w 488"/>
                      <a:gd name="T19" fmla="*/ 4064 h 470"/>
                      <a:gd name="T20" fmla="*/ 5635 w 488"/>
                      <a:gd name="T21" fmla="*/ 3128 h 470"/>
                      <a:gd name="T22" fmla="*/ 4413 w 488"/>
                      <a:gd name="T23" fmla="*/ 1639 h 470"/>
                      <a:gd name="T24" fmla="*/ 2764 w 488"/>
                      <a:gd name="T25" fmla="*/ 816 h 470"/>
                      <a:gd name="T26" fmla="*/ 2407 w 488"/>
                      <a:gd name="T27" fmla="*/ 386 h 470"/>
                      <a:gd name="T28" fmla="*/ 5556 w 488"/>
                      <a:gd name="T29" fmla="*/ 2 h 470"/>
                      <a:gd name="T30" fmla="*/ 9258 w 488"/>
                      <a:gd name="T31" fmla="*/ 0 h 470"/>
                      <a:gd name="T32" fmla="*/ 12347 w 488"/>
                      <a:gd name="T33" fmla="*/ 0 h 470"/>
                      <a:gd name="T34" fmla="*/ 15780 w 488"/>
                      <a:gd name="T35" fmla="*/ 7 h 470"/>
                      <a:gd name="T36" fmla="*/ 16836 w 488"/>
                      <a:gd name="T37" fmla="*/ 636 h 470"/>
                      <a:gd name="T38" fmla="*/ 17546 w 488"/>
                      <a:gd name="T39" fmla="*/ 1557 h 470"/>
                      <a:gd name="T40" fmla="*/ 21162 w 488"/>
                      <a:gd name="T41" fmla="*/ 2391 h 470"/>
                      <a:gd name="T42" fmla="*/ 25422 w 488"/>
                      <a:gd name="T43" fmla="*/ 2220 h 470"/>
                      <a:gd name="T44" fmla="*/ 25965 w 488"/>
                      <a:gd name="T45" fmla="*/ 1687 h 470"/>
                      <a:gd name="T46" fmla="*/ 28831 w 488"/>
                      <a:gd name="T47" fmla="*/ 1156 h 470"/>
                      <a:gd name="T48" fmla="*/ 33103 w 488"/>
                      <a:gd name="T49" fmla="*/ 1557 h 470"/>
                      <a:gd name="T50" fmla="*/ 33786 w 488"/>
                      <a:gd name="T51" fmla="*/ 2577 h 470"/>
                      <a:gd name="T52" fmla="*/ 33786 w 488"/>
                      <a:gd name="T53" fmla="*/ 3552 h 470"/>
                      <a:gd name="T54" fmla="*/ 34556 w 488"/>
                      <a:gd name="T55" fmla="*/ 4569 h 470"/>
                      <a:gd name="T56" fmla="*/ 34210 w 488"/>
                      <a:gd name="T57" fmla="*/ 5372 h 470"/>
                      <a:gd name="T58" fmla="*/ 34409 w 488"/>
                      <a:gd name="T59" fmla="*/ 5479 h 470"/>
                      <a:gd name="T60" fmla="*/ 35602 w 488"/>
                      <a:gd name="T61" fmla="*/ 5561 h 470"/>
                      <a:gd name="T62" fmla="*/ 39539 w 488"/>
                      <a:gd name="T63" fmla="*/ 5283 h 470"/>
                      <a:gd name="T64" fmla="*/ 40895 w 488"/>
                      <a:gd name="T65" fmla="*/ 5175 h 470"/>
                      <a:gd name="T66" fmla="*/ 41122 w 488"/>
                      <a:gd name="T67" fmla="*/ 5409 h 470"/>
                      <a:gd name="T68" fmla="*/ 40895 w 488"/>
                      <a:gd name="T69" fmla="*/ 5996 h 470"/>
                      <a:gd name="T70" fmla="*/ 40735 w 488"/>
                      <a:gd name="T71" fmla="*/ 6938 h 470"/>
                      <a:gd name="T72" fmla="*/ 41604 w 488"/>
                      <a:gd name="T73" fmla="*/ 7391 h 470"/>
                      <a:gd name="T74" fmla="*/ 34288 w 488"/>
                      <a:gd name="T75" fmla="*/ 9409 h 470"/>
                      <a:gd name="T76" fmla="*/ 34729 w 488"/>
                      <a:gd name="T77" fmla="*/ 11184 h 470"/>
                      <a:gd name="T78" fmla="*/ 36677 w 488"/>
                      <a:gd name="T79" fmla="*/ 11755 h 470"/>
                      <a:gd name="T80" fmla="*/ 38165 w 488"/>
                      <a:gd name="T81" fmla="*/ 12112 h 470"/>
                      <a:gd name="T82" fmla="*/ 32467 w 488"/>
                      <a:gd name="T83" fmla="*/ 12597 h 470"/>
                      <a:gd name="T84" fmla="*/ 29730 w 488"/>
                      <a:gd name="T85" fmla="*/ 12444 h 470"/>
                      <a:gd name="T86" fmla="*/ 24429 w 488"/>
                      <a:gd name="T87" fmla="*/ 12355 h 470"/>
                      <a:gd name="T88" fmla="*/ 20853 w 488"/>
                      <a:gd name="T89" fmla="*/ 11859 h 470"/>
                      <a:gd name="T90" fmla="*/ 9030 w 488"/>
                      <a:gd name="T91" fmla="*/ 11859 h 470"/>
                      <a:gd name="T92" fmla="*/ 5943 w 488"/>
                      <a:gd name="T93" fmla="*/ 11571 h 470"/>
                      <a:gd name="T94" fmla="*/ 3151 w 488"/>
                      <a:gd name="T95" fmla="*/ 11458 h 470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488"/>
                      <a:gd name="T145" fmla="*/ 0 h 470"/>
                      <a:gd name="T146" fmla="*/ 488 w 488"/>
                      <a:gd name="T147" fmla="*/ 470 h 470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488" h="470">
                        <a:moveTo>
                          <a:pt x="18" y="433"/>
                        </a:moveTo>
                        <a:lnTo>
                          <a:pt x="10" y="439"/>
                        </a:lnTo>
                        <a:lnTo>
                          <a:pt x="1" y="443"/>
                        </a:lnTo>
                        <a:lnTo>
                          <a:pt x="1" y="439"/>
                        </a:lnTo>
                        <a:lnTo>
                          <a:pt x="0" y="424"/>
                        </a:lnTo>
                        <a:lnTo>
                          <a:pt x="0" y="417"/>
                        </a:lnTo>
                        <a:lnTo>
                          <a:pt x="3" y="418"/>
                        </a:lnTo>
                        <a:lnTo>
                          <a:pt x="3" y="411"/>
                        </a:lnTo>
                        <a:lnTo>
                          <a:pt x="3" y="398"/>
                        </a:lnTo>
                        <a:lnTo>
                          <a:pt x="4" y="389"/>
                        </a:lnTo>
                        <a:lnTo>
                          <a:pt x="10" y="383"/>
                        </a:lnTo>
                        <a:lnTo>
                          <a:pt x="14" y="367"/>
                        </a:lnTo>
                        <a:lnTo>
                          <a:pt x="17" y="361"/>
                        </a:lnTo>
                        <a:lnTo>
                          <a:pt x="18" y="351"/>
                        </a:lnTo>
                        <a:lnTo>
                          <a:pt x="20" y="345"/>
                        </a:lnTo>
                        <a:lnTo>
                          <a:pt x="22" y="336"/>
                        </a:lnTo>
                        <a:lnTo>
                          <a:pt x="23" y="332"/>
                        </a:lnTo>
                        <a:lnTo>
                          <a:pt x="25" y="325"/>
                        </a:lnTo>
                        <a:lnTo>
                          <a:pt x="30" y="311"/>
                        </a:lnTo>
                        <a:lnTo>
                          <a:pt x="30" y="307"/>
                        </a:lnTo>
                        <a:lnTo>
                          <a:pt x="33" y="304"/>
                        </a:lnTo>
                        <a:lnTo>
                          <a:pt x="33" y="299"/>
                        </a:lnTo>
                        <a:lnTo>
                          <a:pt x="37" y="288"/>
                        </a:lnTo>
                        <a:lnTo>
                          <a:pt x="44" y="284"/>
                        </a:lnTo>
                        <a:lnTo>
                          <a:pt x="48" y="280"/>
                        </a:lnTo>
                        <a:lnTo>
                          <a:pt x="49" y="270"/>
                        </a:lnTo>
                        <a:lnTo>
                          <a:pt x="63" y="263"/>
                        </a:lnTo>
                        <a:lnTo>
                          <a:pt x="73" y="253"/>
                        </a:lnTo>
                        <a:lnTo>
                          <a:pt x="76" y="247"/>
                        </a:lnTo>
                        <a:lnTo>
                          <a:pt x="78" y="241"/>
                        </a:lnTo>
                        <a:lnTo>
                          <a:pt x="81" y="229"/>
                        </a:lnTo>
                        <a:lnTo>
                          <a:pt x="81" y="218"/>
                        </a:lnTo>
                        <a:lnTo>
                          <a:pt x="83" y="212"/>
                        </a:lnTo>
                        <a:lnTo>
                          <a:pt x="81" y="201"/>
                        </a:lnTo>
                        <a:lnTo>
                          <a:pt x="85" y="196"/>
                        </a:lnTo>
                        <a:lnTo>
                          <a:pt x="81" y="183"/>
                        </a:lnTo>
                        <a:lnTo>
                          <a:pt x="73" y="176"/>
                        </a:lnTo>
                        <a:lnTo>
                          <a:pt x="70" y="167"/>
                        </a:lnTo>
                        <a:lnTo>
                          <a:pt x="66" y="163"/>
                        </a:lnTo>
                        <a:lnTo>
                          <a:pt x="63" y="152"/>
                        </a:lnTo>
                        <a:lnTo>
                          <a:pt x="56" y="130"/>
                        </a:lnTo>
                        <a:lnTo>
                          <a:pt x="56" y="126"/>
                        </a:lnTo>
                        <a:lnTo>
                          <a:pt x="59" y="121"/>
                        </a:lnTo>
                        <a:lnTo>
                          <a:pt x="66" y="116"/>
                        </a:lnTo>
                        <a:lnTo>
                          <a:pt x="66" y="104"/>
                        </a:lnTo>
                        <a:lnTo>
                          <a:pt x="63" y="95"/>
                        </a:lnTo>
                        <a:lnTo>
                          <a:pt x="59" y="89"/>
                        </a:lnTo>
                        <a:lnTo>
                          <a:pt x="51" y="62"/>
                        </a:lnTo>
                        <a:lnTo>
                          <a:pt x="49" y="54"/>
                        </a:lnTo>
                        <a:lnTo>
                          <a:pt x="46" y="48"/>
                        </a:lnTo>
                        <a:lnTo>
                          <a:pt x="37" y="36"/>
                        </a:lnTo>
                        <a:lnTo>
                          <a:pt x="33" y="30"/>
                        </a:lnTo>
                        <a:lnTo>
                          <a:pt x="29" y="23"/>
                        </a:lnTo>
                        <a:lnTo>
                          <a:pt x="27" y="20"/>
                        </a:lnTo>
                        <a:lnTo>
                          <a:pt x="28" y="17"/>
                        </a:lnTo>
                        <a:lnTo>
                          <a:pt x="28" y="15"/>
                        </a:lnTo>
                        <a:lnTo>
                          <a:pt x="33" y="13"/>
                        </a:lnTo>
                        <a:lnTo>
                          <a:pt x="45" y="10"/>
                        </a:lnTo>
                        <a:lnTo>
                          <a:pt x="54" y="5"/>
                        </a:lnTo>
                        <a:lnTo>
                          <a:pt x="65" y="2"/>
                        </a:lnTo>
                        <a:lnTo>
                          <a:pt x="70" y="2"/>
                        </a:lnTo>
                        <a:lnTo>
                          <a:pt x="76" y="0"/>
                        </a:lnTo>
                        <a:lnTo>
                          <a:pt x="92" y="2"/>
                        </a:lnTo>
                        <a:lnTo>
                          <a:pt x="108" y="0"/>
                        </a:lnTo>
                        <a:lnTo>
                          <a:pt x="113" y="2"/>
                        </a:lnTo>
                        <a:lnTo>
                          <a:pt x="126" y="2"/>
                        </a:lnTo>
                        <a:lnTo>
                          <a:pt x="135" y="0"/>
                        </a:lnTo>
                        <a:lnTo>
                          <a:pt x="145" y="0"/>
                        </a:lnTo>
                        <a:lnTo>
                          <a:pt x="167" y="0"/>
                        </a:lnTo>
                        <a:lnTo>
                          <a:pt x="179" y="0"/>
                        </a:lnTo>
                        <a:lnTo>
                          <a:pt x="182" y="0"/>
                        </a:lnTo>
                        <a:lnTo>
                          <a:pt x="185" y="7"/>
                        </a:lnTo>
                        <a:lnTo>
                          <a:pt x="187" y="7"/>
                        </a:lnTo>
                        <a:lnTo>
                          <a:pt x="190" y="5"/>
                        </a:lnTo>
                        <a:lnTo>
                          <a:pt x="194" y="12"/>
                        </a:lnTo>
                        <a:lnTo>
                          <a:pt x="197" y="25"/>
                        </a:lnTo>
                        <a:lnTo>
                          <a:pt x="197" y="33"/>
                        </a:lnTo>
                        <a:lnTo>
                          <a:pt x="200" y="37"/>
                        </a:lnTo>
                        <a:lnTo>
                          <a:pt x="204" y="46"/>
                        </a:lnTo>
                        <a:lnTo>
                          <a:pt x="207" y="58"/>
                        </a:lnTo>
                        <a:lnTo>
                          <a:pt x="215" y="66"/>
                        </a:lnTo>
                        <a:lnTo>
                          <a:pt x="230" y="85"/>
                        </a:lnTo>
                        <a:lnTo>
                          <a:pt x="238" y="89"/>
                        </a:lnTo>
                        <a:lnTo>
                          <a:pt x="248" y="89"/>
                        </a:lnTo>
                        <a:lnTo>
                          <a:pt x="263" y="85"/>
                        </a:lnTo>
                        <a:lnTo>
                          <a:pt x="272" y="82"/>
                        </a:lnTo>
                        <a:lnTo>
                          <a:pt x="285" y="84"/>
                        </a:lnTo>
                        <a:lnTo>
                          <a:pt x="298" y="84"/>
                        </a:lnTo>
                        <a:lnTo>
                          <a:pt x="301" y="74"/>
                        </a:lnTo>
                        <a:lnTo>
                          <a:pt x="301" y="68"/>
                        </a:lnTo>
                        <a:lnTo>
                          <a:pt x="303" y="65"/>
                        </a:lnTo>
                        <a:lnTo>
                          <a:pt x="304" y="63"/>
                        </a:lnTo>
                        <a:lnTo>
                          <a:pt x="305" y="59"/>
                        </a:lnTo>
                        <a:lnTo>
                          <a:pt x="305" y="51"/>
                        </a:lnTo>
                        <a:lnTo>
                          <a:pt x="307" y="44"/>
                        </a:lnTo>
                        <a:lnTo>
                          <a:pt x="338" y="44"/>
                        </a:lnTo>
                        <a:lnTo>
                          <a:pt x="338" y="41"/>
                        </a:lnTo>
                        <a:lnTo>
                          <a:pt x="355" y="41"/>
                        </a:lnTo>
                        <a:lnTo>
                          <a:pt x="354" y="56"/>
                        </a:lnTo>
                        <a:lnTo>
                          <a:pt x="389" y="58"/>
                        </a:lnTo>
                        <a:lnTo>
                          <a:pt x="390" y="59"/>
                        </a:lnTo>
                        <a:lnTo>
                          <a:pt x="392" y="65"/>
                        </a:lnTo>
                        <a:lnTo>
                          <a:pt x="394" y="89"/>
                        </a:lnTo>
                        <a:lnTo>
                          <a:pt x="396" y="97"/>
                        </a:lnTo>
                        <a:lnTo>
                          <a:pt x="396" y="107"/>
                        </a:lnTo>
                        <a:lnTo>
                          <a:pt x="397" y="119"/>
                        </a:lnTo>
                        <a:lnTo>
                          <a:pt x="397" y="123"/>
                        </a:lnTo>
                        <a:lnTo>
                          <a:pt x="396" y="132"/>
                        </a:lnTo>
                        <a:lnTo>
                          <a:pt x="394" y="140"/>
                        </a:lnTo>
                        <a:lnTo>
                          <a:pt x="397" y="147"/>
                        </a:lnTo>
                        <a:lnTo>
                          <a:pt x="403" y="157"/>
                        </a:lnTo>
                        <a:lnTo>
                          <a:pt x="407" y="171"/>
                        </a:lnTo>
                        <a:lnTo>
                          <a:pt x="412" y="183"/>
                        </a:lnTo>
                        <a:lnTo>
                          <a:pt x="410" y="188"/>
                        </a:lnTo>
                        <a:lnTo>
                          <a:pt x="408" y="192"/>
                        </a:lnTo>
                        <a:lnTo>
                          <a:pt x="400" y="200"/>
                        </a:lnTo>
                        <a:lnTo>
                          <a:pt x="400" y="202"/>
                        </a:lnTo>
                        <a:lnTo>
                          <a:pt x="402" y="203"/>
                        </a:lnTo>
                        <a:lnTo>
                          <a:pt x="402" y="205"/>
                        </a:lnTo>
                        <a:lnTo>
                          <a:pt x="405" y="205"/>
                        </a:lnTo>
                        <a:lnTo>
                          <a:pt x="408" y="210"/>
                        </a:lnTo>
                        <a:lnTo>
                          <a:pt x="413" y="211"/>
                        </a:lnTo>
                        <a:lnTo>
                          <a:pt x="415" y="210"/>
                        </a:lnTo>
                        <a:lnTo>
                          <a:pt x="417" y="207"/>
                        </a:lnTo>
                        <a:lnTo>
                          <a:pt x="419" y="201"/>
                        </a:lnTo>
                        <a:lnTo>
                          <a:pt x="422" y="200"/>
                        </a:lnTo>
                        <a:lnTo>
                          <a:pt x="457" y="200"/>
                        </a:lnTo>
                        <a:lnTo>
                          <a:pt x="465" y="196"/>
                        </a:lnTo>
                        <a:lnTo>
                          <a:pt x="472" y="198"/>
                        </a:lnTo>
                        <a:lnTo>
                          <a:pt x="473" y="198"/>
                        </a:lnTo>
                        <a:lnTo>
                          <a:pt x="479" y="194"/>
                        </a:lnTo>
                        <a:lnTo>
                          <a:pt x="480" y="194"/>
                        </a:lnTo>
                        <a:lnTo>
                          <a:pt x="483" y="195"/>
                        </a:lnTo>
                        <a:lnTo>
                          <a:pt x="483" y="199"/>
                        </a:lnTo>
                        <a:lnTo>
                          <a:pt x="482" y="199"/>
                        </a:lnTo>
                        <a:lnTo>
                          <a:pt x="482" y="201"/>
                        </a:lnTo>
                        <a:lnTo>
                          <a:pt x="483" y="208"/>
                        </a:lnTo>
                        <a:lnTo>
                          <a:pt x="483" y="211"/>
                        </a:lnTo>
                        <a:lnTo>
                          <a:pt x="482" y="215"/>
                        </a:lnTo>
                        <a:lnTo>
                          <a:pt x="480" y="224"/>
                        </a:lnTo>
                        <a:lnTo>
                          <a:pt x="478" y="233"/>
                        </a:lnTo>
                        <a:lnTo>
                          <a:pt x="479" y="243"/>
                        </a:lnTo>
                        <a:lnTo>
                          <a:pt x="479" y="252"/>
                        </a:lnTo>
                        <a:lnTo>
                          <a:pt x="477" y="258"/>
                        </a:lnTo>
                        <a:lnTo>
                          <a:pt x="477" y="268"/>
                        </a:lnTo>
                        <a:lnTo>
                          <a:pt x="478" y="272"/>
                        </a:lnTo>
                        <a:lnTo>
                          <a:pt x="480" y="273"/>
                        </a:lnTo>
                        <a:lnTo>
                          <a:pt x="488" y="277"/>
                        </a:lnTo>
                        <a:lnTo>
                          <a:pt x="445" y="277"/>
                        </a:lnTo>
                        <a:lnTo>
                          <a:pt x="403" y="277"/>
                        </a:lnTo>
                        <a:lnTo>
                          <a:pt x="403" y="313"/>
                        </a:lnTo>
                        <a:lnTo>
                          <a:pt x="403" y="351"/>
                        </a:lnTo>
                        <a:lnTo>
                          <a:pt x="403" y="388"/>
                        </a:lnTo>
                        <a:lnTo>
                          <a:pt x="403" y="413"/>
                        </a:lnTo>
                        <a:lnTo>
                          <a:pt x="403" y="414"/>
                        </a:lnTo>
                        <a:lnTo>
                          <a:pt x="408" y="418"/>
                        </a:lnTo>
                        <a:lnTo>
                          <a:pt x="410" y="424"/>
                        </a:lnTo>
                        <a:lnTo>
                          <a:pt x="420" y="429"/>
                        </a:lnTo>
                        <a:lnTo>
                          <a:pt x="424" y="434"/>
                        </a:lnTo>
                        <a:lnTo>
                          <a:pt x="431" y="439"/>
                        </a:lnTo>
                        <a:lnTo>
                          <a:pt x="434" y="443"/>
                        </a:lnTo>
                        <a:lnTo>
                          <a:pt x="440" y="446"/>
                        </a:lnTo>
                        <a:lnTo>
                          <a:pt x="442" y="450"/>
                        </a:lnTo>
                        <a:lnTo>
                          <a:pt x="448" y="453"/>
                        </a:lnTo>
                        <a:lnTo>
                          <a:pt x="447" y="455"/>
                        </a:lnTo>
                        <a:lnTo>
                          <a:pt x="439" y="456"/>
                        </a:lnTo>
                        <a:lnTo>
                          <a:pt x="387" y="470"/>
                        </a:lnTo>
                        <a:lnTo>
                          <a:pt x="381" y="470"/>
                        </a:lnTo>
                        <a:lnTo>
                          <a:pt x="377" y="468"/>
                        </a:lnTo>
                        <a:lnTo>
                          <a:pt x="369" y="468"/>
                        </a:lnTo>
                        <a:lnTo>
                          <a:pt x="360" y="465"/>
                        </a:lnTo>
                        <a:lnTo>
                          <a:pt x="349" y="465"/>
                        </a:lnTo>
                        <a:lnTo>
                          <a:pt x="326" y="460"/>
                        </a:lnTo>
                        <a:lnTo>
                          <a:pt x="306" y="460"/>
                        </a:lnTo>
                        <a:lnTo>
                          <a:pt x="293" y="461"/>
                        </a:lnTo>
                        <a:lnTo>
                          <a:pt x="286" y="461"/>
                        </a:lnTo>
                        <a:lnTo>
                          <a:pt x="274" y="456"/>
                        </a:lnTo>
                        <a:lnTo>
                          <a:pt x="269" y="451"/>
                        </a:lnTo>
                        <a:lnTo>
                          <a:pt x="259" y="443"/>
                        </a:lnTo>
                        <a:lnTo>
                          <a:pt x="245" y="443"/>
                        </a:lnTo>
                        <a:lnTo>
                          <a:pt x="212" y="443"/>
                        </a:lnTo>
                        <a:lnTo>
                          <a:pt x="178" y="443"/>
                        </a:lnTo>
                        <a:lnTo>
                          <a:pt x="141" y="443"/>
                        </a:lnTo>
                        <a:lnTo>
                          <a:pt x="106" y="443"/>
                        </a:lnTo>
                        <a:lnTo>
                          <a:pt x="93" y="443"/>
                        </a:lnTo>
                        <a:lnTo>
                          <a:pt x="87" y="444"/>
                        </a:lnTo>
                        <a:lnTo>
                          <a:pt x="78" y="436"/>
                        </a:lnTo>
                        <a:lnTo>
                          <a:pt x="70" y="433"/>
                        </a:lnTo>
                        <a:lnTo>
                          <a:pt x="66" y="427"/>
                        </a:lnTo>
                        <a:lnTo>
                          <a:pt x="59" y="425"/>
                        </a:lnTo>
                        <a:lnTo>
                          <a:pt x="43" y="425"/>
                        </a:lnTo>
                        <a:lnTo>
                          <a:pt x="36" y="428"/>
                        </a:lnTo>
                        <a:lnTo>
                          <a:pt x="28" y="434"/>
                        </a:lnTo>
                        <a:lnTo>
                          <a:pt x="25" y="437"/>
                        </a:lnTo>
                        <a:lnTo>
                          <a:pt x="18" y="43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0" name="Freeform 128"/>
                  <p:cNvSpPr>
                    <a:spLocks/>
                  </p:cNvSpPr>
                  <p:nvPr/>
                </p:nvSpPr>
                <p:spPr bwMode="auto">
                  <a:xfrm>
                    <a:off x="2100" y="3243"/>
                    <a:ext cx="391" cy="365"/>
                  </a:xfrm>
                  <a:custGeom>
                    <a:avLst/>
                    <a:gdLst>
                      <a:gd name="T0" fmla="*/ 33283 w 365"/>
                      <a:gd name="T1" fmla="*/ 3796 h 348"/>
                      <a:gd name="T2" fmla="*/ 34135 w 365"/>
                      <a:gd name="T3" fmla="*/ 3981 h 348"/>
                      <a:gd name="T4" fmla="*/ 32390 w 365"/>
                      <a:gd name="T5" fmla="*/ 4214 h 348"/>
                      <a:gd name="T6" fmla="*/ 28991 w 365"/>
                      <a:gd name="T7" fmla="*/ 4680 h 348"/>
                      <a:gd name="T8" fmla="*/ 26333 w 365"/>
                      <a:gd name="T9" fmla="*/ 5187 h 348"/>
                      <a:gd name="T10" fmla="*/ 24354 w 365"/>
                      <a:gd name="T11" fmla="*/ 5811 h 348"/>
                      <a:gd name="T12" fmla="*/ 21706 w 365"/>
                      <a:gd name="T13" fmla="*/ 6386 h 348"/>
                      <a:gd name="T14" fmla="*/ 20377 w 365"/>
                      <a:gd name="T15" fmla="*/ 6947 h 348"/>
                      <a:gd name="T16" fmla="*/ 19193 w 365"/>
                      <a:gd name="T17" fmla="*/ 7033 h 348"/>
                      <a:gd name="T18" fmla="*/ 16484 w 365"/>
                      <a:gd name="T19" fmla="*/ 7120 h 348"/>
                      <a:gd name="T20" fmla="*/ 14166 w 365"/>
                      <a:gd name="T21" fmla="*/ 6819 h 348"/>
                      <a:gd name="T22" fmla="*/ 12345 w 365"/>
                      <a:gd name="T23" fmla="*/ 6848 h 348"/>
                      <a:gd name="T24" fmla="*/ 10758 w 365"/>
                      <a:gd name="T25" fmla="*/ 7284 h 348"/>
                      <a:gd name="T26" fmla="*/ 9928 w 365"/>
                      <a:gd name="T27" fmla="*/ 7534 h 348"/>
                      <a:gd name="T28" fmla="*/ 8756 w 365"/>
                      <a:gd name="T29" fmla="*/ 7763 h 348"/>
                      <a:gd name="T30" fmla="*/ 5794 w 365"/>
                      <a:gd name="T31" fmla="*/ 8142 h 348"/>
                      <a:gd name="T32" fmla="*/ 3712 w 365"/>
                      <a:gd name="T33" fmla="*/ 8106 h 348"/>
                      <a:gd name="T34" fmla="*/ 2632 w 365"/>
                      <a:gd name="T35" fmla="*/ 7868 h 348"/>
                      <a:gd name="T36" fmla="*/ 3465 w 365"/>
                      <a:gd name="T37" fmla="*/ 7401 h 348"/>
                      <a:gd name="T38" fmla="*/ 3235 w 365"/>
                      <a:gd name="T39" fmla="*/ 7070 h 348"/>
                      <a:gd name="T40" fmla="*/ 2064 w 365"/>
                      <a:gd name="T41" fmla="*/ 6727 h 348"/>
                      <a:gd name="T42" fmla="*/ 788 w 365"/>
                      <a:gd name="T43" fmla="*/ 6414 h 348"/>
                      <a:gd name="T44" fmla="*/ 3 w 365"/>
                      <a:gd name="T45" fmla="*/ 6232 h 348"/>
                      <a:gd name="T46" fmla="*/ 0 w 365"/>
                      <a:gd name="T47" fmla="*/ 5473 h 348"/>
                      <a:gd name="T48" fmla="*/ 0 w 365"/>
                      <a:gd name="T49" fmla="*/ 3796 h 348"/>
                      <a:gd name="T50" fmla="*/ 3712 w 365"/>
                      <a:gd name="T51" fmla="*/ 3180 h 348"/>
                      <a:gd name="T52" fmla="*/ 3712 w 365"/>
                      <a:gd name="T53" fmla="*/ 1465 h 348"/>
                      <a:gd name="T54" fmla="*/ 3976 w 365"/>
                      <a:gd name="T55" fmla="*/ 522 h 348"/>
                      <a:gd name="T56" fmla="*/ 10347 w 365"/>
                      <a:gd name="T57" fmla="*/ 282 h 348"/>
                      <a:gd name="T58" fmla="*/ 11969 w 365"/>
                      <a:gd name="T59" fmla="*/ 296 h 348"/>
                      <a:gd name="T60" fmla="*/ 13042 w 365"/>
                      <a:gd name="T61" fmla="*/ 475 h 348"/>
                      <a:gd name="T62" fmla="*/ 13735 w 365"/>
                      <a:gd name="T63" fmla="*/ 603 h 348"/>
                      <a:gd name="T64" fmla="*/ 15388 w 365"/>
                      <a:gd name="T65" fmla="*/ 296 h 348"/>
                      <a:gd name="T66" fmla="*/ 17414 w 365"/>
                      <a:gd name="T67" fmla="*/ 4 h 348"/>
                      <a:gd name="T68" fmla="*/ 18667 w 365"/>
                      <a:gd name="T69" fmla="*/ 0 h 348"/>
                      <a:gd name="T70" fmla="*/ 19193 w 365"/>
                      <a:gd name="T71" fmla="*/ 7 h 348"/>
                      <a:gd name="T72" fmla="*/ 20263 w 365"/>
                      <a:gd name="T73" fmla="*/ 575 h 348"/>
                      <a:gd name="T74" fmla="*/ 21087 w 365"/>
                      <a:gd name="T75" fmla="*/ 921 h 348"/>
                      <a:gd name="T76" fmla="*/ 22233 w 365"/>
                      <a:gd name="T77" fmla="*/ 1420 h 348"/>
                      <a:gd name="T78" fmla="*/ 25275 w 365"/>
                      <a:gd name="T79" fmla="*/ 1982 h 348"/>
                      <a:gd name="T80" fmla="*/ 26834 w 365"/>
                      <a:gd name="T81" fmla="*/ 2362 h 348"/>
                      <a:gd name="T82" fmla="*/ 28518 w 365"/>
                      <a:gd name="T83" fmla="*/ 2517 h 348"/>
                      <a:gd name="T84" fmla="*/ 28745 w 365"/>
                      <a:gd name="T85" fmla="*/ 3180 h 348"/>
                      <a:gd name="T86" fmla="*/ 29593 w 365"/>
                      <a:gd name="T87" fmla="*/ 3488 h 348"/>
                      <a:gd name="T88" fmla="*/ 31057 w 365"/>
                      <a:gd name="T89" fmla="*/ 3628 h 348"/>
                      <a:gd name="T90" fmla="*/ 32819 w 365"/>
                      <a:gd name="T91" fmla="*/ 3715 h 348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365"/>
                      <a:gd name="T139" fmla="*/ 0 h 348"/>
                      <a:gd name="T140" fmla="*/ 365 w 365"/>
                      <a:gd name="T141" fmla="*/ 348 h 348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365" h="348">
                        <a:moveTo>
                          <a:pt x="350" y="160"/>
                        </a:moveTo>
                        <a:lnTo>
                          <a:pt x="356" y="162"/>
                        </a:lnTo>
                        <a:lnTo>
                          <a:pt x="365" y="168"/>
                        </a:lnTo>
                        <a:lnTo>
                          <a:pt x="363" y="170"/>
                        </a:lnTo>
                        <a:lnTo>
                          <a:pt x="355" y="173"/>
                        </a:lnTo>
                        <a:lnTo>
                          <a:pt x="346" y="180"/>
                        </a:lnTo>
                        <a:lnTo>
                          <a:pt x="319" y="191"/>
                        </a:lnTo>
                        <a:lnTo>
                          <a:pt x="308" y="202"/>
                        </a:lnTo>
                        <a:lnTo>
                          <a:pt x="294" y="210"/>
                        </a:lnTo>
                        <a:lnTo>
                          <a:pt x="281" y="223"/>
                        </a:lnTo>
                        <a:lnTo>
                          <a:pt x="272" y="232"/>
                        </a:lnTo>
                        <a:lnTo>
                          <a:pt x="260" y="249"/>
                        </a:lnTo>
                        <a:lnTo>
                          <a:pt x="241" y="262"/>
                        </a:lnTo>
                        <a:lnTo>
                          <a:pt x="231" y="273"/>
                        </a:lnTo>
                        <a:lnTo>
                          <a:pt x="221" y="295"/>
                        </a:lnTo>
                        <a:lnTo>
                          <a:pt x="217" y="299"/>
                        </a:lnTo>
                        <a:lnTo>
                          <a:pt x="211" y="301"/>
                        </a:lnTo>
                        <a:lnTo>
                          <a:pt x="204" y="301"/>
                        </a:lnTo>
                        <a:lnTo>
                          <a:pt x="186" y="306"/>
                        </a:lnTo>
                        <a:lnTo>
                          <a:pt x="176" y="305"/>
                        </a:lnTo>
                        <a:lnTo>
                          <a:pt x="159" y="296"/>
                        </a:lnTo>
                        <a:lnTo>
                          <a:pt x="151" y="293"/>
                        </a:lnTo>
                        <a:lnTo>
                          <a:pt x="142" y="292"/>
                        </a:lnTo>
                        <a:lnTo>
                          <a:pt x="132" y="295"/>
                        </a:lnTo>
                        <a:lnTo>
                          <a:pt x="120" y="306"/>
                        </a:lnTo>
                        <a:lnTo>
                          <a:pt x="115" y="313"/>
                        </a:lnTo>
                        <a:lnTo>
                          <a:pt x="113" y="317"/>
                        </a:lnTo>
                        <a:lnTo>
                          <a:pt x="106" y="324"/>
                        </a:lnTo>
                        <a:lnTo>
                          <a:pt x="98" y="329"/>
                        </a:lnTo>
                        <a:lnTo>
                          <a:pt x="94" y="332"/>
                        </a:lnTo>
                        <a:lnTo>
                          <a:pt x="88" y="343"/>
                        </a:lnTo>
                        <a:lnTo>
                          <a:pt x="63" y="348"/>
                        </a:lnTo>
                        <a:lnTo>
                          <a:pt x="50" y="348"/>
                        </a:lnTo>
                        <a:lnTo>
                          <a:pt x="40" y="346"/>
                        </a:lnTo>
                        <a:lnTo>
                          <a:pt x="33" y="344"/>
                        </a:lnTo>
                        <a:lnTo>
                          <a:pt x="29" y="339"/>
                        </a:lnTo>
                        <a:lnTo>
                          <a:pt x="35" y="326"/>
                        </a:lnTo>
                        <a:lnTo>
                          <a:pt x="37" y="317"/>
                        </a:lnTo>
                        <a:lnTo>
                          <a:pt x="37" y="314"/>
                        </a:lnTo>
                        <a:lnTo>
                          <a:pt x="35" y="303"/>
                        </a:lnTo>
                        <a:lnTo>
                          <a:pt x="30" y="295"/>
                        </a:lnTo>
                        <a:lnTo>
                          <a:pt x="22" y="288"/>
                        </a:lnTo>
                        <a:lnTo>
                          <a:pt x="18" y="282"/>
                        </a:lnTo>
                        <a:lnTo>
                          <a:pt x="8" y="275"/>
                        </a:lnTo>
                        <a:lnTo>
                          <a:pt x="8" y="273"/>
                        </a:lnTo>
                        <a:lnTo>
                          <a:pt x="3" y="269"/>
                        </a:lnTo>
                        <a:lnTo>
                          <a:pt x="0" y="269"/>
                        </a:lnTo>
                        <a:lnTo>
                          <a:pt x="0" y="235"/>
                        </a:lnTo>
                        <a:lnTo>
                          <a:pt x="0" y="197"/>
                        </a:lnTo>
                        <a:lnTo>
                          <a:pt x="0" y="162"/>
                        </a:lnTo>
                        <a:lnTo>
                          <a:pt x="40" y="162"/>
                        </a:lnTo>
                        <a:lnTo>
                          <a:pt x="40" y="137"/>
                        </a:lnTo>
                        <a:lnTo>
                          <a:pt x="40" y="99"/>
                        </a:lnTo>
                        <a:lnTo>
                          <a:pt x="40" y="63"/>
                        </a:lnTo>
                        <a:lnTo>
                          <a:pt x="40" y="27"/>
                        </a:lnTo>
                        <a:lnTo>
                          <a:pt x="43" y="24"/>
                        </a:lnTo>
                        <a:lnTo>
                          <a:pt x="99" y="14"/>
                        </a:lnTo>
                        <a:lnTo>
                          <a:pt x="110" y="11"/>
                        </a:lnTo>
                        <a:lnTo>
                          <a:pt x="115" y="11"/>
                        </a:lnTo>
                        <a:lnTo>
                          <a:pt x="128" y="12"/>
                        </a:lnTo>
                        <a:lnTo>
                          <a:pt x="135" y="15"/>
                        </a:lnTo>
                        <a:lnTo>
                          <a:pt x="139" y="22"/>
                        </a:lnTo>
                        <a:lnTo>
                          <a:pt x="142" y="33"/>
                        </a:lnTo>
                        <a:lnTo>
                          <a:pt x="147" y="27"/>
                        </a:lnTo>
                        <a:lnTo>
                          <a:pt x="152" y="20"/>
                        </a:lnTo>
                        <a:lnTo>
                          <a:pt x="164" y="12"/>
                        </a:lnTo>
                        <a:lnTo>
                          <a:pt x="183" y="8"/>
                        </a:lnTo>
                        <a:lnTo>
                          <a:pt x="186" y="4"/>
                        </a:lnTo>
                        <a:lnTo>
                          <a:pt x="191" y="0"/>
                        </a:lnTo>
                        <a:lnTo>
                          <a:pt x="200" y="0"/>
                        </a:lnTo>
                        <a:lnTo>
                          <a:pt x="204" y="1"/>
                        </a:lnTo>
                        <a:lnTo>
                          <a:pt x="204" y="7"/>
                        </a:lnTo>
                        <a:lnTo>
                          <a:pt x="206" y="11"/>
                        </a:lnTo>
                        <a:lnTo>
                          <a:pt x="216" y="26"/>
                        </a:lnTo>
                        <a:lnTo>
                          <a:pt x="222" y="32"/>
                        </a:lnTo>
                        <a:lnTo>
                          <a:pt x="224" y="40"/>
                        </a:lnTo>
                        <a:lnTo>
                          <a:pt x="228" y="50"/>
                        </a:lnTo>
                        <a:lnTo>
                          <a:pt x="238" y="62"/>
                        </a:lnTo>
                        <a:lnTo>
                          <a:pt x="259" y="82"/>
                        </a:lnTo>
                        <a:lnTo>
                          <a:pt x="270" y="86"/>
                        </a:lnTo>
                        <a:lnTo>
                          <a:pt x="280" y="91"/>
                        </a:lnTo>
                        <a:lnTo>
                          <a:pt x="286" y="101"/>
                        </a:lnTo>
                        <a:lnTo>
                          <a:pt x="296" y="104"/>
                        </a:lnTo>
                        <a:lnTo>
                          <a:pt x="303" y="109"/>
                        </a:lnTo>
                        <a:lnTo>
                          <a:pt x="303" y="124"/>
                        </a:lnTo>
                        <a:lnTo>
                          <a:pt x="306" y="137"/>
                        </a:lnTo>
                        <a:lnTo>
                          <a:pt x="310" y="145"/>
                        </a:lnTo>
                        <a:lnTo>
                          <a:pt x="315" y="150"/>
                        </a:lnTo>
                        <a:lnTo>
                          <a:pt x="322" y="154"/>
                        </a:lnTo>
                        <a:lnTo>
                          <a:pt x="331" y="155"/>
                        </a:lnTo>
                        <a:lnTo>
                          <a:pt x="340" y="155"/>
                        </a:lnTo>
                        <a:lnTo>
                          <a:pt x="350" y="160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1" name="Freeform 129"/>
                  <p:cNvSpPr>
                    <a:spLocks/>
                  </p:cNvSpPr>
                  <p:nvPr/>
                </p:nvSpPr>
                <p:spPr bwMode="auto">
                  <a:xfrm>
                    <a:off x="2100" y="3243"/>
                    <a:ext cx="391" cy="365"/>
                  </a:xfrm>
                  <a:custGeom>
                    <a:avLst/>
                    <a:gdLst>
                      <a:gd name="T0" fmla="*/ 33283 w 365"/>
                      <a:gd name="T1" fmla="*/ 3796 h 348"/>
                      <a:gd name="T2" fmla="*/ 34135 w 365"/>
                      <a:gd name="T3" fmla="*/ 3981 h 348"/>
                      <a:gd name="T4" fmla="*/ 32390 w 365"/>
                      <a:gd name="T5" fmla="*/ 4214 h 348"/>
                      <a:gd name="T6" fmla="*/ 28991 w 365"/>
                      <a:gd name="T7" fmla="*/ 4680 h 348"/>
                      <a:gd name="T8" fmla="*/ 26333 w 365"/>
                      <a:gd name="T9" fmla="*/ 5187 h 348"/>
                      <a:gd name="T10" fmla="*/ 24354 w 365"/>
                      <a:gd name="T11" fmla="*/ 5811 h 348"/>
                      <a:gd name="T12" fmla="*/ 21706 w 365"/>
                      <a:gd name="T13" fmla="*/ 6386 h 348"/>
                      <a:gd name="T14" fmla="*/ 20377 w 365"/>
                      <a:gd name="T15" fmla="*/ 6947 h 348"/>
                      <a:gd name="T16" fmla="*/ 19193 w 365"/>
                      <a:gd name="T17" fmla="*/ 7033 h 348"/>
                      <a:gd name="T18" fmla="*/ 16484 w 365"/>
                      <a:gd name="T19" fmla="*/ 7120 h 348"/>
                      <a:gd name="T20" fmla="*/ 14166 w 365"/>
                      <a:gd name="T21" fmla="*/ 6819 h 348"/>
                      <a:gd name="T22" fmla="*/ 12345 w 365"/>
                      <a:gd name="T23" fmla="*/ 6848 h 348"/>
                      <a:gd name="T24" fmla="*/ 10758 w 365"/>
                      <a:gd name="T25" fmla="*/ 7284 h 348"/>
                      <a:gd name="T26" fmla="*/ 9928 w 365"/>
                      <a:gd name="T27" fmla="*/ 7534 h 348"/>
                      <a:gd name="T28" fmla="*/ 8756 w 365"/>
                      <a:gd name="T29" fmla="*/ 7763 h 348"/>
                      <a:gd name="T30" fmla="*/ 5794 w 365"/>
                      <a:gd name="T31" fmla="*/ 8142 h 348"/>
                      <a:gd name="T32" fmla="*/ 3712 w 365"/>
                      <a:gd name="T33" fmla="*/ 8106 h 348"/>
                      <a:gd name="T34" fmla="*/ 2632 w 365"/>
                      <a:gd name="T35" fmla="*/ 7868 h 348"/>
                      <a:gd name="T36" fmla="*/ 3465 w 365"/>
                      <a:gd name="T37" fmla="*/ 7401 h 348"/>
                      <a:gd name="T38" fmla="*/ 3235 w 365"/>
                      <a:gd name="T39" fmla="*/ 7070 h 348"/>
                      <a:gd name="T40" fmla="*/ 2064 w 365"/>
                      <a:gd name="T41" fmla="*/ 6727 h 348"/>
                      <a:gd name="T42" fmla="*/ 788 w 365"/>
                      <a:gd name="T43" fmla="*/ 6414 h 348"/>
                      <a:gd name="T44" fmla="*/ 3 w 365"/>
                      <a:gd name="T45" fmla="*/ 6232 h 348"/>
                      <a:gd name="T46" fmla="*/ 0 w 365"/>
                      <a:gd name="T47" fmla="*/ 5473 h 348"/>
                      <a:gd name="T48" fmla="*/ 0 w 365"/>
                      <a:gd name="T49" fmla="*/ 3796 h 348"/>
                      <a:gd name="T50" fmla="*/ 3712 w 365"/>
                      <a:gd name="T51" fmla="*/ 3180 h 348"/>
                      <a:gd name="T52" fmla="*/ 3712 w 365"/>
                      <a:gd name="T53" fmla="*/ 1465 h 348"/>
                      <a:gd name="T54" fmla="*/ 3976 w 365"/>
                      <a:gd name="T55" fmla="*/ 522 h 348"/>
                      <a:gd name="T56" fmla="*/ 10347 w 365"/>
                      <a:gd name="T57" fmla="*/ 282 h 348"/>
                      <a:gd name="T58" fmla="*/ 11969 w 365"/>
                      <a:gd name="T59" fmla="*/ 296 h 348"/>
                      <a:gd name="T60" fmla="*/ 13042 w 365"/>
                      <a:gd name="T61" fmla="*/ 475 h 348"/>
                      <a:gd name="T62" fmla="*/ 13735 w 365"/>
                      <a:gd name="T63" fmla="*/ 603 h 348"/>
                      <a:gd name="T64" fmla="*/ 15388 w 365"/>
                      <a:gd name="T65" fmla="*/ 296 h 348"/>
                      <a:gd name="T66" fmla="*/ 17414 w 365"/>
                      <a:gd name="T67" fmla="*/ 4 h 348"/>
                      <a:gd name="T68" fmla="*/ 18667 w 365"/>
                      <a:gd name="T69" fmla="*/ 0 h 348"/>
                      <a:gd name="T70" fmla="*/ 19193 w 365"/>
                      <a:gd name="T71" fmla="*/ 7 h 348"/>
                      <a:gd name="T72" fmla="*/ 20263 w 365"/>
                      <a:gd name="T73" fmla="*/ 575 h 348"/>
                      <a:gd name="T74" fmla="*/ 21087 w 365"/>
                      <a:gd name="T75" fmla="*/ 921 h 348"/>
                      <a:gd name="T76" fmla="*/ 22233 w 365"/>
                      <a:gd name="T77" fmla="*/ 1420 h 348"/>
                      <a:gd name="T78" fmla="*/ 25275 w 365"/>
                      <a:gd name="T79" fmla="*/ 1982 h 348"/>
                      <a:gd name="T80" fmla="*/ 26834 w 365"/>
                      <a:gd name="T81" fmla="*/ 2362 h 348"/>
                      <a:gd name="T82" fmla="*/ 28518 w 365"/>
                      <a:gd name="T83" fmla="*/ 2517 h 348"/>
                      <a:gd name="T84" fmla="*/ 28745 w 365"/>
                      <a:gd name="T85" fmla="*/ 3180 h 348"/>
                      <a:gd name="T86" fmla="*/ 29593 w 365"/>
                      <a:gd name="T87" fmla="*/ 3488 h 348"/>
                      <a:gd name="T88" fmla="*/ 31057 w 365"/>
                      <a:gd name="T89" fmla="*/ 3628 h 348"/>
                      <a:gd name="T90" fmla="*/ 32819 w 365"/>
                      <a:gd name="T91" fmla="*/ 3715 h 348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365"/>
                      <a:gd name="T139" fmla="*/ 0 h 348"/>
                      <a:gd name="T140" fmla="*/ 365 w 365"/>
                      <a:gd name="T141" fmla="*/ 348 h 348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365" h="348">
                        <a:moveTo>
                          <a:pt x="350" y="160"/>
                        </a:moveTo>
                        <a:lnTo>
                          <a:pt x="356" y="162"/>
                        </a:lnTo>
                        <a:lnTo>
                          <a:pt x="365" y="168"/>
                        </a:lnTo>
                        <a:lnTo>
                          <a:pt x="363" y="170"/>
                        </a:lnTo>
                        <a:lnTo>
                          <a:pt x="355" y="173"/>
                        </a:lnTo>
                        <a:lnTo>
                          <a:pt x="346" y="180"/>
                        </a:lnTo>
                        <a:lnTo>
                          <a:pt x="319" y="191"/>
                        </a:lnTo>
                        <a:lnTo>
                          <a:pt x="308" y="202"/>
                        </a:lnTo>
                        <a:lnTo>
                          <a:pt x="294" y="210"/>
                        </a:lnTo>
                        <a:lnTo>
                          <a:pt x="281" y="223"/>
                        </a:lnTo>
                        <a:lnTo>
                          <a:pt x="272" y="232"/>
                        </a:lnTo>
                        <a:lnTo>
                          <a:pt x="260" y="249"/>
                        </a:lnTo>
                        <a:lnTo>
                          <a:pt x="241" y="262"/>
                        </a:lnTo>
                        <a:lnTo>
                          <a:pt x="231" y="273"/>
                        </a:lnTo>
                        <a:lnTo>
                          <a:pt x="221" y="295"/>
                        </a:lnTo>
                        <a:lnTo>
                          <a:pt x="217" y="299"/>
                        </a:lnTo>
                        <a:lnTo>
                          <a:pt x="211" y="301"/>
                        </a:lnTo>
                        <a:lnTo>
                          <a:pt x="204" y="301"/>
                        </a:lnTo>
                        <a:lnTo>
                          <a:pt x="186" y="306"/>
                        </a:lnTo>
                        <a:lnTo>
                          <a:pt x="176" y="305"/>
                        </a:lnTo>
                        <a:lnTo>
                          <a:pt x="159" y="296"/>
                        </a:lnTo>
                        <a:lnTo>
                          <a:pt x="151" y="293"/>
                        </a:lnTo>
                        <a:lnTo>
                          <a:pt x="142" y="292"/>
                        </a:lnTo>
                        <a:lnTo>
                          <a:pt x="132" y="295"/>
                        </a:lnTo>
                        <a:lnTo>
                          <a:pt x="120" y="306"/>
                        </a:lnTo>
                        <a:lnTo>
                          <a:pt x="115" y="313"/>
                        </a:lnTo>
                        <a:lnTo>
                          <a:pt x="113" y="317"/>
                        </a:lnTo>
                        <a:lnTo>
                          <a:pt x="106" y="324"/>
                        </a:lnTo>
                        <a:lnTo>
                          <a:pt x="98" y="329"/>
                        </a:lnTo>
                        <a:lnTo>
                          <a:pt x="94" y="332"/>
                        </a:lnTo>
                        <a:lnTo>
                          <a:pt x="88" y="343"/>
                        </a:lnTo>
                        <a:lnTo>
                          <a:pt x="63" y="348"/>
                        </a:lnTo>
                        <a:lnTo>
                          <a:pt x="50" y="348"/>
                        </a:lnTo>
                        <a:lnTo>
                          <a:pt x="40" y="346"/>
                        </a:lnTo>
                        <a:lnTo>
                          <a:pt x="33" y="344"/>
                        </a:lnTo>
                        <a:lnTo>
                          <a:pt x="29" y="339"/>
                        </a:lnTo>
                        <a:lnTo>
                          <a:pt x="35" y="326"/>
                        </a:lnTo>
                        <a:lnTo>
                          <a:pt x="37" y="317"/>
                        </a:lnTo>
                        <a:lnTo>
                          <a:pt x="37" y="314"/>
                        </a:lnTo>
                        <a:lnTo>
                          <a:pt x="35" y="303"/>
                        </a:lnTo>
                        <a:lnTo>
                          <a:pt x="30" y="295"/>
                        </a:lnTo>
                        <a:lnTo>
                          <a:pt x="22" y="288"/>
                        </a:lnTo>
                        <a:lnTo>
                          <a:pt x="18" y="282"/>
                        </a:lnTo>
                        <a:lnTo>
                          <a:pt x="8" y="275"/>
                        </a:lnTo>
                        <a:lnTo>
                          <a:pt x="8" y="273"/>
                        </a:lnTo>
                        <a:lnTo>
                          <a:pt x="3" y="269"/>
                        </a:lnTo>
                        <a:lnTo>
                          <a:pt x="0" y="269"/>
                        </a:lnTo>
                        <a:lnTo>
                          <a:pt x="0" y="235"/>
                        </a:lnTo>
                        <a:lnTo>
                          <a:pt x="0" y="197"/>
                        </a:lnTo>
                        <a:lnTo>
                          <a:pt x="0" y="162"/>
                        </a:lnTo>
                        <a:lnTo>
                          <a:pt x="40" y="162"/>
                        </a:lnTo>
                        <a:lnTo>
                          <a:pt x="40" y="137"/>
                        </a:lnTo>
                        <a:lnTo>
                          <a:pt x="40" y="99"/>
                        </a:lnTo>
                        <a:lnTo>
                          <a:pt x="40" y="63"/>
                        </a:lnTo>
                        <a:lnTo>
                          <a:pt x="40" y="27"/>
                        </a:lnTo>
                        <a:lnTo>
                          <a:pt x="43" y="24"/>
                        </a:lnTo>
                        <a:lnTo>
                          <a:pt x="99" y="14"/>
                        </a:lnTo>
                        <a:lnTo>
                          <a:pt x="110" y="11"/>
                        </a:lnTo>
                        <a:lnTo>
                          <a:pt x="115" y="11"/>
                        </a:lnTo>
                        <a:lnTo>
                          <a:pt x="128" y="12"/>
                        </a:lnTo>
                        <a:lnTo>
                          <a:pt x="135" y="15"/>
                        </a:lnTo>
                        <a:lnTo>
                          <a:pt x="139" y="22"/>
                        </a:lnTo>
                        <a:lnTo>
                          <a:pt x="142" y="33"/>
                        </a:lnTo>
                        <a:lnTo>
                          <a:pt x="147" y="27"/>
                        </a:lnTo>
                        <a:lnTo>
                          <a:pt x="152" y="20"/>
                        </a:lnTo>
                        <a:lnTo>
                          <a:pt x="164" y="12"/>
                        </a:lnTo>
                        <a:lnTo>
                          <a:pt x="183" y="8"/>
                        </a:lnTo>
                        <a:lnTo>
                          <a:pt x="186" y="4"/>
                        </a:lnTo>
                        <a:lnTo>
                          <a:pt x="191" y="0"/>
                        </a:lnTo>
                        <a:lnTo>
                          <a:pt x="200" y="0"/>
                        </a:lnTo>
                        <a:lnTo>
                          <a:pt x="204" y="1"/>
                        </a:lnTo>
                        <a:lnTo>
                          <a:pt x="204" y="7"/>
                        </a:lnTo>
                        <a:lnTo>
                          <a:pt x="206" y="11"/>
                        </a:lnTo>
                        <a:lnTo>
                          <a:pt x="216" y="26"/>
                        </a:lnTo>
                        <a:lnTo>
                          <a:pt x="222" y="32"/>
                        </a:lnTo>
                        <a:lnTo>
                          <a:pt x="224" y="40"/>
                        </a:lnTo>
                        <a:lnTo>
                          <a:pt x="228" y="50"/>
                        </a:lnTo>
                        <a:lnTo>
                          <a:pt x="238" y="62"/>
                        </a:lnTo>
                        <a:lnTo>
                          <a:pt x="259" y="82"/>
                        </a:lnTo>
                        <a:lnTo>
                          <a:pt x="270" y="86"/>
                        </a:lnTo>
                        <a:lnTo>
                          <a:pt x="280" y="91"/>
                        </a:lnTo>
                        <a:lnTo>
                          <a:pt x="286" y="101"/>
                        </a:lnTo>
                        <a:lnTo>
                          <a:pt x="296" y="104"/>
                        </a:lnTo>
                        <a:lnTo>
                          <a:pt x="303" y="109"/>
                        </a:lnTo>
                        <a:lnTo>
                          <a:pt x="303" y="124"/>
                        </a:lnTo>
                        <a:lnTo>
                          <a:pt x="306" y="137"/>
                        </a:lnTo>
                        <a:lnTo>
                          <a:pt x="310" y="145"/>
                        </a:lnTo>
                        <a:lnTo>
                          <a:pt x="315" y="150"/>
                        </a:lnTo>
                        <a:lnTo>
                          <a:pt x="322" y="154"/>
                        </a:lnTo>
                        <a:lnTo>
                          <a:pt x="331" y="155"/>
                        </a:lnTo>
                        <a:lnTo>
                          <a:pt x="340" y="155"/>
                        </a:lnTo>
                        <a:lnTo>
                          <a:pt x="350" y="16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2" name="Freeform 130"/>
                  <p:cNvSpPr>
                    <a:spLocks/>
                  </p:cNvSpPr>
                  <p:nvPr/>
                </p:nvSpPr>
                <p:spPr bwMode="auto">
                  <a:xfrm>
                    <a:off x="1758" y="3208"/>
                    <a:ext cx="557" cy="490"/>
                  </a:xfrm>
                  <a:custGeom>
                    <a:avLst/>
                    <a:gdLst>
                      <a:gd name="T0" fmla="*/ 15414 w 521"/>
                      <a:gd name="T1" fmla="*/ 10818 h 467"/>
                      <a:gd name="T2" fmla="*/ 14292 w 521"/>
                      <a:gd name="T3" fmla="*/ 10579 h 467"/>
                      <a:gd name="T4" fmla="*/ 12504 w 521"/>
                      <a:gd name="T5" fmla="*/ 10060 h 467"/>
                      <a:gd name="T6" fmla="*/ 11015 w 521"/>
                      <a:gd name="T7" fmla="*/ 9163 h 467"/>
                      <a:gd name="T8" fmla="*/ 10455 w 521"/>
                      <a:gd name="T9" fmla="*/ 8709 h 467"/>
                      <a:gd name="T10" fmla="*/ 10135 w 521"/>
                      <a:gd name="T11" fmla="*/ 8124 h 467"/>
                      <a:gd name="T12" fmla="*/ 9946 w 521"/>
                      <a:gd name="T13" fmla="*/ 7492 h 467"/>
                      <a:gd name="T14" fmla="*/ 9032 w 521"/>
                      <a:gd name="T15" fmla="*/ 6863 h 467"/>
                      <a:gd name="T16" fmla="*/ 8712 w 521"/>
                      <a:gd name="T17" fmla="*/ 5853 h 467"/>
                      <a:gd name="T18" fmla="*/ 8712 w 521"/>
                      <a:gd name="T19" fmla="*/ 5186 h 467"/>
                      <a:gd name="T20" fmla="*/ 6913 w 521"/>
                      <a:gd name="T21" fmla="*/ 4448 h 467"/>
                      <a:gd name="T22" fmla="*/ 5657 w 521"/>
                      <a:gd name="T23" fmla="*/ 3823 h 467"/>
                      <a:gd name="T24" fmla="*/ 4774 w 521"/>
                      <a:gd name="T25" fmla="*/ 3349 h 467"/>
                      <a:gd name="T26" fmla="*/ 3654 w 521"/>
                      <a:gd name="T27" fmla="*/ 2680 h 467"/>
                      <a:gd name="T28" fmla="*/ 2713 w 521"/>
                      <a:gd name="T29" fmla="*/ 2219 h 467"/>
                      <a:gd name="T30" fmla="*/ 1945 w 521"/>
                      <a:gd name="T31" fmla="*/ 1875 h 467"/>
                      <a:gd name="T32" fmla="*/ 932 w 521"/>
                      <a:gd name="T33" fmla="*/ 1578 h 467"/>
                      <a:gd name="T34" fmla="*/ 4 w 521"/>
                      <a:gd name="T35" fmla="*/ 980 h 467"/>
                      <a:gd name="T36" fmla="*/ 0 w 521"/>
                      <a:gd name="T37" fmla="*/ 374 h 467"/>
                      <a:gd name="T38" fmla="*/ 1945 w 521"/>
                      <a:gd name="T39" fmla="*/ 294 h 467"/>
                      <a:gd name="T40" fmla="*/ 3418 w 521"/>
                      <a:gd name="T41" fmla="*/ 0 h 467"/>
                      <a:gd name="T42" fmla="*/ 5666 w 521"/>
                      <a:gd name="T43" fmla="*/ 6 h 467"/>
                      <a:gd name="T44" fmla="*/ 7614 w 521"/>
                      <a:gd name="T45" fmla="*/ 374 h 467"/>
                      <a:gd name="T46" fmla="*/ 14448 w 521"/>
                      <a:gd name="T47" fmla="*/ 374 h 467"/>
                      <a:gd name="T48" fmla="*/ 21341 w 521"/>
                      <a:gd name="T49" fmla="*/ 374 h 467"/>
                      <a:gd name="T50" fmla="*/ 23659 w 521"/>
                      <a:gd name="T51" fmla="*/ 844 h 467"/>
                      <a:gd name="T52" fmla="*/ 26897 w 521"/>
                      <a:gd name="T53" fmla="*/ 804 h 467"/>
                      <a:gd name="T54" fmla="*/ 30429 w 521"/>
                      <a:gd name="T55" fmla="*/ 980 h 467"/>
                      <a:gd name="T56" fmla="*/ 31897 w 521"/>
                      <a:gd name="T57" fmla="*/ 1028 h 467"/>
                      <a:gd name="T58" fmla="*/ 36817 w 521"/>
                      <a:gd name="T59" fmla="*/ 632 h 467"/>
                      <a:gd name="T60" fmla="*/ 40023 w 521"/>
                      <a:gd name="T61" fmla="*/ 497 h 467"/>
                      <a:gd name="T62" fmla="*/ 42350 w 521"/>
                      <a:gd name="T63" fmla="*/ 574 h 467"/>
                      <a:gd name="T64" fmla="*/ 41632 w 521"/>
                      <a:gd name="T65" fmla="*/ 886 h 467"/>
                      <a:gd name="T66" fmla="*/ 38906 w 521"/>
                      <a:gd name="T67" fmla="*/ 1302 h 467"/>
                      <a:gd name="T68" fmla="*/ 37786 w 521"/>
                      <a:gd name="T69" fmla="*/ 1339 h 467"/>
                      <a:gd name="T70" fmla="*/ 35812 w 521"/>
                      <a:gd name="T71" fmla="*/ 1074 h 467"/>
                      <a:gd name="T72" fmla="*/ 29835 w 521"/>
                      <a:gd name="T73" fmla="*/ 1372 h 467"/>
                      <a:gd name="T74" fmla="*/ 29517 w 521"/>
                      <a:gd name="T75" fmla="*/ 3192 h 467"/>
                      <a:gd name="T76" fmla="*/ 26255 w 521"/>
                      <a:gd name="T77" fmla="*/ 4690 h 467"/>
                      <a:gd name="T78" fmla="*/ 26255 w 521"/>
                      <a:gd name="T79" fmla="*/ 7205 h 467"/>
                      <a:gd name="T80" fmla="*/ 26255 w 521"/>
                      <a:gd name="T81" fmla="*/ 9826 h 467"/>
                      <a:gd name="T82" fmla="*/ 25374 w 521"/>
                      <a:gd name="T83" fmla="*/ 10786 h 467"/>
                      <a:gd name="T84" fmla="*/ 22887 w 521"/>
                      <a:gd name="T85" fmla="*/ 11105 h 467"/>
                      <a:gd name="T86" fmla="*/ 20379 w 521"/>
                      <a:gd name="T87" fmla="*/ 11141 h 467"/>
                      <a:gd name="T88" fmla="*/ 18798 w 521"/>
                      <a:gd name="T89" fmla="*/ 10786 h 467"/>
                      <a:gd name="T90" fmla="*/ 16336 w 521"/>
                      <a:gd name="T91" fmla="*/ 10667 h 467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521"/>
                      <a:gd name="T139" fmla="*/ 0 h 467"/>
                      <a:gd name="T140" fmla="*/ 521 w 521"/>
                      <a:gd name="T141" fmla="*/ 467 h 467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521" h="467">
                        <a:moveTo>
                          <a:pt x="194" y="452"/>
                        </a:moveTo>
                        <a:lnTo>
                          <a:pt x="190" y="453"/>
                        </a:lnTo>
                        <a:lnTo>
                          <a:pt x="187" y="453"/>
                        </a:lnTo>
                        <a:lnTo>
                          <a:pt x="185" y="452"/>
                        </a:lnTo>
                        <a:lnTo>
                          <a:pt x="183" y="452"/>
                        </a:lnTo>
                        <a:lnTo>
                          <a:pt x="172" y="443"/>
                        </a:lnTo>
                        <a:lnTo>
                          <a:pt x="166" y="439"/>
                        </a:lnTo>
                        <a:lnTo>
                          <a:pt x="158" y="432"/>
                        </a:lnTo>
                        <a:lnTo>
                          <a:pt x="151" y="420"/>
                        </a:lnTo>
                        <a:lnTo>
                          <a:pt x="139" y="405"/>
                        </a:lnTo>
                        <a:lnTo>
                          <a:pt x="136" y="391"/>
                        </a:lnTo>
                        <a:lnTo>
                          <a:pt x="133" y="384"/>
                        </a:lnTo>
                        <a:lnTo>
                          <a:pt x="132" y="371"/>
                        </a:lnTo>
                        <a:lnTo>
                          <a:pt x="129" y="365"/>
                        </a:lnTo>
                        <a:lnTo>
                          <a:pt x="128" y="363"/>
                        </a:lnTo>
                        <a:lnTo>
                          <a:pt x="129" y="356"/>
                        </a:lnTo>
                        <a:lnTo>
                          <a:pt x="124" y="347"/>
                        </a:lnTo>
                        <a:lnTo>
                          <a:pt x="123" y="341"/>
                        </a:lnTo>
                        <a:lnTo>
                          <a:pt x="121" y="326"/>
                        </a:lnTo>
                        <a:lnTo>
                          <a:pt x="123" y="318"/>
                        </a:lnTo>
                        <a:lnTo>
                          <a:pt x="121" y="313"/>
                        </a:lnTo>
                        <a:lnTo>
                          <a:pt x="116" y="302"/>
                        </a:lnTo>
                        <a:lnTo>
                          <a:pt x="113" y="293"/>
                        </a:lnTo>
                        <a:lnTo>
                          <a:pt x="109" y="287"/>
                        </a:lnTo>
                        <a:lnTo>
                          <a:pt x="108" y="280"/>
                        </a:lnTo>
                        <a:lnTo>
                          <a:pt x="108" y="267"/>
                        </a:lnTo>
                        <a:lnTo>
                          <a:pt x="107" y="244"/>
                        </a:lnTo>
                        <a:lnTo>
                          <a:pt x="108" y="232"/>
                        </a:lnTo>
                        <a:lnTo>
                          <a:pt x="107" y="222"/>
                        </a:lnTo>
                        <a:lnTo>
                          <a:pt x="107" y="218"/>
                        </a:lnTo>
                        <a:lnTo>
                          <a:pt x="101" y="207"/>
                        </a:lnTo>
                        <a:lnTo>
                          <a:pt x="86" y="191"/>
                        </a:lnTo>
                        <a:lnTo>
                          <a:pt x="83" y="185"/>
                        </a:lnTo>
                        <a:lnTo>
                          <a:pt x="83" y="181"/>
                        </a:lnTo>
                        <a:lnTo>
                          <a:pt x="78" y="175"/>
                        </a:lnTo>
                        <a:lnTo>
                          <a:pt x="68" y="159"/>
                        </a:lnTo>
                        <a:lnTo>
                          <a:pt x="63" y="148"/>
                        </a:lnTo>
                        <a:lnTo>
                          <a:pt x="62" y="143"/>
                        </a:lnTo>
                        <a:lnTo>
                          <a:pt x="59" y="140"/>
                        </a:lnTo>
                        <a:lnTo>
                          <a:pt x="59" y="134"/>
                        </a:lnTo>
                        <a:lnTo>
                          <a:pt x="47" y="117"/>
                        </a:lnTo>
                        <a:lnTo>
                          <a:pt x="45" y="112"/>
                        </a:lnTo>
                        <a:lnTo>
                          <a:pt x="42" y="105"/>
                        </a:lnTo>
                        <a:lnTo>
                          <a:pt x="40" y="100"/>
                        </a:lnTo>
                        <a:lnTo>
                          <a:pt x="33" y="93"/>
                        </a:lnTo>
                        <a:lnTo>
                          <a:pt x="32" y="89"/>
                        </a:lnTo>
                        <a:lnTo>
                          <a:pt x="27" y="84"/>
                        </a:lnTo>
                        <a:lnTo>
                          <a:pt x="24" y="78"/>
                        </a:lnTo>
                        <a:lnTo>
                          <a:pt x="21" y="73"/>
                        </a:lnTo>
                        <a:lnTo>
                          <a:pt x="15" y="68"/>
                        </a:lnTo>
                        <a:lnTo>
                          <a:pt x="12" y="66"/>
                        </a:lnTo>
                        <a:lnTo>
                          <a:pt x="9" y="61"/>
                        </a:lnTo>
                        <a:lnTo>
                          <a:pt x="4" y="48"/>
                        </a:lnTo>
                        <a:lnTo>
                          <a:pt x="4" y="42"/>
                        </a:lnTo>
                        <a:lnTo>
                          <a:pt x="0" y="36"/>
                        </a:lnTo>
                        <a:lnTo>
                          <a:pt x="0" y="32"/>
                        </a:lnTo>
                        <a:lnTo>
                          <a:pt x="0" y="16"/>
                        </a:lnTo>
                        <a:lnTo>
                          <a:pt x="9" y="13"/>
                        </a:lnTo>
                        <a:lnTo>
                          <a:pt x="17" y="6"/>
                        </a:lnTo>
                        <a:lnTo>
                          <a:pt x="24" y="11"/>
                        </a:lnTo>
                        <a:lnTo>
                          <a:pt x="27" y="8"/>
                        </a:lnTo>
                        <a:lnTo>
                          <a:pt x="35" y="1"/>
                        </a:lnTo>
                        <a:lnTo>
                          <a:pt x="42" y="0"/>
                        </a:lnTo>
                        <a:lnTo>
                          <a:pt x="59" y="0"/>
                        </a:lnTo>
                        <a:lnTo>
                          <a:pt x="65" y="1"/>
                        </a:lnTo>
                        <a:lnTo>
                          <a:pt x="69" y="6"/>
                        </a:lnTo>
                        <a:lnTo>
                          <a:pt x="78" y="10"/>
                        </a:lnTo>
                        <a:lnTo>
                          <a:pt x="86" y="18"/>
                        </a:lnTo>
                        <a:lnTo>
                          <a:pt x="93" y="16"/>
                        </a:lnTo>
                        <a:lnTo>
                          <a:pt x="106" y="16"/>
                        </a:lnTo>
                        <a:lnTo>
                          <a:pt x="141" y="16"/>
                        </a:lnTo>
                        <a:lnTo>
                          <a:pt x="177" y="16"/>
                        </a:lnTo>
                        <a:lnTo>
                          <a:pt x="212" y="16"/>
                        </a:lnTo>
                        <a:lnTo>
                          <a:pt x="245" y="16"/>
                        </a:lnTo>
                        <a:lnTo>
                          <a:pt x="259" y="16"/>
                        </a:lnTo>
                        <a:lnTo>
                          <a:pt x="269" y="25"/>
                        </a:lnTo>
                        <a:lnTo>
                          <a:pt x="274" y="30"/>
                        </a:lnTo>
                        <a:lnTo>
                          <a:pt x="286" y="35"/>
                        </a:lnTo>
                        <a:lnTo>
                          <a:pt x="293" y="35"/>
                        </a:lnTo>
                        <a:lnTo>
                          <a:pt x="306" y="33"/>
                        </a:lnTo>
                        <a:lnTo>
                          <a:pt x="326" y="33"/>
                        </a:lnTo>
                        <a:lnTo>
                          <a:pt x="349" y="38"/>
                        </a:lnTo>
                        <a:lnTo>
                          <a:pt x="360" y="39"/>
                        </a:lnTo>
                        <a:lnTo>
                          <a:pt x="370" y="42"/>
                        </a:lnTo>
                        <a:lnTo>
                          <a:pt x="377" y="42"/>
                        </a:lnTo>
                        <a:lnTo>
                          <a:pt x="381" y="44"/>
                        </a:lnTo>
                        <a:lnTo>
                          <a:pt x="387" y="44"/>
                        </a:lnTo>
                        <a:lnTo>
                          <a:pt x="440" y="30"/>
                        </a:lnTo>
                        <a:lnTo>
                          <a:pt x="448" y="28"/>
                        </a:lnTo>
                        <a:lnTo>
                          <a:pt x="449" y="27"/>
                        </a:lnTo>
                        <a:lnTo>
                          <a:pt x="455" y="25"/>
                        </a:lnTo>
                        <a:lnTo>
                          <a:pt x="484" y="18"/>
                        </a:lnTo>
                        <a:lnTo>
                          <a:pt x="486" y="22"/>
                        </a:lnTo>
                        <a:lnTo>
                          <a:pt x="501" y="22"/>
                        </a:lnTo>
                        <a:lnTo>
                          <a:pt x="512" y="23"/>
                        </a:lnTo>
                        <a:lnTo>
                          <a:pt x="514" y="25"/>
                        </a:lnTo>
                        <a:lnTo>
                          <a:pt x="521" y="33"/>
                        </a:lnTo>
                        <a:lnTo>
                          <a:pt x="512" y="33"/>
                        </a:lnTo>
                        <a:lnTo>
                          <a:pt x="506" y="37"/>
                        </a:lnTo>
                        <a:lnTo>
                          <a:pt x="503" y="42"/>
                        </a:lnTo>
                        <a:lnTo>
                          <a:pt x="484" y="46"/>
                        </a:lnTo>
                        <a:lnTo>
                          <a:pt x="472" y="54"/>
                        </a:lnTo>
                        <a:lnTo>
                          <a:pt x="467" y="61"/>
                        </a:lnTo>
                        <a:lnTo>
                          <a:pt x="462" y="66"/>
                        </a:lnTo>
                        <a:lnTo>
                          <a:pt x="459" y="56"/>
                        </a:lnTo>
                        <a:lnTo>
                          <a:pt x="455" y="48"/>
                        </a:lnTo>
                        <a:lnTo>
                          <a:pt x="448" y="46"/>
                        </a:lnTo>
                        <a:lnTo>
                          <a:pt x="435" y="45"/>
                        </a:lnTo>
                        <a:lnTo>
                          <a:pt x="430" y="45"/>
                        </a:lnTo>
                        <a:lnTo>
                          <a:pt x="419" y="48"/>
                        </a:lnTo>
                        <a:lnTo>
                          <a:pt x="362" y="58"/>
                        </a:lnTo>
                        <a:lnTo>
                          <a:pt x="359" y="61"/>
                        </a:lnTo>
                        <a:lnTo>
                          <a:pt x="359" y="96"/>
                        </a:lnTo>
                        <a:lnTo>
                          <a:pt x="359" y="133"/>
                        </a:lnTo>
                        <a:lnTo>
                          <a:pt x="359" y="170"/>
                        </a:lnTo>
                        <a:lnTo>
                          <a:pt x="359" y="196"/>
                        </a:lnTo>
                        <a:lnTo>
                          <a:pt x="319" y="196"/>
                        </a:lnTo>
                        <a:lnTo>
                          <a:pt x="319" y="230"/>
                        </a:lnTo>
                        <a:lnTo>
                          <a:pt x="319" y="268"/>
                        </a:lnTo>
                        <a:lnTo>
                          <a:pt x="319" y="302"/>
                        </a:lnTo>
                        <a:lnTo>
                          <a:pt x="319" y="337"/>
                        </a:lnTo>
                        <a:lnTo>
                          <a:pt x="319" y="374"/>
                        </a:lnTo>
                        <a:lnTo>
                          <a:pt x="319" y="412"/>
                        </a:lnTo>
                        <a:lnTo>
                          <a:pt x="319" y="448"/>
                        </a:lnTo>
                        <a:lnTo>
                          <a:pt x="316" y="449"/>
                        </a:lnTo>
                        <a:lnTo>
                          <a:pt x="309" y="451"/>
                        </a:lnTo>
                        <a:lnTo>
                          <a:pt x="298" y="456"/>
                        </a:lnTo>
                        <a:lnTo>
                          <a:pt x="286" y="466"/>
                        </a:lnTo>
                        <a:lnTo>
                          <a:pt x="278" y="466"/>
                        </a:lnTo>
                        <a:lnTo>
                          <a:pt x="272" y="464"/>
                        </a:lnTo>
                        <a:lnTo>
                          <a:pt x="258" y="464"/>
                        </a:lnTo>
                        <a:lnTo>
                          <a:pt x="248" y="467"/>
                        </a:lnTo>
                        <a:lnTo>
                          <a:pt x="236" y="466"/>
                        </a:lnTo>
                        <a:lnTo>
                          <a:pt x="228" y="458"/>
                        </a:lnTo>
                        <a:lnTo>
                          <a:pt x="228" y="451"/>
                        </a:lnTo>
                        <a:lnTo>
                          <a:pt x="210" y="439"/>
                        </a:lnTo>
                        <a:lnTo>
                          <a:pt x="202" y="439"/>
                        </a:lnTo>
                        <a:lnTo>
                          <a:pt x="197" y="448"/>
                        </a:lnTo>
                        <a:lnTo>
                          <a:pt x="194" y="452"/>
                        </a:lnTo>
                        <a:close/>
                      </a:path>
                    </a:pathLst>
                  </a:custGeom>
                  <a:solidFill>
                    <a:srgbClr val="24367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3" name="Freeform 131"/>
                  <p:cNvSpPr>
                    <a:spLocks/>
                  </p:cNvSpPr>
                  <p:nvPr/>
                </p:nvSpPr>
                <p:spPr bwMode="auto">
                  <a:xfrm>
                    <a:off x="1758" y="3208"/>
                    <a:ext cx="557" cy="490"/>
                  </a:xfrm>
                  <a:custGeom>
                    <a:avLst/>
                    <a:gdLst>
                      <a:gd name="T0" fmla="*/ 15414 w 521"/>
                      <a:gd name="T1" fmla="*/ 10818 h 467"/>
                      <a:gd name="T2" fmla="*/ 14292 w 521"/>
                      <a:gd name="T3" fmla="*/ 10579 h 467"/>
                      <a:gd name="T4" fmla="*/ 12504 w 521"/>
                      <a:gd name="T5" fmla="*/ 10060 h 467"/>
                      <a:gd name="T6" fmla="*/ 11015 w 521"/>
                      <a:gd name="T7" fmla="*/ 9163 h 467"/>
                      <a:gd name="T8" fmla="*/ 10455 w 521"/>
                      <a:gd name="T9" fmla="*/ 8709 h 467"/>
                      <a:gd name="T10" fmla="*/ 10135 w 521"/>
                      <a:gd name="T11" fmla="*/ 8124 h 467"/>
                      <a:gd name="T12" fmla="*/ 9946 w 521"/>
                      <a:gd name="T13" fmla="*/ 7492 h 467"/>
                      <a:gd name="T14" fmla="*/ 9032 w 521"/>
                      <a:gd name="T15" fmla="*/ 6863 h 467"/>
                      <a:gd name="T16" fmla="*/ 8712 w 521"/>
                      <a:gd name="T17" fmla="*/ 5853 h 467"/>
                      <a:gd name="T18" fmla="*/ 8712 w 521"/>
                      <a:gd name="T19" fmla="*/ 5186 h 467"/>
                      <a:gd name="T20" fmla="*/ 6913 w 521"/>
                      <a:gd name="T21" fmla="*/ 4448 h 467"/>
                      <a:gd name="T22" fmla="*/ 5657 w 521"/>
                      <a:gd name="T23" fmla="*/ 3823 h 467"/>
                      <a:gd name="T24" fmla="*/ 4774 w 521"/>
                      <a:gd name="T25" fmla="*/ 3349 h 467"/>
                      <a:gd name="T26" fmla="*/ 3654 w 521"/>
                      <a:gd name="T27" fmla="*/ 2680 h 467"/>
                      <a:gd name="T28" fmla="*/ 2713 w 521"/>
                      <a:gd name="T29" fmla="*/ 2219 h 467"/>
                      <a:gd name="T30" fmla="*/ 1945 w 521"/>
                      <a:gd name="T31" fmla="*/ 1875 h 467"/>
                      <a:gd name="T32" fmla="*/ 932 w 521"/>
                      <a:gd name="T33" fmla="*/ 1578 h 467"/>
                      <a:gd name="T34" fmla="*/ 4 w 521"/>
                      <a:gd name="T35" fmla="*/ 980 h 467"/>
                      <a:gd name="T36" fmla="*/ 0 w 521"/>
                      <a:gd name="T37" fmla="*/ 374 h 467"/>
                      <a:gd name="T38" fmla="*/ 1945 w 521"/>
                      <a:gd name="T39" fmla="*/ 294 h 467"/>
                      <a:gd name="T40" fmla="*/ 3418 w 521"/>
                      <a:gd name="T41" fmla="*/ 0 h 467"/>
                      <a:gd name="T42" fmla="*/ 5666 w 521"/>
                      <a:gd name="T43" fmla="*/ 6 h 467"/>
                      <a:gd name="T44" fmla="*/ 7614 w 521"/>
                      <a:gd name="T45" fmla="*/ 374 h 467"/>
                      <a:gd name="T46" fmla="*/ 14448 w 521"/>
                      <a:gd name="T47" fmla="*/ 374 h 467"/>
                      <a:gd name="T48" fmla="*/ 21341 w 521"/>
                      <a:gd name="T49" fmla="*/ 374 h 467"/>
                      <a:gd name="T50" fmla="*/ 23659 w 521"/>
                      <a:gd name="T51" fmla="*/ 844 h 467"/>
                      <a:gd name="T52" fmla="*/ 26897 w 521"/>
                      <a:gd name="T53" fmla="*/ 804 h 467"/>
                      <a:gd name="T54" fmla="*/ 30429 w 521"/>
                      <a:gd name="T55" fmla="*/ 980 h 467"/>
                      <a:gd name="T56" fmla="*/ 31897 w 521"/>
                      <a:gd name="T57" fmla="*/ 1028 h 467"/>
                      <a:gd name="T58" fmla="*/ 36817 w 521"/>
                      <a:gd name="T59" fmla="*/ 632 h 467"/>
                      <a:gd name="T60" fmla="*/ 40023 w 521"/>
                      <a:gd name="T61" fmla="*/ 497 h 467"/>
                      <a:gd name="T62" fmla="*/ 42350 w 521"/>
                      <a:gd name="T63" fmla="*/ 574 h 467"/>
                      <a:gd name="T64" fmla="*/ 41632 w 521"/>
                      <a:gd name="T65" fmla="*/ 886 h 467"/>
                      <a:gd name="T66" fmla="*/ 38906 w 521"/>
                      <a:gd name="T67" fmla="*/ 1302 h 467"/>
                      <a:gd name="T68" fmla="*/ 37786 w 521"/>
                      <a:gd name="T69" fmla="*/ 1339 h 467"/>
                      <a:gd name="T70" fmla="*/ 35812 w 521"/>
                      <a:gd name="T71" fmla="*/ 1074 h 467"/>
                      <a:gd name="T72" fmla="*/ 29835 w 521"/>
                      <a:gd name="T73" fmla="*/ 1372 h 467"/>
                      <a:gd name="T74" fmla="*/ 29517 w 521"/>
                      <a:gd name="T75" fmla="*/ 3192 h 467"/>
                      <a:gd name="T76" fmla="*/ 26255 w 521"/>
                      <a:gd name="T77" fmla="*/ 4690 h 467"/>
                      <a:gd name="T78" fmla="*/ 26255 w 521"/>
                      <a:gd name="T79" fmla="*/ 7205 h 467"/>
                      <a:gd name="T80" fmla="*/ 26255 w 521"/>
                      <a:gd name="T81" fmla="*/ 9826 h 467"/>
                      <a:gd name="T82" fmla="*/ 25374 w 521"/>
                      <a:gd name="T83" fmla="*/ 10786 h 467"/>
                      <a:gd name="T84" fmla="*/ 22887 w 521"/>
                      <a:gd name="T85" fmla="*/ 11105 h 467"/>
                      <a:gd name="T86" fmla="*/ 20379 w 521"/>
                      <a:gd name="T87" fmla="*/ 11141 h 467"/>
                      <a:gd name="T88" fmla="*/ 18798 w 521"/>
                      <a:gd name="T89" fmla="*/ 10786 h 467"/>
                      <a:gd name="T90" fmla="*/ 16336 w 521"/>
                      <a:gd name="T91" fmla="*/ 10667 h 467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521"/>
                      <a:gd name="T139" fmla="*/ 0 h 467"/>
                      <a:gd name="T140" fmla="*/ 521 w 521"/>
                      <a:gd name="T141" fmla="*/ 467 h 467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521" h="467">
                        <a:moveTo>
                          <a:pt x="194" y="452"/>
                        </a:moveTo>
                        <a:lnTo>
                          <a:pt x="190" y="453"/>
                        </a:lnTo>
                        <a:lnTo>
                          <a:pt x="187" y="453"/>
                        </a:lnTo>
                        <a:lnTo>
                          <a:pt x="185" y="452"/>
                        </a:lnTo>
                        <a:lnTo>
                          <a:pt x="183" y="452"/>
                        </a:lnTo>
                        <a:lnTo>
                          <a:pt x="172" y="443"/>
                        </a:lnTo>
                        <a:lnTo>
                          <a:pt x="166" y="439"/>
                        </a:lnTo>
                        <a:lnTo>
                          <a:pt x="158" y="432"/>
                        </a:lnTo>
                        <a:lnTo>
                          <a:pt x="151" y="420"/>
                        </a:lnTo>
                        <a:lnTo>
                          <a:pt x="139" y="405"/>
                        </a:lnTo>
                        <a:lnTo>
                          <a:pt x="136" y="391"/>
                        </a:lnTo>
                        <a:lnTo>
                          <a:pt x="133" y="384"/>
                        </a:lnTo>
                        <a:lnTo>
                          <a:pt x="132" y="371"/>
                        </a:lnTo>
                        <a:lnTo>
                          <a:pt x="129" y="365"/>
                        </a:lnTo>
                        <a:lnTo>
                          <a:pt x="128" y="363"/>
                        </a:lnTo>
                        <a:lnTo>
                          <a:pt x="129" y="356"/>
                        </a:lnTo>
                        <a:lnTo>
                          <a:pt x="124" y="347"/>
                        </a:lnTo>
                        <a:lnTo>
                          <a:pt x="123" y="341"/>
                        </a:lnTo>
                        <a:lnTo>
                          <a:pt x="121" y="326"/>
                        </a:lnTo>
                        <a:lnTo>
                          <a:pt x="123" y="318"/>
                        </a:lnTo>
                        <a:lnTo>
                          <a:pt x="121" y="313"/>
                        </a:lnTo>
                        <a:lnTo>
                          <a:pt x="116" y="302"/>
                        </a:lnTo>
                        <a:lnTo>
                          <a:pt x="113" y="293"/>
                        </a:lnTo>
                        <a:lnTo>
                          <a:pt x="109" y="287"/>
                        </a:lnTo>
                        <a:lnTo>
                          <a:pt x="108" y="280"/>
                        </a:lnTo>
                        <a:lnTo>
                          <a:pt x="108" y="267"/>
                        </a:lnTo>
                        <a:lnTo>
                          <a:pt x="107" y="244"/>
                        </a:lnTo>
                        <a:lnTo>
                          <a:pt x="108" y="232"/>
                        </a:lnTo>
                        <a:lnTo>
                          <a:pt x="107" y="222"/>
                        </a:lnTo>
                        <a:lnTo>
                          <a:pt x="107" y="218"/>
                        </a:lnTo>
                        <a:lnTo>
                          <a:pt x="101" y="207"/>
                        </a:lnTo>
                        <a:lnTo>
                          <a:pt x="86" y="191"/>
                        </a:lnTo>
                        <a:lnTo>
                          <a:pt x="83" y="185"/>
                        </a:lnTo>
                        <a:lnTo>
                          <a:pt x="83" y="181"/>
                        </a:lnTo>
                        <a:lnTo>
                          <a:pt x="78" y="175"/>
                        </a:lnTo>
                        <a:lnTo>
                          <a:pt x="68" y="159"/>
                        </a:lnTo>
                        <a:lnTo>
                          <a:pt x="63" y="148"/>
                        </a:lnTo>
                        <a:lnTo>
                          <a:pt x="62" y="143"/>
                        </a:lnTo>
                        <a:lnTo>
                          <a:pt x="59" y="140"/>
                        </a:lnTo>
                        <a:lnTo>
                          <a:pt x="59" y="134"/>
                        </a:lnTo>
                        <a:lnTo>
                          <a:pt x="47" y="117"/>
                        </a:lnTo>
                        <a:lnTo>
                          <a:pt x="45" y="112"/>
                        </a:lnTo>
                        <a:lnTo>
                          <a:pt x="42" y="105"/>
                        </a:lnTo>
                        <a:lnTo>
                          <a:pt x="40" y="100"/>
                        </a:lnTo>
                        <a:lnTo>
                          <a:pt x="33" y="93"/>
                        </a:lnTo>
                        <a:lnTo>
                          <a:pt x="32" y="89"/>
                        </a:lnTo>
                        <a:lnTo>
                          <a:pt x="27" y="84"/>
                        </a:lnTo>
                        <a:lnTo>
                          <a:pt x="24" y="78"/>
                        </a:lnTo>
                        <a:lnTo>
                          <a:pt x="21" y="73"/>
                        </a:lnTo>
                        <a:lnTo>
                          <a:pt x="15" y="68"/>
                        </a:lnTo>
                        <a:lnTo>
                          <a:pt x="12" y="66"/>
                        </a:lnTo>
                        <a:lnTo>
                          <a:pt x="9" y="61"/>
                        </a:lnTo>
                        <a:lnTo>
                          <a:pt x="4" y="48"/>
                        </a:lnTo>
                        <a:lnTo>
                          <a:pt x="4" y="42"/>
                        </a:lnTo>
                        <a:lnTo>
                          <a:pt x="0" y="36"/>
                        </a:lnTo>
                        <a:lnTo>
                          <a:pt x="0" y="32"/>
                        </a:lnTo>
                        <a:lnTo>
                          <a:pt x="0" y="16"/>
                        </a:lnTo>
                        <a:lnTo>
                          <a:pt x="9" y="13"/>
                        </a:lnTo>
                        <a:lnTo>
                          <a:pt x="17" y="6"/>
                        </a:lnTo>
                        <a:lnTo>
                          <a:pt x="24" y="11"/>
                        </a:lnTo>
                        <a:lnTo>
                          <a:pt x="27" y="8"/>
                        </a:lnTo>
                        <a:lnTo>
                          <a:pt x="35" y="1"/>
                        </a:lnTo>
                        <a:lnTo>
                          <a:pt x="42" y="0"/>
                        </a:lnTo>
                        <a:lnTo>
                          <a:pt x="59" y="0"/>
                        </a:lnTo>
                        <a:lnTo>
                          <a:pt x="65" y="1"/>
                        </a:lnTo>
                        <a:lnTo>
                          <a:pt x="69" y="6"/>
                        </a:lnTo>
                        <a:lnTo>
                          <a:pt x="78" y="10"/>
                        </a:lnTo>
                        <a:lnTo>
                          <a:pt x="86" y="18"/>
                        </a:lnTo>
                        <a:lnTo>
                          <a:pt x="93" y="16"/>
                        </a:lnTo>
                        <a:lnTo>
                          <a:pt x="106" y="16"/>
                        </a:lnTo>
                        <a:lnTo>
                          <a:pt x="141" y="16"/>
                        </a:lnTo>
                        <a:lnTo>
                          <a:pt x="177" y="16"/>
                        </a:lnTo>
                        <a:lnTo>
                          <a:pt x="212" y="16"/>
                        </a:lnTo>
                        <a:lnTo>
                          <a:pt x="245" y="16"/>
                        </a:lnTo>
                        <a:lnTo>
                          <a:pt x="259" y="16"/>
                        </a:lnTo>
                        <a:lnTo>
                          <a:pt x="269" y="25"/>
                        </a:lnTo>
                        <a:lnTo>
                          <a:pt x="274" y="30"/>
                        </a:lnTo>
                        <a:lnTo>
                          <a:pt x="286" y="35"/>
                        </a:lnTo>
                        <a:lnTo>
                          <a:pt x="293" y="35"/>
                        </a:lnTo>
                        <a:lnTo>
                          <a:pt x="306" y="33"/>
                        </a:lnTo>
                        <a:lnTo>
                          <a:pt x="326" y="33"/>
                        </a:lnTo>
                        <a:lnTo>
                          <a:pt x="349" y="38"/>
                        </a:lnTo>
                        <a:lnTo>
                          <a:pt x="360" y="39"/>
                        </a:lnTo>
                        <a:lnTo>
                          <a:pt x="370" y="42"/>
                        </a:lnTo>
                        <a:lnTo>
                          <a:pt x="377" y="42"/>
                        </a:lnTo>
                        <a:lnTo>
                          <a:pt x="381" y="44"/>
                        </a:lnTo>
                        <a:lnTo>
                          <a:pt x="387" y="44"/>
                        </a:lnTo>
                        <a:lnTo>
                          <a:pt x="440" y="30"/>
                        </a:lnTo>
                        <a:lnTo>
                          <a:pt x="448" y="28"/>
                        </a:lnTo>
                        <a:lnTo>
                          <a:pt x="449" y="27"/>
                        </a:lnTo>
                        <a:lnTo>
                          <a:pt x="455" y="25"/>
                        </a:lnTo>
                        <a:lnTo>
                          <a:pt x="484" y="18"/>
                        </a:lnTo>
                        <a:lnTo>
                          <a:pt x="486" y="22"/>
                        </a:lnTo>
                        <a:lnTo>
                          <a:pt x="501" y="22"/>
                        </a:lnTo>
                        <a:lnTo>
                          <a:pt x="512" y="23"/>
                        </a:lnTo>
                        <a:lnTo>
                          <a:pt x="514" y="25"/>
                        </a:lnTo>
                        <a:lnTo>
                          <a:pt x="521" y="33"/>
                        </a:lnTo>
                        <a:lnTo>
                          <a:pt x="512" y="33"/>
                        </a:lnTo>
                        <a:lnTo>
                          <a:pt x="506" y="37"/>
                        </a:lnTo>
                        <a:lnTo>
                          <a:pt x="503" y="42"/>
                        </a:lnTo>
                        <a:lnTo>
                          <a:pt x="484" y="46"/>
                        </a:lnTo>
                        <a:lnTo>
                          <a:pt x="472" y="54"/>
                        </a:lnTo>
                        <a:lnTo>
                          <a:pt x="467" y="61"/>
                        </a:lnTo>
                        <a:lnTo>
                          <a:pt x="462" y="66"/>
                        </a:lnTo>
                        <a:lnTo>
                          <a:pt x="459" y="56"/>
                        </a:lnTo>
                        <a:lnTo>
                          <a:pt x="455" y="48"/>
                        </a:lnTo>
                        <a:lnTo>
                          <a:pt x="448" y="46"/>
                        </a:lnTo>
                        <a:lnTo>
                          <a:pt x="435" y="45"/>
                        </a:lnTo>
                        <a:lnTo>
                          <a:pt x="430" y="45"/>
                        </a:lnTo>
                        <a:lnTo>
                          <a:pt x="419" y="48"/>
                        </a:lnTo>
                        <a:lnTo>
                          <a:pt x="362" y="58"/>
                        </a:lnTo>
                        <a:lnTo>
                          <a:pt x="359" y="61"/>
                        </a:lnTo>
                        <a:lnTo>
                          <a:pt x="359" y="96"/>
                        </a:lnTo>
                        <a:lnTo>
                          <a:pt x="359" y="133"/>
                        </a:lnTo>
                        <a:lnTo>
                          <a:pt x="359" y="170"/>
                        </a:lnTo>
                        <a:lnTo>
                          <a:pt x="359" y="196"/>
                        </a:lnTo>
                        <a:lnTo>
                          <a:pt x="319" y="196"/>
                        </a:lnTo>
                        <a:lnTo>
                          <a:pt x="319" y="230"/>
                        </a:lnTo>
                        <a:lnTo>
                          <a:pt x="319" y="268"/>
                        </a:lnTo>
                        <a:lnTo>
                          <a:pt x="319" y="302"/>
                        </a:lnTo>
                        <a:lnTo>
                          <a:pt x="319" y="337"/>
                        </a:lnTo>
                        <a:lnTo>
                          <a:pt x="319" y="374"/>
                        </a:lnTo>
                        <a:lnTo>
                          <a:pt x="319" y="412"/>
                        </a:lnTo>
                        <a:lnTo>
                          <a:pt x="319" y="448"/>
                        </a:lnTo>
                        <a:lnTo>
                          <a:pt x="316" y="449"/>
                        </a:lnTo>
                        <a:lnTo>
                          <a:pt x="309" y="451"/>
                        </a:lnTo>
                        <a:lnTo>
                          <a:pt x="298" y="456"/>
                        </a:lnTo>
                        <a:lnTo>
                          <a:pt x="286" y="466"/>
                        </a:lnTo>
                        <a:lnTo>
                          <a:pt x="278" y="466"/>
                        </a:lnTo>
                        <a:lnTo>
                          <a:pt x="272" y="464"/>
                        </a:lnTo>
                        <a:lnTo>
                          <a:pt x="258" y="464"/>
                        </a:lnTo>
                        <a:lnTo>
                          <a:pt x="248" y="467"/>
                        </a:lnTo>
                        <a:lnTo>
                          <a:pt x="236" y="466"/>
                        </a:lnTo>
                        <a:lnTo>
                          <a:pt x="228" y="458"/>
                        </a:lnTo>
                        <a:lnTo>
                          <a:pt x="228" y="451"/>
                        </a:lnTo>
                        <a:lnTo>
                          <a:pt x="210" y="439"/>
                        </a:lnTo>
                        <a:lnTo>
                          <a:pt x="202" y="439"/>
                        </a:lnTo>
                        <a:lnTo>
                          <a:pt x="197" y="448"/>
                        </a:lnTo>
                        <a:lnTo>
                          <a:pt x="194" y="452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4" name="Freeform 132"/>
                  <p:cNvSpPr>
                    <a:spLocks/>
                  </p:cNvSpPr>
                  <p:nvPr/>
                </p:nvSpPr>
                <p:spPr bwMode="auto">
                  <a:xfrm>
                    <a:off x="575" y="1420"/>
                    <a:ext cx="499" cy="501"/>
                  </a:xfrm>
                  <a:custGeom>
                    <a:avLst/>
                    <a:gdLst>
                      <a:gd name="T0" fmla="*/ 1350 w 466"/>
                      <a:gd name="T1" fmla="*/ 10867 h 477"/>
                      <a:gd name="T2" fmla="*/ 2036 w 466"/>
                      <a:gd name="T3" fmla="*/ 10183 h 477"/>
                      <a:gd name="T4" fmla="*/ 3196 w 466"/>
                      <a:gd name="T5" fmla="*/ 8754 h 477"/>
                      <a:gd name="T6" fmla="*/ 2866 w 466"/>
                      <a:gd name="T7" fmla="*/ 8055 h 477"/>
                      <a:gd name="T8" fmla="*/ 2036 w 466"/>
                      <a:gd name="T9" fmla="*/ 7556 h 477"/>
                      <a:gd name="T10" fmla="*/ 2604 w 466"/>
                      <a:gd name="T11" fmla="*/ 7090 h 477"/>
                      <a:gd name="T12" fmla="*/ 2036 w 466"/>
                      <a:gd name="T13" fmla="*/ 6438 h 477"/>
                      <a:gd name="T14" fmla="*/ 837 w 466"/>
                      <a:gd name="T15" fmla="*/ 6098 h 477"/>
                      <a:gd name="T16" fmla="*/ 0 w 466"/>
                      <a:gd name="T17" fmla="*/ 6119 h 477"/>
                      <a:gd name="T18" fmla="*/ 1 w 466"/>
                      <a:gd name="T19" fmla="*/ 5954 h 477"/>
                      <a:gd name="T20" fmla="*/ 959 w 466"/>
                      <a:gd name="T21" fmla="*/ 5638 h 477"/>
                      <a:gd name="T22" fmla="*/ 9547 w 466"/>
                      <a:gd name="T23" fmla="*/ 5638 h 477"/>
                      <a:gd name="T24" fmla="*/ 14084 w 466"/>
                      <a:gd name="T25" fmla="*/ 5379 h 477"/>
                      <a:gd name="T26" fmla="*/ 13740 w 466"/>
                      <a:gd name="T27" fmla="*/ 4240 h 477"/>
                      <a:gd name="T28" fmla="*/ 14421 w 466"/>
                      <a:gd name="T29" fmla="*/ 3844 h 477"/>
                      <a:gd name="T30" fmla="*/ 16871 w 466"/>
                      <a:gd name="T31" fmla="*/ 3672 h 477"/>
                      <a:gd name="T32" fmla="*/ 18136 w 466"/>
                      <a:gd name="T33" fmla="*/ 2037 h 477"/>
                      <a:gd name="T34" fmla="*/ 22737 w 466"/>
                      <a:gd name="T35" fmla="*/ 1072 h 477"/>
                      <a:gd name="T36" fmla="*/ 29356 w 466"/>
                      <a:gd name="T37" fmla="*/ 0 h 477"/>
                      <a:gd name="T38" fmla="*/ 42591 w 466"/>
                      <a:gd name="T39" fmla="*/ 2113 h 477"/>
                      <a:gd name="T40" fmla="*/ 37051 w 466"/>
                      <a:gd name="T41" fmla="*/ 4006 h 477"/>
                      <a:gd name="T42" fmla="*/ 38295 w 466"/>
                      <a:gd name="T43" fmla="*/ 6762 h 477"/>
                      <a:gd name="T44" fmla="*/ 39304 w 466"/>
                      <a:gd name="T45" fmla="*/ 9560 h 477"/>
                      <a:gd name="T46" fmla="*/ 40257 w 466"/>
                      <a:gd name="T47" fmla="*/ 11507 h 477"/>
                      <a:gd name="T48" fmla="*/ 29788 w 466"/>
                      <a:gd name="T49" fmla="*/ 11455 h 477"/>
                      <a:gd name="T50" fmla="*/ 22328 w 466"/>
                      <a:gd name="T51" fmla="*/ 11774 h 477"/>
                      <a:gd name="T52" fmla="*/ 20686 w 466"/>
                      <a:gd name="T53" fmla="*/ 11189 h 477"/>
                      <a:gd name="T54" fmla="*/ 19674 w 466"/>
                      <a:gd name="T55" fmla="*/ 11077 h 477"/>
                      <a:gd name="T56" fmla="*/ 19318 w 466"/>
                      <a:gd name="T57" fmla="*/ 11273 h 477"/>
                      <a:gd name="T58" fmla="*/ 16908 w 466"/>
                      <a:gd name="T59" fmla="*/ 12167 h 477"/>
                      <a:gd name="T60" fmla="*/ 15858 w 466"/>
                      <a:gd name="T61" fmla="*/ 12031 h 477"/>
                      <a:gd name="T62" fmla="*/ 15442 w 466"/>
                      <a:gd name="T63" fmla="*/ 11798 h 477"/>
                      <a:gd name="T64" fmla="*/ 14713 w 466"/>
                      <a:gd name="T65" fmla="*/ 11730 h 477"/>
                      <a:gd name="T66" fmla="*/ 14421 w 466"/>
                      <a:gd name="T67" fmla="*/ 11584 h 477"/>
                      <a:gd name="T68" fmla="*/ 13908 w 466"/>
                      <a:gd name="T69" fmla="*/ 11455 h 477"/>
                      <a:gd name="T70" fmla="*/ 13721 w 466"/>
                      <a:gd name="T71" fmla="*/ 11414 h 477"/>
                      <a:gd name="T72" fmla="*/ 13153 w 466"/>
                      <a:gd name="T73" fmla="*/ 11195 h 477"/>
                      <a:gd name="T74" fmla="*/ 11982 w 466"/>
                      <a:gd name="T75" fmla="*/ 10777 h 477"/>
                      <a:gd name="T76" fmla="*/ 11718 w 466"/>
                      <a:gd name="T77" fmla="*/ 10733 h 477"/>
                      <a:gd name="T78" fmla="*/ 10450 w 466"/>
                      <a:gd name="T79" fmla="*/ 10695 h 477"/>
                      <a:gd name="T80" fmla="*/ 9172 w 466"/>
                      <a:gd name="T81" fmla="*/ 10438 h 477"/>
                      <a:gd name="T82" fmla="*/ 8615 w 466"/>
                      <a:gd name="T83" fmla="*/ 10346 h 477"/>
                      <a:gd name="T84" fmla="*/ 6931 w 466"/>
                      <a:gd name="T85" fmla="*/ 10296 h 477"/>
                      <a:gd name="T86" fmla="*/ 6331 w 466"/>
                      <a:gd name="T87" fmla="*/ 10384 h 477"/>
                      <a:gd name="T88" fmla="*/ 4935 w 466"/>
                      <a:gd name="T89" fmla="*/ 10475 h 477"/>
                      <a:gd name="T90" fmla="*/ 3196 w 466"/>
                      <a:gd name="T91" fmla="*/ 10438 h 477"/>
                      <a:gd name="T92" fmla="*/ 2271 w 466"/>
                      <a:gd name="T93" fmla="*/ 10475 h 477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466"/>
                      <a:gd name="T142" fmla="*/ 0 h 477"/>
                      <a:gd name="T143" fmla="*/ 466 w 466"/>
                      <a:gd name="T144" fmla="*/ 477 h 477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466" h="477">
                        <a:moveTo>
                          <a:pt x="19" y="423"/>
                        </a:moveTo>
                        <a:lnTo>
                          <a:pt x="17" y="425"/>
                        </a:lnTo>
                        <a:lnTo>
                          <a:pt x="16" y="425"/>
                        </a:lnTo>
                        <a:lnTo>
                          <a:pt x="17" y="417"/>
                        </a:lnTo>
                        <a:lnTo>
                          <a:pt x="20" y="406"/>
                        </a:lnTo>
                        <a:lnTo>
                          <a:pt x="22" y="400"/>
                        </a:lnTo>
                        <a:lnTo>
                          <a:pt x="33" y="375"/>
                        </a:lnTo>
                        <a:lnTo>
                          <a:pt x="35" y="366"/>
                        </a:lnTo>
                        <a:lnTo>
                          <a:pt x="35" y="343"/>
                        </a:lnTo>
                        <a:lnTo>
                          <a:pt x="35" y="333"/>
                        </a:lnTo>
                        <a:lnTo>
                          <a:pt x="33" y="325"/>
                        </a:lnTo>
                        <a:lnTo>
                          <a:pt x="32" y="316"/>
                        </a:lnTo>
                        <a:lnTo>
                          <a:pt x="18" y="300"/>
                        </a:lnTo>
                        <a:lnTo>
                          <a:pt x="19" y="296"/>
                        </a:lnTo>
                        <a:lnTo>
                          <a:pt x="22" y="296"/>
                        </a:lnTo>
                        <a:lnTo>
                          <a:pt x="25" y="294"/>
                        </a:lnTo>
                        <a:lnTo>
                          <a:pt x="28" y="281"/>
                        </a:lnTo>
                        <a:lnTo>
                          <a:pt x="29" y="277"/>
                        </a:lnTo>
                        <a:lnTo>
                          <a:pt x="29" y="267"/>
                        </a:lnTo>
                        <a:lnTo>
                          <a:pt x="28" y="264"/>
                        </a:lnTo>
                        <a:lnTo>
                          <a:pt x="22" y="252"/>
                        </a:lnTo>
                        <a:lnTo>
                          <a:pt x="16" y="252"/>
                        </a:lnTo>
                        <a:lnTo>
                          <a:pt x="14" y="252"/>
                        </a:lnTo>
                        <a:lnTo>
                          <a:pt x="9" y="237"/>
                        </a:lnTo>
                        <a:lnTo>
                          <a:pt x="6" y="234"/>
                        </a:lnTo>
                        <a:lnTo>
                          <a:pt x="0" y="236"/>
                        </a:lnTo>
                        <a:lnTo>
                          <a:pt x="0" y="239"/>
                        </a:lnTo>
                        <a:lnTo>
                          <a:pt x="0" y="236"/>
                        </a:lnTo>
                        <a:lnTo>
                          <a:pt x="3" y="234"/>
                        </a:lnTo>
                        <a:lnTo>
                          <a:pt x="1" y="234"/>
                        </a:lnTo>
                        <a:lnTo>
                          <a:pt x="3" y="230"/>
                        </a:lnTo>
                        <a:lnTo>
                          <a:pt x="10" y="226"/>
                        </a:lnTo>
                        <a:lnTo>
                          <a:pt x="11" y="221"/>
                        </a:lnTo>
                        <a:lnTo>
                          <a:pt x="32" y="221"/>
                        </a:lnTo>
                        <a:lnTo>
                          <a:pt x="66" y="221"/>
                        </a:lnTo>
                        <a:lnTo>
                          <a:pt x="104" y="221"/>
                        </a:lnTo>
                        <a:lnTo>
                          <a:pt x="139" y="221"/>
                        </a:lnTo>
                        <a:lnTo>
                          <a:pt x="156" y="221"/>
                        </a:lnTo>
                        <a:lnTo>
                          <a:pt x="154" y="211"/>
                        </a:lnTo>
                        <a:lnTo>
                          <a:pt x="153" y="198"/>
                        </a:lnTo>
                        <a:lnTo>
                          <a:pt x="151" y="185"/>
                        </a:lnTo>
                        <a:lnTo>
                          <a:pt x="150" y="167"/>
                        </a:lnTo>
                        <a:lnTo>
                          <a:pt x="151" y="163"/>
                        </a:lnTo>
                        <a:lnTo>
                          <a:pt x="154" y="155"/>
                        </a:lnTo>
                        <a:lnTo>
                          <a:pt x="157" y="151"/>
                        </a:lnTo>
                        <a:lnTo>
                          <a:pt x="161" y="149"/>
                        </a:lnTo>
                        <a:lnTo>
                          <a:pt x="172" y="145"/>
                        </a:lnTo>
                        <a:lnTo>
                          <a:pt x="184" y="145"/>
                        </a:lnTo>
                        <a:lnTo>
                          <a:pt x="199" y="141"/>
                        </a:lnTo>
                        <a:lnTo>
                          <a:pt x="199" y="117"/>
                        </a:lnTo>
                        <a:lnTo>
                          <a:pt x="199" y="81"/>
                        </a:lnTo>
                        <a:lnTo>
                          <a:pt x="199" y="43"/>
                        </a:lnTo>
                        <a:lnTo>
                          <a:pt x="210" y="43"/>
                        </a:lnTo>
                        <a:lnTo>
                          <a:pt x="248" y="43"/>
                        </a:lnTo>
                        <a:lnTo>
                          <a:pt x="286" y="43"/>
                        </a:lnTo>
                        <a:lnTo>
                          <a:pt x="322" y="43"/>
                        </a:lnTo>
                        <a:lnTo>
                          <a:pt x="322" y="0"/>
                        </a:lnTo>
                        <a:lnTo>
                          <a:pt x="371" y="27"/>
                        </a:lnTo>
                        <a:lnTo>
                          <a:pt x="412" y="51"/>
                        </a:lnTo>
                        <a:lnTo>
                          <a:pt x="466" y="83"/>
                        </a:lnTo>
                        <a:lnTo>
                          <a:pt x="398" y="83"/>
                        </a:lnTo>
                        <a:lnTo>
                          <a:pt x="402" y="120"/>
                        </a:lnTo>
                        <a:lnTo>
                          <a:pt x="405" y="157"/>
                        </a:lnTo>
                        <a:lnTo>
                          <a:pt x="410" y="193"/>
                        </a:lnTo>
                        <a:lnTo>
                          <a:pt x="414" y="229"/>
                        </a:lnTo>
                        <a:lnTo>
                          <a:pt x="417" y="265"/>
                        </a:lnTo>
                        <a:lnTo>
                          <a:pt x="422" y="301"/>
                        </a:lnTo>
                        <a:lnTo>
                          <a:pt x="425" y="338"/>
                        </a:lnTo>
                        <a:lnTo>
                          <a:pt x="430" y="375"/>
                        </a:lnTo>
                        <a:lnTo>
                          <a:pt x="435" y="414"/>
                        </a:lnTo>
                        <a:lnTo>
                          <a:pt x="450" y="418"/>
                        </a:lnTo>
                        <a:lnTo>
                          <a:pt x="441" y="450"/>
                        </a:lnTo>
                        <a:lnTo>
                          <a:pt x="428" y="450"/>
                        </a:lnTo>
                        <a:lnTo>
                          <a:pt x="377" y="449"/>
                        </a:lnTo>
                        <a:lnTo>
                          <a:pt x="326" y="448"/>
                        </a:lnTo>
                        <a:lnTo>
                          <a:pt x="264" y="447"/>
                        </a:lnTo>
                        <a:lnTo>
                          <a:pt x="247" y="462"/>
                        </a:lnTo>
                        <a:lnTo>
                          <a:pt x="245" y="462"/>
                        </a:lnTo>
                        <a:lnTo>
                          <a:pt x="233" y="459"/>
                        </a:lnTo>
                        <a:lnTo>
                          <a:pt x="226" y="447"/>
                        </a:lnTo>
                        <a:lnTo>
                          <a:pt x="225" y="438"/>
                        </a:lnTo>
                        <a:lnTo>
                          <a:pt x="221" y="436"/>
                        </a:lnTo>
                        <a:lnTo>
                          <a:pt x="217" y="436"/>
                        </a:lnTo>
                        <a:lnTo>
                          <a:pt x="216" y="435"/>
                        </a:lnTo>
                        <a:lnTo>
                          <a:pt x="214" y="435"/>
                        </a:lnTo>
                        <a:lnTo>
                          <a:pt x="213" y="435"/>
                        </a:lnTo>
                        <a:lnTo>
                          <a:pt x="210" y="442"/>
                        </a:lnTo>
                        <a:lnTo>
                          <a:pt x="206" y="450"/>
                        </a:lnTo>
                        <a:lnTo>
                          <a:pt x="202" y="462"/>
                        </a:lnTo>
                        <a:lnTo>
                          <a:pt x="185" y="477"/>
                        </a:lnTo>
                        <a:lnTo>
                          <a:pt x="181" y="473"/>
                        </a:lnTo>
                        <a:lnTo>
                          <a:pt x="176" y="473"/>
                        </a:lnTo>
                        <a:lnTo>
                          <a:pt x="175" y="471"/>
                        </a:lnTo>
                        <a:lnTo>
                          <a:pt x="174" y="466"/>
                        </a:lnTo>
                        <a:lnTo>
                          <a:pt x="172" y="465"/>
                        </a:lnTo>
                        <a:lnTo>
                          <a:pt x="168" y="463"/>
                        </a:lnTo>
                        <a:lnTo>
                          <a:pt x="165" y="463"/>
                        </a:lnTo>
                        <a:lnTo>
                          <a:pt x="162" y="462"/>
                        </a:lnTo>
                        <a:lnTo>
                          <a:pt x="161" y="459"/>
                        </a:lnTo>
                        <a:lnTo>
                          <a:pt x="157" y="458"/>
                        </a:lnTo>
                        <a:lnTo>
                          <a:pt x="161" y="456"/>
                        </a:lnTo>
                        <a:lnTo>
                          <a:pt x="157" y="454"/>
                        </a:lnTo>
                        <a:lnTo>
                          <a:pt x="156" y="452"/>
                        </a:lnTo>
                        <a:lnTo>
                          <a:pt x="154" y="448"/>
                        </a:lnTo>
                        <a:lnTo>
                          <a:pt x="153" y="448"/>
                        </a:lnTo>
                        <a:lnTo>
                          <a:pt x="151" y="449"/>
                        </a:lnTo>
                        <a:lnTo>
                          <a:pt x="150" y="448"/>
                        </a:lnTo>
                        <a:lnTo>
                          <a:pt x="149" y="446"/>
                        </a:lnTo>
                        <a:lnTo>
                          <a:pt x="147" y="443"/>
                        </a:lnTo>
                        <a:lnTo>
                          <a:pt x="144" y="442"/>
                        </a:lnTo>
                        <a:lnTo>
                          <a:pt x="144" y="439"/>
                        </a:lnTo>
                        <a:lnTo>
                          <a:pt x="140" y="432"/>
                        </a:lnTo>
                        <a:lnTo>
                          <a:pt x="134" y="423"/>
                        </a:lnTo>
                        <a:lnTo>
                          <a:pt x="131" y="423"/>
                        </a:lnTo>
                        <a:lnTo>
                          <a:pt x="128" y="425"/>
                        </a:lnTo>
                        <a:lnTo>
                          <a:pt x="126" y="424"/>
                        </a:lnTo>
                        <a:lnTo>
                          <a:pt x="126" y="421"/>
                        </a:lnTo>
                        <a:lnTo>
                          <a:pt x="123" y="423"/>
                        </a:lnTo>
                        <a:lnTo>
                          <a:pt x="119" y="423"/>
                        </a:lnTo>
                        <a:lnTo>
                          <a:pt x="114" y="420"/>
                        </a:lnTo>
                        <a:lnTo>
                          <a:pt x="113" y="415"/>
                        </a:lnTo>
                        <a:lnTo>
                          <a:pt x="105" y="408"/>
                        </a:lnTo>
                        <a:lnTo>
                          <a:pt x="101" y="408"/>
                        </a:lnTo>
                        <a:lnTo>
                          <a:pt x="99" y="405"/>
                        </a:lnTo>
                        <a:lnTo>
                          <a:pt x="96" y="406"/>
                        </a:lnTo>
                        <a:lnTo>
                          <a:pt x="95" y="405"/>
                        </a:lnTo>
                        <a:lnTo>
                          <a:pt x="83" y="405"/>
                        </a:lnTo>
                        <a:lnTo>
                          <a:pt x="78" y="404"/>
                        </a:lnTo>
                        <a:lnTo>
                          <a:pt x="75" y="404"/>
                        </a:lnTo>
                        <a:lnTo>
                          <a:pt x="70" y="404"/>
                        </a:lnTo>
                        <a:lnTo>
                          <a:pt x="70" y="406"/>
                        </a:lnTo>
                        <a:lnTo>
                          <a:pt x="68" y="407"/>
                        </a:lnTo>
                        <a:lnTo>
                          <a:pt x="63" y="406"/>
                        </a:lnTo>
                        <a:lnTo>
                          <a:pt x="54" y="408"/>
                        </a:lnTo>
                        <a:lnTo>
                          <a:pt x="54" y="410"/>
                        </a:lnTo>
                        <a:lnTo>
                          <a:pt x="48" y="411"/>
                        </a:lnTo>
                        <a:lnTo>
                          <a:pt x="41" y="408"/>
                        </a:lnTo>
                        <a:lnTo>
                          <a:pt x="35" y="408"/>
                        </a:lnTo>
                        <a:lnTo>
                          <a:pt x="29" y="408"/>
                        </a:lnTo>
                        <a:lnTo>
                          <a:pt x="28" y="410"/>
                        </a:lnTo>
                        <a:lnTo>
                          <a:pt x="25" y="410"/>
                        </a:lnTo>
                        <a:lnTo>
                          <a:pt x="22" y="417"/>
                        </a:lnTo>
                        <a:lnTo>
                          <a:pt x="19" y="423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5" name="Freeform 133"/>
                  <p:cNvSpPr>
                    <a:spLocks/>
                  </p:cNvSpPr>
                  <p:nvPr/>
                </p:nvSpPr>
                <p:spPr bwMode="auto">
                  <a:xfrm>
                    <a:off x="575" y="1420"/>
                    <a:ext cx="499" cy="501"/>
                  </a:xfrm>
                  <a:custGeom>
                    <a:avLst/>
                    <a:gdLst>
                      <a:gd name="T0" fmla="*/ 1350 w 466"/>
                      <a:gd name="T1" fmla="*/ 10867 h 477"/>
                      <a:gd name="T2" fmla="*/ 2036 w 466"/>
                      <a:gd name="T3" fmla="*/ 10183 h 477"/>
                      <a:gd name="T4" fmla="*/ 3196 w 466"/>
                      <a:gd name="T5" fmla="*/ 8754 h 477"/>
                      <a:gd name="T6" fmla="*/ 2866 w 466"/>
                      <a:gd name="T7" fmla="*/ 8055 h 477"/>
                      <a:gd name="T8" fmla="*/ 2036 w 466"/>
                      <a:gd name="T9" fmla="*/ 7556 h 477"/>
                      <a:gd name="T10" fmla="*/ 2604 w 466"/>
                      <a:gd name="T11" fmla="*/ 7090 h 477"/>
                      <a:gd name="T12" fmla="*/ 2036 w 466"/>
                      <a:gd name="T13" fmla="*/ 6438 h 477"/>
                      <a:gd name="T14" fmla="*/ 837 w 466"/>
                      <a:gd name="T15" fmla="*/ 6098 h 477"/>
                      <a:gd name="T16" fmla="*/ 0 w 466"/>
                      <a:gd name="T17" fmla="*/ 6119 h 477"/>
                      <a:gd name="T18" fmla="*/ 1 w 466"/>
                      <a:gd name="T19" fmla="*/ 5954 h 477"/>
                      <a:gd name="T20" fmla="*/ 959 w 466"/>
                      <a:gd name="T21" fmla="*/ 5638 h 477"/>
                      <a:gd name="T22" fmla="*/ 9547 w 466"/>
                      <a:gd name="T23" fmla="*/ 5638 h 477"/>
                      <a:gd name="T24" fmla="*/ 14084 w 466"/>
                      <a:gd name="T25" fmla="*/ 5379 h 477"/>
                      <a:gd name="T26" fmla="*/ 13740 w 466"/>
                      <a:gd name="T27" fmla="*/ 4240 h 477"/>
                      <a:gd name="T28" fmla="*/ 14421 w 466"/>
                      <a:gd name="T29" fmla="*/ 3844 h 477"/>
                      <a:gd name="T30" fmla="*/ 16871 w 466"/>
                      <a:gd name="T31" fmla="*/ 3672 h 477"/>
                      <a:gd name="T32" fmla="*/ 18136 w 466"/>
                      <a:gd name="T33" fmla="*/ 2037 h 477"/>
                      <a:gd name="T34" fmla="*/ 22737 w 466"/>
                      <a:gd name="T35" fmla="*/ 1072 h 477"/>
                      <a:gd name="T36" fmla="*/ 29356 w 466"/>
                      <a:gd name="T37" fmla="*/ 0 h 477"/>
                      <a:gd name="T38" fmla="*/ 42591 w 466"/>
                      <a:gd name="T39" fmla="*/ 2113 h 477"/>
                      <a:gd name="T40" fmla="*/ 37051 w 466"/>
                      <a:gd name="T41" fmla="*/ 4006 h 477"/>
                      <a:gd name="T42" fmla="*/ 38295 w 466"/>
                      <a:gd name="T43" fmla="*/ 6762 h 477"/>
                      <a:gd name="T44" fmla="*/ 39304 w 466"/>
                      <a:gd name="T45" fmla="*/ 9560 h 477"/>
                      <a:gd name="T46" fmla="*/ 40257 w 466"/>
                      <a:gd name="T47" fmla="*/ 11507 h 477"/>
                      <a:gd name="T48" fmla="*/ 29788 w 466"/>
                      <a:gd name="T49" fmla="*/ 11455 h 477"/>
                      <a:gd name="T50" fmla="*/ 22328 w 466"/>
                      <a:gd name="T51" fmla="*/ 11774 h 477"/>
                      <a:gd name="T52" fmla="*/ 20686 w 466"/>
                      <a:gd name="T53" fmla="*/ 11189 h 477"/>
                      <a:gd name="T54" fmla="*/ 19674 w 466"/>
                      <a:gd name="T55" fmla="*/ 11077 h 477"/>
                      <a:gd name="T56" fmla="*/ 19318 w 466"/>
                      <a:gd name="T57" fmla="*/ 11273 h 477"/>
                      <a:gd name="T58" fmla="*/ 16908 w 466"/>
                      <a:gd name="T59" fmla="*/ 12167 h 477"/>
                      <a:gd name="T60" fmla="*/ 15858 w 466"/>
                      <a:gd name="T61" fmla="*/ 12031 h 477"/>
                      <a:gd name="T62" fmla="*/ 15442 w 466"/>
                      <a:gd name="T63" fmla="*/ 11798 h 477"/>
                      <a:gd name="T64" fmla="*/ 14713 w 466"/>
                      <a:gd name="T65" fmla="*/ 11730 h 477"/>
                      <a:gd name="T66" fmla="*/ 14421 w 466"/>
                      <a:gd name="T67" fmla="*/ 11584 h 477"/>
                      <a:gd name="T68" fmla="*/ 13908 w 466"/>
                      <a:gd name="T69" fmla="*/ 11455 h 477"/>
                      <a:gd name="T70" fmla="*/ 13721 w 466"/>
                      <a:gd name="T71" fmla="*/ 11414 h 477"/>
                      <a:gd name="T72" fmla="*/ 13153 w 466"/>
                      <a:gd name="T73" fmla="*/ 11195 h 477"/>
                      <a:gd name="T74" fmla="*/ 11982 w 466"/>
                      <a:gd name="T75" fmla="*/ 10777 h 477"/>
                      <a:gd name="T76" fmla="*/ 11718 w 466"/>
                      <a:gd name="T77" fmla="*/ 10733 h 477"/>
                      <a:gd name="T78" fmla="*/ 10450 w 466"/>
                      <a:gd name="T79" fmla="*/ 10695 h 477"/>
                      <a:gd name="T80" fmla="*/ 9172 w 466"/>
                      <a:gd name="T81" fmla="*/ 10438 h 477"/>
                      <a:gd name="T82" fmla="*/ 8615 w 466"/>
                      <a:gd name="T83" fmla="*/ 10346 h 477"/>
                      <a:gd name="T84" fmla="*/ 6931 w 466"/>
                      <a:gd name="T85" fmla="*/ 10296 h 477"/>
                      <a:gd name="T86" fmla="*/ 6331 w 466"/>
                      <a:gd name="T87" fmla="*/ 10384 h 477"/>
                      <a:gd name="T88" fmla="*/ 4935 w 466"/>
                      <a:gd name="T89" fmla="*/ 10475 h 477"/>
                      <a:gd name="T90" fmla="*/ 3196 w 466"/>
                      <a:gd name="T91" fmla="*/ 10438 h 477"/>
                      <a:gd name="T92" fmla="*/ 2271 w 466"/>
                      <a:gd name="T93" fmla="*/ 10475 h 477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466"/>
                      <a:gd name="T142" fmla="*/ 0 h 477"/>
                      <a:gd name="T143" fmla="*/ 466 w 466"/>
                      <a:gd name="T144" fmla="*/ 477 h 477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466" h="477">
                        <a:moveTo>
                          <a:pt x="19" y="423"/>
                        </a:moveTo>
                        <a:lnTo>
                          <a:pt x="17" y="425"/>
                        </a:lnTo>
                        <a:lnTo>
                          <a:pt x="16" y="425"/>
                        </a:lnTo>
                        <a:lnTo>
                          <a:pt x="17" y="417"/>
                        </a:lnTo>
                        <a:lnTo>
                          <a:pt x="20" y="406"/>
                        </a:lnTo>
                        <a:lnTo>
                          <a:pt x="22" y="400"/>
                        </a:lnTo>
                        <a:lnTo>
                          <a:pt x="33" y="375"/>
                        </a:lnTo>
                        <a:lnTo>
                          <a:pt x="35" y="366"/>
                        </a:lnTo>
                        <a:lnTo>
                          <a:pt x="35" y="343"/>
                        </a:lnTo>
                        <a:lnTo>
                          <a:pt x="35" y="333"/>
                        </a:lnTo>
                        <a:lnTo>
                          <a:pt x="33" y="325"/>
                        </a:lnTo>
                        <a:lnTo>
                          <a:pt x="32" y="316"/>
                        </a:lnTo>
                        <a:lnTo>
                          <a:pt x="18" y="300"/>
                        </a:lnTo>
                        <a:lnTo>
                          <a:pt x="19" y="296"/>
                        </a:lnTo>
                        <a:lnTo>
                          <a:pt x="22" y="296"/>
                        </a:lnTo>
                        <a:lnTo>
                          <a:pt x="25" y="294"/>
                        </a:lnTo>
                        <a:lnTo>
                          <a:pt x="28" y="281"/>
                        </a:lnTo>
                        <a:lnTo>
                          <a:pt x="29" y="277"/>
                        </a:lnTo>
                        <a:lnTo>
                          <a:pt x="29" y="267"/>
                        </a:lnTo>
                        <a:lnTo>
                          <a:pt x="28" y="264"/>
                        </a:lnTo>
                        <a:lnTo>
                          <a:pt x="22" y="252"/>
                        </a:lnTo>
                        <a:lnTo>
                          <a:pt x="16" y="252"/>
                        </a:lnTo>
                        <a:lnTo>
                          <a:pt x="14" y="252"/>
                        </a:lnTo>
                        <a:lnTo>
                          <a:pt x="9" y="237"/>
                        </a:lnTo>
                        <a:lnTo>
                          <a:pt x="6" y="234"/>
                        </a:lnTo>
                        <a:lnTo>
                          <a:pt x="0" y="236"/>
                        </a:lnTo>
                        <a:lnTo>
                          <a:pt x="0" y="239"/>
                        </a:lnTo>
                        <a:lnTo>
                          <a:pt x="0" y="236"/>
                        </a:lnTo>
                        <a:lnTo>
                          <a:pt x="3" y="234"/>
                        </a:lnTo>
                        <a:lnTo>
                          <a:pt x="1" y="234"/>
                        </a:lnTo>
                        <a:lnTo>
                          <a:pt x="3" y="230"/>
                        </a:lnTo>
                        <a:lnTo>
                          <a:pt x="10" y="226"/>
                        </a:lnTo>
                        <a:lnTo>
                          <a:pt x="11" y="221"/>
                        </a:lnTo>
                        <a:lnTo>
                          <a:pt x="32" y="221"/>
                        </a:lnTo>
                        <a:lnTo>
                          <a:pt x="66" y="221"/>
                        </a:lnTo>
                        <a:lnTo>
                          <a:pt x="104" y="221"/>
                        </a:lnTo>
                        <a:lnTo>
                          <a:pt x="139" y="221"/>
                        </a:lnTo>
                        <a:lnTo>
                          <a:pt x="156" y="221"/>
                        </a:lnTo>
                        <a:lnTo>
                          <a:pt x="154" y="211"/>
                        </a:lnTo>
                        <a:lnTo>
                          <a:pt x="153" y="198"/>
                        </a:lnTo>
                        <a:lnTo>
                          <a:pt x="151" y="185"/>
                        </a:lnTo>
                        <a:lnTo>
                          <a:pt x="150" y="167"/>
                        </a:lnTo>
                        <a:lnTo>
                          <a:pt x="151" y="163"/>
                        </a:lnTo>
                        <a:lnTo>
                          <a:pt x="154" y="155"/>
                        </a:lnTo>
                        <a:lnTo>
                          <a:pt x="157" y="151"/>
                        </a:lnTo>
                        <a:lnTo>
                          <a:pt x="161" y="149"/>
                        </a:lnTo>
                        <a:lnTo>
                          <a:pt x="172" y="145"/>
                        </a:lnTo>
                        <a:lnTo>
                          <a:pt x="184" y="145"/>
                        </a:lnTo>
                        <a:lnTo>
                          <a:pt x="199" y="141"/>
                        </a:lnTo>
                        <a:lnTo>
                          <a:pt x="199" y="117"/>
                        </a:lnTo>
                        <a:lnTo>
                          <a:pt x="199" y="81"/>
                        </a:lnTo>
                        <a:lnTo>
                          <a:pt x="199" y="43"/>
                        </a:lnTo>
                        <a:lnTo>
                          <a:pt x="210" y="43"/>
                        </a:lnTo>
                        <a:lnTo>
                          <a:pt x="248" y="43"/>
                        </a:lnTo>
                        <a:lnTo>
                          <a:pt x="286" y="43"/>
                        </a:lnTo>
                        <a:lnTo>
                          <a:pt x="322" y="43"/>
                        </a:lnTo>
                        <a:lnTo>
                          <a:pt x="322" y="0"/>
                        </a:lnTo>
                        <a:lnTo>
                          <a:pt x="371" y="27"/>
                        </a:lnTo>
                        <a:lnTo>
                          <a:pt x="412" y="51"/>
                        </a:lnTo>
                        <a:lnTo>
                          <a:pt x="466" y="83"/>
                        </a:lnTo>
                        <a:lnTo>
                          <a:pt x="398" y="83"/>
                        </a:lnTo>
                        <a:lnTo>
                          <a:pt x="402" y="120"/>
                        </a:lnTo>
                        <a:lnTo>
                          <a:pt x="405" y="157"/>
                        </a:lnTo>
                        <a:lnTo>
                          <a:pt x="410" y="193"/>
                        </a:lnTo>
                        <a:lnTo>
                          <a:pt x="414" y="229"/>
                        </a:lnTo>
                        <a:lnTo>
                          <a:pt x="417" y="265"/>
                        </a:lnTo>
                        <a:lnTo>
                          <a:pt x="422" y="301"/>
                        </a:lnTo>
                        <a:lnTo>
                          <a:pt x="425" y="338"/>
                        </a:lnTo>
                        <a:lnTo>
                          <a:pt x="430" y="375"/>
                        </a:lnTo>
                        <a:lnTo>
                          <a:pt x="435" y="414"/>
                        </a:lnTo>
                        <a:lnTo>
                          <a:pt x="450" y="418"/>
                        </a:lnTo>
                        <a:lnTo>
                          <a:pt x="441" y="450"/>
                        </a:lnTo>
                        <a:lnTo>
                          <a:pt x="428" y="450"/>
                        </a:lnTo>
                        <a:lnTo>
                          <a:pt x="377" y="449"/>
                        </a:lnTo>
                        <a:lnTo>
                          <a:pt x="326" y="448"/>
                        </a:lnTo>
                        <a:lnTo>
                          <a:pt x="264" y="447"/>
                        </a:lnTo>
                        <a:lnTo>
                          <a:pt x="247" y="462"/>
                        </a:lnTo>
                        <a:lnTo>
                          <a:pt x="245" y="462"/>
                        </a:lnTo>
                        <a:lnTo>
                          <a:pt x="233" y="459"/>
                        </a:lnTo>
                        <a:lnTo>
                          <a:pt x="226" y="447"/>
                        </a:lnTo>
                        <a:lnTo>
                          <a:pt x="225" y="438"/>
                        </a:lnTo>
                        <a:lnTo>
                          <a:pt x="221" y="436"/>
                        </a:lnTo>
                        <a:lnTo>
                          <a:pt x="217" y="436"/>
                        </a:lnTo>
                        <a:lnTo>
                          <a:pt x="216" y="435"/>
                        </a:lnTo>
                        <a:lnTo>
                          <a:pt x="214" y="435"/>
                        </a:lnTo>
                        <a:lnTo>
                          <a:pt x="213" y="435"/>
                        </a:lnTo>
                        <a:lnTo>
                          <a:pt x="210" y="442"/>
                        </a:lnTo>
                        <a:lnTo>
                          <a:pt x="206" y="450"/>
                        </a:lnTo>
                        <a:lnTo>
                          <a:pt x="202" y="462"/>
                        </a:lnTo>
                        <a:lnTo>
                          <a:pt x="185" y="477"/>
                        </a:lnTo>
                        <a:lnTo>
                          <a:pt x="181" y="473"/>
                        </a:lnTo>
                        <a:lnTo>
                          <a:pt x="176" y="473"/>
                        </a:lnTo>
                        <a:lnTo>
                          <a:pt x="175" y="471"/>
                        </a:lnTo>
                        <a:lnTo>
                          <a:pt x="174" y="466"/>
                        </a:lnTo>
                        <a:lnTo>
                          <a:pt x="172" y="465"/>
                        </a:lnTo>
                        <a:lnTo>
                          <a:pt x="168" y="463"/>
                        </a:lnTo>
                        <a:lnTo>
                          <a:pt x="165" y="463"/>
                        </a:lnTo>
                        <a:lnTo>
                          <a:pt x="162" y="462"/>
                        </a:lnTo>
                        <a:lnTo>
                          <a:pt x="161" y="459"/>
                        </a:lnTo>
                        <a:lnTo>
                          <a:pt x="157" y="458"/>
                        </a:lnTo>
                        <a:lnTo>
                          <a:pt x="161" y="456"/>
                        </a:lnTo>
                        <a:lnTo>
                          <a:pt x="157" y="454"/>
                        </a:lnTo>
                        <a:lnTo>
                          <a:pt x="156" y="452"/>
                        </a:lnTo>
                        <a:lnTo>
                          <a:pt x="154" y="448"/>
                        </a:lnTo>
                        <a:lnTo>
                          <a:pt x="153" y="448"/>
                        </a:lnTo>
                        <a:lnTo>
                          <a:pt x="151" y="449"/>
                        </a:lnTo>
                        <a:lnTo>
                          <a:pt x="150" y="448"/>
                        </a:lnTo>
                        <a:lnTo>
                          <a:pt x="149" y="446"/>
                        </a:lnTo>
                        <a:lnTo>
                          <a:pt x="147" y="443"/>
                        </a:lnTo>
                        <a:lnTo>
                          <a:pt x="144" y="442"/>
                        </a:lnTo>
                        <a:lnTo>
                          <a:pt x="144" y="439"/>
                        </a:lnTo>
                        <a:lnTo>
                          <a:pt x="140" y="432"/>
                        </a:lnTo>
                        <a:lnTo>
                          <a:pt x="134" y="423"/>
                        </a:lnTo>
                        <a:lnTo>
                          <a:pt x="131" y="423"/>
                        </a:lnTo>
                        <a:lnTo>
                          <a:pt x="128" y="425"/>
                        </a:lnTo>
                        <a:lnTo>
                          <a:pt x="126" y="424"/>
                        </a:lnTo>
                        <a:lnTo>
                          <a:pt x="126" y="421"/>
                        </a:lnTo>
                        <a:lnTo>
                          <a:pt x="123" y="423"/>
                        </a:lnTo>
                        <a:lnTo>
                          <a:pt x="119" y="423"/>
                        </a:lnTo>
                        <a:lnTo>
                          <a:pt x="114" y="420"/>
                        </a:lnTo>
                        <a:lnTo>
                          <a:pt x="113" y="415"/>
                        </a:lnTo>
                        <a:lnTo>
                          <a:pt x="105" y="408"/>
                        </a:lnTo>
                        <a:lnTo>
                          <a:pt x="101" y="408"/>
                        </a:lnTo>
                        <a:lnTo>
                          <a:pt x="99" y="405"/>
                        </a:lnTo>
                        <a:lnTo>
                          <a:pt x="96" y="406"/>
                        </a:lnTo>
                        <a:lnTo>
                          <a:pt x="95" y="405"/>
                        </a:lnTo>
                        <a:lnTo>
                          <a:pt x="83" y="405"/>
                        </a:lnTo>
                        <a:lnTo>
                          <a:pt x="78" y="404"/>
                        </a:lnTo>
                        <a:lnTo>
                          <a:pt x="75" y="404"/>
                        </a:lnTo>
                        <a:lnTo>
                          <a:pt x="70" y="404"/>
                        </a:lnTo>
                        <a:lnTo>
                          <a:pt x="70" y="406"/>
                        </a:lnTo>
                        <a:lnTo>
                          <a:pt x="68" y="407"/>
                        </a:lnTo>
                        <a:lnTo>
                          <a:pt x="63" y="406"/>
                        </a:lnTo>
                        <a:lnTo>
                          <a:pt x="54" y="408"/>
                        </a:lnTo>
                        <a:lnTo>
                          <a:pt x="54" y="410"/>
                        </a:lnTo>
                        <a:lnTo>
                          <a:pt x="48" y="411"/>
                        </a:lnTo>
                        <a:lnTo>
                          <a:pt x="41" y="408"/>
                        </a:lnTo>
                        <a:lnTo>
                          <a:pt x="35" y="408"/>
                        </a:lnTo>
                        <a:lnTo>
                          <a:pt x="29" y="408"/>
                        </a:lnTo>
                        <a:lnTo>
                          <a:pt x="28" y="410"/>
                        </a:lnTo>
                        <a:lnTo>
                          <a:pt x="25" y="410"/>
                        </a:lnTo>
                        <a:lnTo>
                          <a:pt x="22" y="417"/>
                        </a:lnTo>
                        <a:lnTo>
                          <a:pt x="19" y="423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6" name="Freeform 134"/>
                  <p:cNvSpPr>
                    <a:spLocks/>
                  </p:cNvSpPr>
                  <p:nvPr/>
                </p:nvSpPr>
                <p:spPr bwMode="auto">
                  <a:xfrm>
                    <a:off x="2541" y="2432"/>
                    <a:ext cx="38" cy="48"/>
                  </a:xfrm>
                  <a:custGeom>
                    <a:avLst/>
                    <a:gdLst>
                      <a:gd name="T0" fmla="*/ 6893 w 35"/>
                      <a:gd name="T1" fmla="*/ 2 h 46"/>
                      <a:gd name="T2" fmla="*/ 7330 w 35"/>
                      <a:gd name="T3" fmla="*/ 0 h 46"/>
                      <a:gd name="T4" fmla="*/ 7734 w 35"/>
                      <a:gd name="T5" fmla="*/ 0 h 46"/>
                      <a:gd name="T6" fmla="*/ 7958 w 35"/>
                      <a:gd name="T7" fmla="*/ 2 h 46"/>
                      <a:gd name="T8" fmla="*/ 7958 w 35"/>
                      <a:gd name="T9" fmla="*/ 241 h 46"/>
                      <a:gd name="T10" fmla="*/ 7734 w 35"/>
                      <a:gd name="T11" fmla="*/ 297 h 46"/>
                      <a:gd name="T12" fmla="*/ 6893 w 35"/>
                      <a:gd name="T13" fmla="*/ 337 h 46"/>
                      <a:gd name="T14" fmla="*/ 5386 w 35"/>
                      <a:gd name="T15" fmla="*/ 400 h 46"/>
                      <a:gd name="T16" fmla="*/ 4569 w 35"/>
                      <a:gd name="T17" fmla="*/ 454 h 46"/>
                      <a:gd name="T18" fmla="*/ 2569 w 35"/>
                      <a:gd name="T19" fmla="*/ 638 h 46"/>
                      <a:gd name="T20" fmla="*/ 1849 w 35"/>
                      <a:gd name="T21" fmla="*/ 744 h 46"/>
                      <a:gd name="T22" fmla="*/ 4 w 35"/>
                      <a:gd name="T23" fmla="*/ 744 h 46"/>
                      <a:gd name="T24" fmla="*/ 3 w 35"/>
                      <a:gd name="T25" fmla="*/ 713 h 46"/>
                      <a:gd name="T26" fmla="*/ 3 w 35"/>
                      <a:gd name="T27" fmla="*/ 638 h 46"/>
                      <a:gd name="T28" fmla="*/ 1 w 35"/>
                      <a:gd name="T29" fmla="*/ 638 h 46"/>
                      <a:gd name="T30" fmla="*/ 0 w 35"/>
                      <a:gd name="T31" fmla="*/ 638 h 46"/>
                      <a:gd name="T32" fmla="*/ 0 w 35"/>
                      <a:gd name="T33" fmla="*/ 517 h 46"/>
                      <a:gd name="T34" fmla="*/ 3 w 35"/>
                      <a:gd name="T35" fmla="*/ 417 h 46"/>
                      <a:gd name="T36" fmla="*/ 2366 w 35"/>
                      <a:gd name="T37" fmla="*/ 297 h 46"/>
                      <a:gd name="T38" fmla="*/ 4961 w 35"/>
                      <a:gd name="T39" fmla="*/ 9 h 46"/>
                      <a:gd name="T40" fmla="*/ 6043 w 35"/>
                      <a:gd name="T41" fmla="*/ 4 h 46"/>
                      <a:gd name="T42" fmla="*/ 6893 w 35"/>
                      <a:gd name="T43" fmla="*/ 2 h 4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35"/>
                      <a:gd name="T67" fmla="*/ 0 h 46"/>
                      <a:gd name="T68" fmla="*/ 35 w 35"/>
                      <a:gd name="T69" fmla="*/ 46 h 46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35" h="46">
                        <a:moveTo>
                          <a:pt x="30" y="2"/>
                        </a:moveTo>
                        <a:lnTo>
                          <a:pt x="32" y="0"/>
                        </a:lnTo>
                        <a:lnTo>
                          <a:pt x="34" y="0"/>
                        </a:lnTo>
                        <a:lnTo>
                          <a:pt x="35" y="2"/>
                        </a:lnTo>
                        <a:lnTo>
                          <a:pt x="35" y="14"/>
                        </a:lnTo>
                        <a:lnTo>
                          <a:pt x="34" y="19"/>
                        </a:lnTo>
                        <a:lnTo>
                          <a:pt x="30" y="22"/>
                        </a:lnTo>
                        <a:lnTo>
                          <a:pt x="24" y="26"/>
                        </a:lnTo>
                        <a:lnTo>
                          <a:pt x="20" y="29"/>
                        </a:lnTo>
                        <a:lnTo>
                          <a:pt x="12" y="39"/>
                        </a:lnTo>
                        <a:lnTo>
                          <a:pt x="8" y="46"/>
                        </a:lnTo>
                        <a:lnTo>
                          <a:pt x="4" y="46"/>
                        </a:lnTo>
                        <a:lnTo>
                          <a:pt x="3" y="44"/>
                        </a:lnTo>
                        <a:lnTo>
                          <a:pt x="3" y="39"/>
                        </a:lnTo>
                        <a:lnTo>
                          <a:pt x="1" y="39"/>
                        </a:lnTo>
                        <a:lnTo>
                          <a:pt x="0" y="39"/>
                        </a:lnTo>
                        <a:lnTo>
                          <a:pt x="0" y="32"/>
                        </a:lnTo>
                        <a:lnTo>
                          <a:pt x="3" y="27"/>
                        </a:lnTo>
                        <a:lnTo>
                          <a:pt x="11" y="19"/>
                        </a:lnTo>
                        <a:lnTo>
                          <a:pt x="22" y="9"/>
                        </a:lnTo>
                        <a:lnTo>
                          <a:pt x="27" y="4"/>
                        </a:lnTo>
                        <a:lnTo>
                          <a:pt x="30" y="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7" name="Freeform 135"/>
                  <p:cNvSpPr>
                    <a:spLocks/>
                  </p:cNvSpPr>
                  <p:nvPr/>
                </p:nvSpPr>
                <p:spPr bwMode="auto">
                  <a:xfrm>
                    <a:off x="1818" y="1940"/>
                    <a:ext cx="85" cy="75"/>
                  </a:xfrm>
                  <a:custGeom>
                    <a:avLst/>
                    <a:gdLst>
                      <a:gd name="T0" fmla="*/ 3230 w 80"/>
                      <a:gd name="T1" fmla="*/ 2272 h 71"/>
                      <a:gd name="T2" fmla="*/ 3865 w 80"/>
                      <a:gd name="T3" fmla="*/ 2136 h 71"/>
                      <a:gd name="T4" fmla="*/ 4153 w 80"/>
                      <a:gd name="T5" fmla="*/ 1914 h 71"/>
                      <a:gd name="T6" fmla="*/ 4364 w 80"/>
                      <a:gd name="T7" fmla="*/ 1727 h 71"/>
                      <a:gd name="T8" fmla="*/ 4374 w 80"/>
                      <a:gd name="T9" fmla="*/ 1635 h 71"/>
                      <a:gd name="T10" fmla="*/ 4111 w 80"/>
                      <a:gd name="T11" fmla="*/ 1243 h 71"/>
                      <a:gd name="T12" fmla="*/ 3865 w 80"/>
                      <a:gd name="T13" fmla="*/ 1243 h 71"/>
                      <a:gd name="T14" fmla="*/ 3511 w 80"/>
                      <a:gd name="T15" fmla="*/ 1243 h 71"/>
                      <a:gd name="T16" fmla="*/ 3230 w 80"/>
                      <a:gd name="T17" fmla="*/ 1114 h 71"/>
                      <a:gd name="T18" fmla="*/ 2856 w 80"/>
                      <a:gd name="T19" fmla="*/ 1177 h 71"/>
                      <a:gd name="T20" fmla="*/ 2161 w 80"/>
                      <a:gd name="T21" fmla="*/ 1114 h 71"/>
                      <a:gd name="T22" fmla="*/ 2034 w 80"/>
                      <a:gd name="T23" fmla="*/ 543 h 71"/>
                      <a:gd name="T24" fmla="*/ 1758 w 80"/>
                      <a:gd name="T25" fmla="*/ 413 h 71"/>
                      <a:gd name="T26" fmla="*/ 1558 w 80"/>
                      <a:gd name="T27" fmla="*/ 7 h 71"/>
                      <a:gd name="T28" fmla="*/ 1380 w 80"/>
                      <a:gd name="T29" fmla="*/ 4 h 71"/>
                      <a:gd name="T30" fmla="*/ 753 w 80"/>
                      <a:gd name="T31" fmla="*/ 0 h 71"/>
                      <a:gd name="T32" fmla="*/ 591 w 80"/>
                      <a:gd name="T33" fmla="*/ 2 h 71"/>
                      <a:gd name="T34" fmla="*/ 7 w 80"/>
                      <a:gd name="T35" fmla="*/ 4 h 71"/>
                      <a:gd name="T36" fmla="*/ 3 w 80"/>
                      <a:gd name="T37" fmla="*/ 5 h 71"/>
                      <a:gd name="T38" fmla="*/ 0 w 80"/>
                      <a:gd name="T39" fmla="*/ 413 h 71"/>
                      <a:gd name="T40" fmla="*/ 0 w 80"/>
                      <a:gd name="T41" fmla="*/ 514 h 71"/>
                      <a:gd name="T42" fmla="*/ 2 w 80"/>
                      <a:gd name="T43" fmla="*/ 606 h 71"/>
                      <a:gd name="T44" fmla="*/ 5 w 80"/>
                      <a:gd name="T45" fmla="*/ 714 h 71"/>
                      <a:gd name="T46" fmla="*/ 7 w 80"/>
                      <a:gd name="T47" fmla="*/ 1106 h 71"/>
                      <a:gd name="T48" fmla="*/ 591 w 80"/>
                      <a:gd name="T49" fmla="*/ 1243 h 71"/>
                      <a:gd name="T50" fmla="*/ 800 w 80"/>
                      <a:gd name="T51" fmla="*/ 1537 h 71"/>
                      <a:gd name="T52" fmla="*/ 1380 w 80"/>
                      <a:gd name="T53" fmla="*/ 1635 h 71"/>
                      <a:gd name="T54" fmla="*/ 1501 w 80"/>
                      <a:gd name="T55" fmla="*/ 1914 h 71"/>
                      <a:gd name="T56" fmla="*/ 1758 w 80"/>
                      <a:gd name="T57" fmla="*/ 2432 h 71"/>
                      <a:gd name="T58" fmla="*/ 2161 w 80"/>
                      <a:gd name="T59" fmla="*/ 2659 h 71"/>
                      <a:gd name="T60" fmla="*/ 2380 w 80"/>
                      <a:gd name="T61" fmla="*/ 2659 h 71"/>
                      <a:gd name="T62" fmla="*/ 2687 w 80"/>
                      <a:gd name="T63" fmla="*/ 2272 h 71"/>
                      <a:gd name="T64" fmla="*/ 3033 w 80"/>
                      <a:gd name="T65" fmla="*/ 2272 h 71"/>
                      <a:gd name="T66" fmla="*/ 3230 w 80"/>
                      <a:gd name="T67" fmla="*/ 2272 h 71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w 80"/>
                      <a:gd name="T103" fmla="*/ 0 h 71"/>
                      <a:gd name="T104" fmla="*/ 80 w 80"/>
                      <a:gd name="T105" fmla="*/ 71 h 71"/>
                    </a:gdLst>
                    <a:ahLst/>
                    <a:cxnLst>
                      <a:cxn ang="T68">
                        <a:pos x="T0" y="T1"/>
                      </a:cxn>
                      <a:cxn ang="T69">
                        <a:pos x="T2" y="T3"/>
                      </a:cxn>
                      <a:cxn ang="T70">
                        <a:pos x="T4" y="T5"/>
                      </a:cxn>
                      <a:cxn ang="T71">
                        <a:pos x="T6" y="T7"/>
                      </a:cxn>
                      <a:cxn ang="T72">
                        <a:pos x="T8" y="T9"/>
                      </a:cxn>
                      <a:cxn ang="T73">
                        <a:pos x="T10" y="T11"/>
                      </a:cxn>
                      <a:cxn ang="T74">
                        <a:pos x="T12" y="T13"/>
                      </a:cxn>
                      <a:cxn ang="T75">
                        <a:pos x="T14" y="T15"/>
                      </a:cxn>
                      <a:cxn ang="T76">
                        <a:pos x="T16" y="T17"/>
                      </a:cxn>
                      <a:cxn ang="T77">
                        <a:pos x="T18" y="T19"/>
                      </a:cxn>
                      <a:cxn ang="T78">
                        <a:pos x="T20" y="T21"/>
                      </a:cxn>
                      <a:cxn ang="T79">
                        <a:pos x="T22" y="T23"/>
                      </a:cxn>
                      <a:cxn ang="T80">
                        <a:pos x="T24" y="T25"/>
                      </a:cxn>
                      <a:cxn ang="T81">
                        <a:pos x="T26" y="T27"/>
                      </a:cxn>
                      <a:cxn ang="T82">
                        <a:pos x="T28" y="T29"/>
                      </a:cxn>
                      <a:cxn ang="T83">
                        <a:pos x="T30" y="T31"/>
                      </a:cxn>
                      <a:cxn ang="T84">
                        <a:pos x="T32" y="T33"/>
                      </a:cxn>
                      <a:cxn ang="T85">
                        <a:pos x="T34" y="T35"/>
                      </a:cxn>
                      <a:cxn ang="T86">
                        <a:pos x="T36" y="T37"/>
                      </a:cxn>
                      <a:cxn ang="T87">
                        <a:pos x="T38" y="T39"/>
                      </a:cxn>
                      <a:cxn ang="T88">
                        <a:pos x="T40" y="T41"/>
                      </a:cxn>
                      <a:cxn ang="T89">
                        <a:pos x="T42" y="T43"/>
                      </a:cxn>
                      <a:cxn ang="T90">
                        <a:pos x="T44" y="T45"/>
                      </a:cxn>
                      <a:cxn ang="T91">
                        <a:pos x="T46" y="T47"/>
                      </a:cxn>
                      <a:cxn ang="T92">
                        <a:pos x="T48" y="T49"/>
                      </a:cxn>
                      <a:cxn ang="T93">
                        <a:pos x="T50" y="T51"/>
                      </a:cxn>
                      <a:cxn ang="T94">
                        <a:pos x="T52" y="T53"/>
                      </a:cxn>
                      <a:cxn ang="T95">
                        <a:pos x="T54" y="T55"/>
                      </a:cxn>
                      <a:cxn ang="T96">
                        <a:pos x="T56" y="T57"/>
                      </a:cxn>
                      <a:cxn ang="T97">
                        <a:pos x="T58" y="T59"/>
                      </a:cxn>
                      <a:cxn ang="T98">
                        <a:pos x="T60" y="T61"/>
                      </a:cxn>
                      <a:cxn ang="T99">
                        <a:pos x="T62" y="T63"/>
                      </a:cxn>
                      <a:cxn ang="T100">
                        <a:pos x="T64" y="T65"/>
                      </a:cxn>
                      <a:cxn ang="T101">
                        <a:pos x="T66" y="T67"/>
                      </a:cxn>
                    </a:cxnLst>
                    <a:rect l="T102" t="T103" r="T104" b="T105"/>
                    <a:pathLst>
                      <a:path w="80" h="71">
                        <a:moveTo>
                          <a:pt x="59" y="61"/>
                        </a:moveTo>
                        <a:lnTo>
                          <a:pt x="69" y="57"/>
                        </a:lnTo>
                        <a:lnTo>
                          <a:pt x="76" y="51"/>
                        </a:lnTo>
                        <a:lnTo>
                          <a:pt x="78" y="46"/>
                        </a:lnTo>
                        <a:lnTo>
                          <a:pt x="80" y="44"/>
                        </a:lnTo>
                        <a:lnTo>
                          <a:pt x="74" y="34"/>
                        </a:lnTo>
                        <a:lnTo>
                          <a:pt x="69" y="34"/>
                        </a:lnTo>
                        <a:lnTo>
                          <a:pt x="64" y="34"/>
                        </a:lnTo>
                        <a:lnTo>
                          <a:pt x="59" y="30"/>
                        </a:lnTo>
                        <a:lnTo>
                          <a:pt x="52" y="32"/>
                        </a:lnTo>
                        <a:lnTo>
                          <a:pt x="39" y="30"/>
                        </a:lnTo>
                        <a:lnTo>
                          <a:pt x="37" y="15"/>
                        </a:lnTo>
                        <a:lnTo>
                          <a:pt x="32" y="10"/>
                        </a:lnTo>
                        <a:lnTo>
                          <a:pt x="28" y="7"/>
                        </a:lnTo>
                        <a:lnTo>
                          <a:pt x="24" y="4"/>
                        </a:lnTo>
                        <a:lnTo>
                          <a:pt x="14" y="0"/>
                        </a:lnTo>
                        <a:lnTo>
                          <a:pt x="10" y="2"/>
                        </a:lnTo>
                        <a:lnTo>
                          <a:pt x="7" y="4"/>
                        </a:lnTo>
                        <a:lnTo>
                          <a:pt x="3" y="5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2" y="17"/>
                        </a:lnTo>
                        <a:lnTo>
                          <a:pt x="5" y="20"/>
                        </a:lnTo>
                        <a:lnTo>
                          <a:pt x="7" y="29"/>
                        </a:lnTo>
                        <a:lnTo>
                          <a:pt x="10" y="34"/>
                        </a:lnTo>
                        <a:lnTo>
                          <a:pt x="15" y="41"/>
                        </a:lnTo>
                        <a:lnTo>
                          <a:pt x="24" y="44"/>
                        </a:lnTo>
                        <a:lnTo>
                          <a:pt x="27" y="51"/>
                        </a:lnTo>
                        <a:lnTo>
                          <a:pt x="32" y="66"/>
                        </a:lnTo>
                        <a:lnTo>
                          <a:pt x="39" y="71"/>
                        </a:lnTo>
                        <a:lnTo>
                          <a:pt x="42" y="71"/>
                        </a:lnTo>
                        <a:lnTo>
                          <a:pt x="48" y="61"/>
                        </a:lnTo>
                        <a:lnTo>
                          <a:pt x="54" y="61"/>
                        </a:lnTo>
                        <a:lnTo>
                          <a:pt x="59" y="6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8" name="Freeform 136"/>
                  <p:cNvSpPr>
                    <a:spLocks/>
                  </p:cNvSpPr>
                  <p:nvPr/>
                </p:nvSpPr>
                <p:spPr bwMode="auto">
                  <a:xfrm>
                    <a:off x="2767" y="2341"/>
                    <a:ext cx="35" cy="86"/>
                  </a:xfrm>
                  <a:custGeom>
                    <a:avLst/>
                    <a:gdLst>
                      <a:gd name="T0" fmla="*/ 7 w 33"/>
                      <a:gd name="T1" fmla="*/ 0 h 82"/>
                      <a:gd name="T2" fmla="*/ 2 w 33"/>
                      <a:gd name="T3" fmla="*/ 4 h 82"/>
                      <a:gd name="T4" fmla="*/ 0 w 33"/>
                      <a:gd name="T5" fmla="*/ 309 h 82"/>
                      <a:gd name="T6" fmla="*/ 0 w 33"/>
                      <a:gd name="T7" fmla="*/ 497 h 82"/>
                      <a:gd name="T8" fmla="*/ 2 w 33"/>
                      <a:gd name="T9" fmla="*/ 795 h 82"/>
                      <a:gd name="T10" fmla="*/ 6 w 33"/>
                      <a:gd name="T11" fmla="*/ 918 h 82"/>
                      <a:gd name="T12" fmla="*/ 6 w 33"/>
                      <a:gd name="T13" fmla="*/ 1165 h 82"/>
                      <a:gd name="T14" fmla="*/ 7 w 33"/>
                      <a:gd name="T15" fmla="*/ 1268 h 82"/>
                      <a:gd name="T16" fmla="*/ 549 w 33"/>
                      <a:gd name="T17" fmla="*/ 1330 h 82"/>
                      <a:gd name="T18" fmla="*/ 878 w 33"/>
                      <a:gd name="T19" fmla="*/ 1463 h 82"/>
                      <a:gd name="T20" fmla="*/ 1177 w 33"/>
                      <a:gd name="T21" fmla="*/ 1552 h 82"/>
                      <a:gd name="T22" fmla="*/ 1404 w 33"/>
                      <a:gd name="T23" fmla="*/ 1877 h 82"/>
                      <a:gd name="T24" fmla="*/ 1579 w 33"/>
                      <a:gd name="T25" fmla="*/ 1884 h 82"/>
                      <a:gd name="T26" fmla="*/ 1404 w 33"/>
                      <a:gd name="T27" fmla="*/ 1628 h 82"/>
                      <a:gd name="T28" fmla="*/ 1110 w 33"/>
                      <a:gd name="T29" fmla="*/ 1411 h 82"/>
                      <a:gd name="T30" fmla="*/ 781 w 33"/>
                      <a:gd name="T31" fmla="*/ 1268 h 82"/>
                      <a:gd name="T32" fmla="*/ 736 w 33"/>
                      <a:gd name="T33" fmla="*/ 1010 h 82"/>
                      <a:gd name="T34" fmla="*/ 654 w 33"/>
                      <a:gd name="T35" fmla="*/ 762 h 82"/>
                      <a:gd name="T36" fmla="*/ 781 w 33"/>
                      <a:gd name="T37" fmla="*/ 661 h 82"/>
                      <a:gd name="T38" fmla="*/ 654 w 33"/>
                      <a:gd name="T39" fmla="*/ 452 h 82"/>
                      <a:gd name="T40" fmla="*/ 654 w 33"/>
                      <a:gd name="T41" fmla="*/ 309 h 82"/>
                      <a:gd name="T42" fmla="*/ 549 w 33"/>
                      <a:gd name="T43" fmla="*/ 6 h 82"/>
                      <a:gd name="T44" fmla="*/ 7 w 33"/>
                      <a:gd name="T45" fmla="*/ 0 h 82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33"/>
                      <a:gd name="T70" fmla="*/ 0 h 82"/>
                      <a:gd name="T71" fmla="*/ 33 w 33"/>
                      <a:gd name="T72" fmla="*/ 82 h 82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33" h="82">
                        <a:moveTo>
                          <a:pt x="7" y="0"/>
                        </a:moveTo>
                        <a:lnTo>
                          <a:pt x="2" y="4"/>
                        </a:lnTo>
                        <a:lnTo>
                          <a:pt x="0" y="13"/>
                        </a:lnTo>
                        <a:lnTo>
                          <a:pt x="0" y="23"/>
                        </a:lnTo>
                        <a:lnTo>
                          <a:pt x="2" y="34"/>
                        </a:lnTo>
                        <a:lnTo>
                          <a:pt x="6" y="40"/>
                        </a:lnTo>
                        <a:lnTo>
                          <a:pt x="6" y="50"/>
                        </a:lnTo>
                        <a:lnTo>
                          <a:pt x="7" y="54"/>
                        </a:lnTo>
                        <a:lnTo>
                          <a:pt x="11" y="57"/>
                        </a:lnTo>
                        <a:lnTo>
                          <a:pt x="19" y="63"/>
                        </a:lnTo>
                        <a:lnTo>
                          <a:pt x="24" y="67"/>
                        </a:lnTo>
                        <a:lnTo>
                          <a:pt x="29" y="81"/>
                        </a:lnTo>
                        <a:lnTo>
                          <a:pt x="33" y="82"/>
                        </a:lnTo>
                        <a:lnTo>
                          <a:pt x="29" y="70"/>
                        </a:lnTo>
                        <a:lnTo>
                          <a:pt x="23" y="61"/>
                        </a:lnTo>
                        <a:lnTo>
                          <a:pt x="17" y="54"/>
                        </a:lnTo>
                        <a:lnTo>
                          <a:pt x="16" y="44"/>
                        </a:lnTo>
                        <a:lnTo>
                          <a:pt x="14" y="33"/>
                        </a:lnTo>
                        <a:lnTo>
                          <a:pt x="17" y="29"/>
                        </a:lnTo>
                        <a:lnTo>
                          <a:pt x="14" y="21"/>
                        </a:lnTo>
                        <a:lnTo>
                          <a:pt x="14" y="13"/>
                        </a:lnTo>
                        <a:lnTo>
                          <a:pt x="11" y="6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39" name="Freeform 137"/>
                  <p:cNvSpPr>
                    <a:spLocks/>
                  </p:cNvSpPr>
                  <p:nvPr/>
                </p:nvSpPr>
                <p:spPr bwMode="auto">
                  <a:xfrm>
                    <a:off x="2767" y="2341"/>
                    <a:ext cx="35" cy="86"/>
                  </a:xfrm>
                  <a:custGeom>
                    <a:avLst/>
                    <a:gdLst>
                      <a:gd name="T0" fmla="*/ 7 w 33"/>
                      <a:gd name="T1" fmla="*/ 0 h 82"/>
                      <a:gd name="T2" fmla="*/ 2 w 33"/>
                      <a:gd name="T3" fmla="*/ 4 h 82"/>
                      <a:gd name="T4" fmla="*/ 0 w 33"/>
                      <a:gd name="T5" fmla="*/ 309 h 82"/>
                      <a:gd name="T6" fmla="*/ 0 w 33"/>
                      <a:gd name="T7" fmla="*/ 497 h 82"/>
                      <a:gd name="T8" fmla="*/ 2 w 33"/>
                      <a:gd name="T9" fmla="*/ 795 h 82"/>
                      <a:gd name="T10" fmla="*/ 6 w 33"/>
                      <a:gd name="T11" fmla="*/ 918 h 82"/>
                      <a:gd name="T12" fmla="*/ 6 w 33"/>
                      <a:gd name="T13" fmla="*/ 1165 h 82"/>
                      <a:gd name="T14" fmla="*/ 7 w 33"/>
                      <a:gd name="T15" fmla="*/ 1268 h 82"/>
                      <a:gd name="T16" fmla="*/ 549 w 33"/>
                      <a:gd name="T17" fmla="*/ 1330 h 82"/>
                      <a:gd name="T18" fmla="*/ 878 w 33"/>
                      <a:gd name="T19" fmla="*/ 1463 h 82"/>
                      <a:gd name="T20" fmla="*/ 1177 w 33"/>
                      <a:gd name="T21" fmla="*/ 1552 h 82"/>
                      <a:gd name="T22" fmla="*/ 1404 w 33"/>
                      <a:gd name="T23" fmla="*/ 1877 h 82"/>
                      <a:gd name="T24" fmla="*/ 1579 w 33"/>
                      <a:gd name="T25" fmla="*/ 1884 h 82"/>
                      <a:gd name="T26" fmla="*/ 1404 w 33"/>
                      <a:gd name="T27" fmla="*/ 1628 h 82"/>
                      <a:gd name="T28" fmla="*/ 1110 w 33"/>
                      <a:gd name="T29" fmla="*/ 1411 h 82"/>
                      <a:gd name="T30" fmla="*/ 781 w 33"/>
                      <a:gd name="T31" fmla="*/ 1268 h 82"/>
                      <a:gd name="T32" fmla="*/ 736 w 33"/>
                      <a:gd name="T33" fmla="*/ 1010 h 82"/>
                      <a:gd name="T34" fmla="*/ 654 w 33"/>
                      <a:gd name="T35" fmla="*/ 762 h 82"/>
                      <a:gd name="T36" fmla="*/ 781 w 33"/>
                      <a:gd name="T37" fmla="*/ 661 h 82"/>
                      <a:gd name="T38" fmla="*/ 654 w 33"/>
                      <a:gd name="T39" fmla="*/ 452 h 82"/>
                      <a:gd name="T40" fmla="*/ 654 w 33"/>
                      <a:gd name="T41" fmla="*/ 309 h 82"/>
                      <a:gd name="T42" fmla="*/ 549 w 33"/>
                      <a:gd name="T43" fmla="*/ 6 h 82"/>
                      <a:gd name="T44" fmla="*/ 7 w 33"/>
                      <a:gd name="T45" fmla="*/ 0 h 82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33"/>
                      <a:gd name="T70" fmla="*/ 0 h 82"/>
                      <a:gd name="T71" fmla="*/ 33 w 33"/>
                      <a:gd name="T72" fmla="*/ 82 h 82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33" h="82">
                        <a:moveTo>
                          <a:pt x="7" y="0"/>
                        </a:moveTo>
                        <a:lnTo>
                          <a:pt x="2" y="4"/>
                        </a:lnTo>
                        <a:lnTo>
                          <a:pt x="0" y="13"/>
                        </a:lnTo>
                        <a:lnTo>
                          <a:pt x="0" y="23"/>
                        </a:lnTo>
                        <a:lnTo>
                          <a:pt x="2" y="34"/>
                        </a:lnTo>
                        <a:lnTo>
                          <a:pt x="6" y="40"/>
                        </a:lnTo>
                        <a:lnTo>
                          <a:pt x="6" y="50"/>
                        </a:lnTo>
                        <a:lnTo>
                          <a:pt x="7" y="54"/>
                        </a:lnTo>
                        <a:lnTo>
                          <a:pt x="11" y="57"/>
                        </a:lnTo>
                        <a:lnTo>
                          <a:pt x="19" y="63"/>
                        </a:lnTo>
                        <a:lnTo>
                          <a:pt x="24" y="67"/>
                        </a:lnTo>
                        <a:lnTo>
                          <a:pt x="29" y="81"/>
                        </a:lnTo>
                        <a:lnTo>
                          <a:pt x="33" y="82"/>
                        </a:lnTo>
                        <a:lnTo>
                          <a:pt x="29" y="70"/>
                        </a:lnTo>
                        <a:lnTo>
                          <a:pt x="23" y="61"/>
                        </a:lnTo>
                        <a:lnTo>
                          <a:pt x="17" y="54"/>
                        </a:lnTo>
                        <a:lnTo>
                          <a:pt x="16" y="44"/>
                        </a:lnTo>
                        <a:lnTo>
                          <a:pt x="14" y="33"/>
                        </a:lnTo>
                        <a:lnTo>
                          <a:pt x="17" y="29"/>
                        </a:lnTo>
                        <a:lnTo>
                          <a:pt x="14" y="21"/>
                        </a:lnTo>
                        <a:lnTo>
                          <a:pt x="14" y="13"/>
                        </a:lnTo>
                        <a:lnTo>
                          <a:pt x="11" y="6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0" name="Freeform 138"/>
                  <p:cNvSpPr>
                    <a:spLocks/>
                  </p:cNvSpPr>
                  <p:nvPr/>
                </p:nvSpPr>
                <p:spPr bwMode="auto">
                  <a:xfrm>
                    <a:off x="2595" y="2509"/>
                    <a:ext cx="126" cy="132"/>
                  </a:xfrm>
                  <a:custGeom>
                    <a:avLst/>
                    <a:gdLst>
                      <a:gd name="T0" fmla="*/ 6631 w 118"/>
                      <a:gd name="T1" fmla="*/ 525 h 125"/>
                      <a:gd name="T2" fmla="*/ 7081 w 118"/>
                      <a:gd name="T3" fmla="*/ 1012 h 125"/>
                      <a:gd name="T4" fmla="*/ 7787 w 118"/>
                      <a:gd name="T5" fmla="*/ 859 h 125"/>
                      <a:gd name="T6" fmla="*/ 9071 w 118"/>
                      <a:gd name="T7" fmla="*/ 770 h 125"/>
                      <a:gd name="T8" fmla="*/ 8203 w 118"/>
                      <a:gd name="T9" fmla="*/ 1102 h 125"/>
                      <a:gd name="T10" fmla="*/ 7134 w 118"/>
                      <a:gd name="T11" fmla="*/ 1229 h 125"/>
                      <a:gd name="T12" fmla="*/ 7483 w 118"/>
                      <a:gd name="T13" fmla="*/ 1811 h 125"/>
                      <a:gd name="T14" fmla="*/ 6631 w 118"/>
                      <a:gd name="T15" fmla="*/ 2119 h 125"/>
                      <a:gd name="T16" fmla="*/ 6631 w 118"/>
                      <a:gd name="T17" fmla="*/ 2377 h 125"/>
                      <a:gd name="T18" fmla="*/ 6257 w 118"/>
                      <a:gd name="T19" fmla="*/ 2534 h 125"/>
                      <a:gd name="T20" fmla="*/ 5860 w 118"/>
                      <a:gd name="T21" fmla="*/ 2651 h 125"/>
                      <a:gd name="T22" fmla="*/ 5488 w 118"/>
                      <a:gd name="T23" fmla="*/ 2984 h 125"/>
                      <a:gd name="T24" fmla="*/ 5049 w 118"/>
                      <a:gd name="T25" fmla="*/ 3104 h 125"/>
                      <a:gd name="T26" fmla="*/ 4728 w 118"/>
                      <a:gd name="T27" fmla="*/ 3297 h 125"/>
                      <a:gd name="T28" fmla="*/ 5049 w 118"/>
                      <a:gd name="T29" fmla="*/ 3477 h 125"/>
                      <a:gd name="T30" fmla="*/ 5860 w 118"/>
                      <a:gd name="T31" fmla="*/ 3547 h 125"/>
                      <a:gd name="T32" fmla="*/ 5391 w 118"/>
                      <a:gd name="T33" fmla="*/ 3878 h 125"/>
                      <a:gd name="T34" fmla="*/ 4608 w 118"/>
                      <a:gd name="T35" fmla="*/ 3918 h 125"/>
                      <a:gd name="T36" fmla="*/ 3784 w 118"/>
                      <a:gd name="T37" fmla="*/ 3956 h 125"/>
                      <a:gd name="T38" fmla="*/ 3703 w 118"/>
                      <a:gd name="T39" fmla="*/ 4369 h 125"/>
                      <a:gd name="T40" fmla="*/ 3190 w 118"/>
                      <a:gd name="T41" fmla="*/ 4077 h 125"/>
                      <a:gd name="T42" fmla="*/ 2668 w 118"/>
                      <a:gd name="T43" fmla="*/ 4100 h 125"/>
                      <a:gd name="T44" fmla="*/ 1800 w 118"/>
                      <a:gd name="T45" fmla="*/ 3746 h 125"/>
                      <a:gd name="T46" fmla="*/ 1215 w 118"/>
                      <a:gd name="T47" fmla="*/ 3801 h 125"/>
                      <a:gd name="T48" fmla="*/ 935 w 118"/>
                      <a:gd name="T49" fmla="*/ 4077 h 125"/>
                      <a:gd name="T50" fmla="*/ 5 w 118"/>
                      <a:gd name="T51" fmla="*/ 4330 h 125"/>
                      <a:gd name="T52" fmla="*/ 3 w 118"/>
                      <a:gd name="T53" fmla="*/ 3918 h 125"/>
                      <a:gd name="T54" fmla="*/ 1 w 118"/>
                      <a:gd name="T55" fmla="*/ 2799 h 125"/>
                      <a:gd name="T56" fmla="*/ 4 w 118"/>
                      <a:gd name="T57" fmla="*/ 2007 h 125"/>
                      <a:gd name="T58" fmla="*/ 0 w 118"/>
                      <a:gd name="T59" fmla="*/ 1705 h 125"/>
                      <a:gd name="T60" fmla="*/ 7 w 118"/>
                      <a:gd name="T61" fmla="*/ 770 h 125"/>
                      <a:gd name="T62" fmla="*/ 1066 w 118"/>
                      <a:gd name="T63" fmla="*/ 585 h 125"/>
                      <a:gd name="T64" fmla="*/ 1922 w 118"/>
                      <a:gd name="T65" fmla="*/ 400 h 125"/>
                      <a:gd name="T66" fmla="*/ 2499 w 118"/>
                      <a:gd name="T67" fmla="*/ 400 h 125"/>
                      <a:gd name="T68" fmla="*/ 2849 w 118"/>
                      <a:gd name="T69" fmla="*/ 7 h 125"/>
                      <a:gd name="T70" fmla="*/ 3884 w 118"/>
                      <a:gd name="T71" fmla="*/ 422 h 125"/>
                      <a:gd name="T72" fmla="*/ 4805 w 118"/>
                      <a:gd name="T73" fmla="*/ 4 h 125"/>
                      <a:gd name="T74" fmla="*/ 5860 w 118"/>
                      <a:gd name="T75" fmla="*/ 4 h 125"/>
                      <a:gd name="T76" fmla="*/ 6631 w 118"/>
                      <a:gd name="T77" fmla="*/ 4 h 125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118"/>
                      <a:gd name="T118" fmla="*/ 0 h 125"/>
                      <a:gd name="T119" fmla="*/ 118 w 118"/>
                      <a:gd name="T120" fmla="*/ 125 h 125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118" h="125">
                        <a:moveTo>
                          <a:pt x="87" y="4"/>
                        </a:moveTo>
                        <a:lnTo>
                          <a:pt x="87" y="15"/>
                        </a:lnTo>
                        <a:lnTo>
                          <a:pt x="91" y="21"/>
                        </a:lnTo>
                        <a:lnTo>
                          <a:pt x="93" y="27"/>
                        </a:lnTo>
                        <a:lnTo>
                          <a:pt x="98" y="25"/>
                        </a:lnTo>
                        <a:lnTo>
                          <a:pt x="103" y="24"/>
                        </a:lnTo>
                        <a:lnTo>
                          <a:pt x="110" y="22"/>
                        </a:lnTo>
                        <a:lnTo>
                          <a:pt x="118" y="22"/>
                        </a:lnTo>
                        <a:lnTo>
                          <a:pt x="118" y="25"/>
                        </a:lnTo>
                        <a:lnTo>
                          <a:pt x="109" y="30"/>
                        </a:lnTo>
                        <a:lnTo>
                          <a:pt x="103" y="34"/>
                        </a:lnTo>
                        <a:lnTo>
                          <a:pt x="95" y="34"/>
                        </a:lnTo>
                        <a:lnTo>
                          <a:pt x="90" y="44"/>
                        </a:lnTo>
                        <a:lnTo>
                          <a:pt x="97" y="50"/>
                        </a:lnTo>
                        <a:lnTo>
                          <a:pt x="88" y="53"/>
                        </a:lnTo>
                        <a:lnTo>
                          <a:pt x="87" y="58"/>
                        </a:lnTo>
                        <a:lnTo>
                          <a:pt x="88" y="62"/>
                        </a:lnTo>
                        <a:lnTo>
                          <a:pt x="87" y="65"/>
                        </a:lnTo>
                        <a:lnTo>
                          <a:pt x="84" y="63"/>
                        </a:lnTo>
                        <a:lnTo>
                          <a:pt x="83" y="70"/>
                        </a:lnTo>
                        <a:lnTo>
                          <a:pt x="78" y="70"/>
                        </a:lnTo>
                        <a:lnTo>
                          <a:pt x="78" y="73"/>
                        </a:lnTo>
                        <a:lnTo>
                          <a:pt x="75" y="78"/>
                        </a:lnTo>
                        <a:lnTo>
                          <a:pt x="73" y="82"/>
                        </a:lnTo>
                        <a:lnTo>
                          <a:pt x="70" y="82"/>
                        </a:lnTo>
                        <a:lnTo>
                          <a:pt x="66" y="84"/>
                        </a:lnTo>
                        <a:lnTo>
                          <a:pt x="70" y="86"/>
                        </a:lnTo>
                        <a:lnTo>
                          <a:pt x="62" y="91"/>
                        </a:lnTo>
                        <a:lnTo>
                          <a:pt x="61" y="93"/>
                        </a:lnTo>
                        <a:lnTo>
                          <a:pt x="66" y="95"/>
                        </a:lnTo>
                        <a:lnTo>
                          <a:pt x="76" y="95"/>
                        </a:lnTo>
                        <a:lnTo>
                          <a:pt x="78" y="98"/>
                        </a:lnTo>
                        <a:lnTo>
                          <a:pt x="78" y="99"/>
                        </a:lnTo>
                        <a:lnTo>
                          <a:pt x="70" y="106"/>
                        </a:lnTo>
                        <a:lnTo>
                          <a:pt x="65" y="108"/>
                        </a:lnTo>
                        <a:lnTo>
                          <a:pt x="61" y="108"/>
                        </a:lnTo>
                        <a:lnTo>
                          <a:pt x="53" y="108"/>
                        </a:lnTo>
                        <a:lnTo>
                          <a:pt x="50" y="109"/>
                        </a:lnTo>
                        <a:lnTo>
                          <a:pt x="49" y="116"/>
                        </a:lnTo>
                        <a:lnTo>
                          <a:pt x="49" y="120"/>
                        </a:lnTo>
                        <a:lnTo>
                          <a:pt x="44" y="125"/>
                        </a:lnTo>
                        <a:lnTo>
                          <a:pt x="42" y="111"/>
                        </a:lnTo>
                        <a:lnTo>
                          <a:pt x="39" y="110"/>
                        </a:lnTo>
                        <a:lnTo>
                          <a:pt x="35" y="113"/>
                        </a:lnTo>
                        <a:lnTo>
                          <a:pt x="30" y="110"/>
                        </a:lnTo>
                        <a:lnTo>
                          <a:pt x="23" y="103"/>
                        </a:lnTo>
                        <a:lnTo>
                          <a:pt x="20" y="99"/>
                        </a:lnTo>
                        <a:lnTo>
                          <a:pt x="17" y="104"/>
                        </a:lnTo>
                        <a:lnTo>
                          <a:pt x="18" y="111"/>
                        </a:lnTo>
                        <a:lnTo>
                          <a:pt x="13" y="111"/>
                        </a:lnTo>
                        <a:lnTo>
                          <a:pt x="11" y="116"/>
                        </a:lnTo>
                        <a:lnTo>
                          <a:pt x="5" y="119"/>
                        </a:lnTo>
                        <a:lnTo>
                          <a:pt x="1" y="113"/>
                        </a:lnTo>
                        <a:lnTo>
                          <a:pt x="3" y="108"/>
                        </a:lnTo>
                        <a:lnTo>
                          <a:pt x="0" y="92"/>
                        </a:lnTo>
                        <a:lnTo>
                          <a:pt x="1" y="77"/>
                        </a:lnTo>
                        <a:lnTo>
                          <a:pt x="3" y="68"/>
                        </a:lnTo>
                        <a:lnTo>
                          <a:pt x="4" y="55"/>
                        </a:lnTo>
                        <a:lnTo>
                          <a:pt x="3" y="50"/>
                        </a:lnTo>
                        <a:lnTo>
                          <a:pt x="0" y="46"/>
                        </a:lnTo>
                        <a:lnTo>
                          <a:pt x="8" y="27"/>
                        </a:lnTo>
                        <a:lnTo>
                          <a:pt x="7" y="22"/>
                        </a:lnTo>
                        <a:lnTo>
                          <a:pt x="7" y="19"/>
                        </a:lnTo>
                        <a:lnTo>
                          <a:pt x="15" y="17"/>
                        </a:lnTo>
                        <a:lnTo>
                          <a:pt x="22" y="15"/>
                        </a:lnTo>
                        <a:lnTo>
                          <a:pt x="25" y="10"/>
                        </a:lnTo>
                        <a:lnTo>
                          <a:pt x="29" y="11"/>
                        </a:lnTo>
                        <a:lnTo>
                          <a:pt x="33" y="10"/>
                        </a:lnTo>
                        <a:lnTo>
                          <a:pt x="34" y="5"/>
                        </a:lnTo>
                        <a:lnTo>
                          <a:pt x="37" y="7"/>
                        </a:lnTo>
                        <a:lnTo>
                          <a:pt x="45" y="9"/>
                        </a:lnTo>
                        <a:lnTo>
                          <a:pt x="51" y="11"/>
                        </a:lnTo>
                        <a:lnTo>
                          <a:pt x="59" y="0"/>
                        </a:lnTo>
                        <a:lnTo>
                          <a:pt x="63" y="4"/>
                        </a:lnTo>
                        <a:lnTo>
                          <a:pt x="73" y="7"/>
                        </a:lnTo>
                        <a:lnTo>
                          <a:pt x="78" y="4"/>
                        </a:lnTo>
                        <a:lnTo>
                          <a:pt x="85" y="5"/>
                        </a:lnTo>
                        <a:lnTo>
                          <a:pt x="87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1" name="Freeform 140"/>
                  <p:cNvSpPr>
                    <a:spLocks/>
                  </p:cNvSpPr>
                  <p:nvPr/>
                </p:nvSpPr>
                <p:spPr bwMode="auto">
                  <a:xfrm>
                    <a:off x="2486" y="2658"/>
                    <a:ext cx="82" cy="220"/>
                  </a:xfrm>
                  <a:custGeom>
                    <a:avLst/>
                    <a:gdLst>
                      <a:gd name="T0" fmla="*/ 7 w 77"/>
                      <a:gd name="T1" fmla="*/ 0 h 209"/>
                      <a:gd name="T2" fmla="*/ 647 w 77"/>
                      <a:gd name="T3" fmla="*/ 3 h 209"/>
                      <a:gd name="T4" fmla="*/ 689 w 77"/>
                      <a:gd name="T5" fmla="*/ 9 h 209"/>
                      <a:gd name="T6" fmla="*/ 734 w 77"/>
                      <a:gd name="T7" fmla="*/ 452 h 209"/>
                      <a:gd name="T8" fmla="*/ 734 w 77"/>
                      <a:gd name="T9" fmla="*/ 681 h 209"/>
                      <a:gd name="T10" fmla="*/ 782 w 77"/>
                      <a:gd name="T11" fmla="*/ 894 h 209"/>
                      <a:gd name="T12" fmla="*/ 1006 w 77"/>
                      <a:gd name="T13" fmla="*/ 1043 h 209"/>
                      <a:gd name="T14" fmla="*/ 1294 w 77"/>
                      <a:gd name="T15" fmla="*/ 1156 h 209"/>
                      <a:gd name="T16" fmla="*/ 1215 w 77"/>
                      <a:gd name="T17" fmla="*/ 1573 h 209"/>
                      <a:gd name="T18" fmla="*/ 1294 w 77"/>
                      <a:gd name="T19" fmla="*/ 1929 h 209"/>
                      <a:gd name="T20" fmla="*/ 1467 w 77"/>
                      <a:gd name="T21" fmla="*/ 2000 h 209"/>
                      <a:gd name="T22" fmla="*/ 1743 w 77"/>
                      <a:gd name="T23" fmla="*/ 2105 h 209"/>
                      <a:gd name="T24" fmla="*/ 1663 w 77"/>
                      <a:gd name="T25" fmla="*/ 2373 h 209"/>
                      <a:gd name="T26" fmla="*/ 1771 w 77"/>
                      <a:gd name="T27" fmla="*/ 2677 h 209"/>
                      <a:gd name="T28" fmla="*/ 1886 w 77"/>
                      <a:gd name="T29" fmla="*/ 2949 h 209"/>
                      <a:gd name="T30" fmla="*/ 1856 w 77"/>
                      <a:gd name="T31" fmla="*/ 3066 h 209"/>
                      <a:gd name="T32" fmla="*/ 1562 w 77"/>
                      <a:gd name="T33" fmla="*/ 3174 h 209"/>
                      <a:gd name="T34" fmla="*/ 1743 w 77"/>
                      <a:gd name="T35" fmla="*/ 3459 h 209"/>
                      <a:gd name="T36" fmla="*/ 2750 w 77"/>
                      <a:gd name="T37" fmla="*/ 3759 h 209"/>
                      <a:gd name="T38" fmla="*/ 3538 w 77"/>
                      <a:gd name="T39" fmla="*/ 4102 h 209"/>
                      <a:gd name="T40" fmla="*/ 3538 w 77"/>
                      <a:gd name="T41" fmla="*/ 4247 h 209"/>
                      <a:gd name="T42" fmla="*/ 3538 w 77"/>
                      <a:gd name="T43" fmla="*/ 4615 h 209"/>
                      <a:gd name="T44" fmla="*/ 3836 w 77"/>
                      <a:gd name="T45" fmla="*/ 5036 h 209"/>
                      <a:gd name="T46" fmla="*/ 4205 w 77"/>
                      <a:gd name="T47" fmla="*/ 5301 h 209"/>
                      <a:gd name="T48" fmla="*/ 4350 w 77"/>
                      <a:gd name="T49" fmla="*/ 5558 h 209"/>
                      <a:gd name="T50" fmla="*/ 4907 w 77"/>
                      <a:gd name="T51" fmla="*/ 5964 h 209"/>
                      <a:gd name="T52" fmla="*/ 4552 w 77"/>
                      <a:gd name="T53" fmla="*/ 6183 h 209"/>
                      <a:gd name="T54" fmla="*/ 4013 w 77"/>
                      <a:gd name="T55" fmla="*/ 5964 h 209"/>
                      <a:gd name="T56" fmla="*/ 3768 w 77"/>
                      <a:gd name="T57" fmla="*/ 5964 h 209"/>
                      <a:gd name="T58" fmla="*/ 3538 w 77"/>
                      <a:gd name="T59" fmla="*/ 5964 h 209"/>
                      <a:gd name="T60" fmla="*/ 3538 w 77"/>
                      <a:gd name="T61" fmla="*/ 5739 h 209"/>
                      <a:gd name="T62" fmla="*/ 3538 w 77"/>
                      <a:gd name="T63" fmla="*/ 5655 h 209"/>
                      <a:gd name="T64" fmla="*/ 3364 w 77"/>
                      <a:gd name="T65" fmla="*/ 5474 h 209"/>
                      <a:gd name="T66" fmla="*/ 3119 w 77"/>
                      <a:gd name="T67" fmla="*/ 4706 h 209"/>
                      <a:gd name="T68" fmla="*/ 2708 w 77"/>
                      <a:gd name="T69" fmla="*/ 4471 h 209"/>
                      <a:gd name="T70" fmla="*/ 1977 w 77"/>
                      <a:gd name="T71" fmla="*/ 4412 h 209"/>
                      <a:gd name="T72" fmla="*/ 1467 w 77"/>
                      <a:gd name="T73" fmla="*/ 4165 h 209"/>
                      <a:gd name="T74" fmla="*/ 1071 w 77"/>
                      <a:gd name="T75" fmla="*/ 3981 h 209"/>
                      <a:gd name="T76" fmla="*/ 782 w 77"/>
                      <a:gd name="T77" fmla="*/ 3620 h 209"/>
                      <a:gd name="T78" fmla="*/ 647 w 77"/>
                      <a:gd name="T79" fmla="*/ 3459 h 209"/>
                      <a:gd name="T80" fmla="*/ 7 w 77"/>
                      <a:gd name="T81" fmla="*/ 3174 h 209"/>
                      <a:gd name="T82" fmla="*/ 608 w 77"/>
                      <a:gd name="T83" fmla="*/ 2864 h 209"/>
                      <a:gd name="T84" fmla="*/ 608 w 77"/>
                      <a:gd name="T85" fmla="*/ 2662 h 209"/>
                      <a:gd name="T86" fmla="*/ 4 w 77"/>
                      <a:gd name="T87" fmla="*/ 2373 h 209"/>
                      <a:gd name="T88" fmla="*/ 0 w 77"/>
                      <a:gd name="T89" fmla="*/ 2031 h 209"/>
                      <a:gd name="T90" fmla="*/ 1 w 77"/>
                      <a:gd name="T91" fmla="*/ 1656 h 209"/>
                      <a:gd name="T92" fmla="*/ 4 w 77"/>
                      <a:gd name="T93" fmla="*/ 1156 h 209"/>
                      <a:gd name="T94" fmla="*/ 3 w 77"/>
                      <a:gd name="T95" fmla="*/ 991 h 209"/>
                      <a:gd name="T96" fmla="*/ 1 w 77"/>
                      <a:gd name="T97" fmla="*/ 1027 h 209"/>
                      <a:gd name="T98" fmla="*/ 0 w 77"/>
                      <a:gd name="T99" fmla="*/ 941 h 209"/>
                      <a:gd name="T100" fmla="*/ 1 w 77"/>
                      <a:gd name="T101" fmla="*/ 681 h 209"/>
                      <a:gd name="T102" fmla="*/ 4 w 77"/>
                      <a:gd name="T103" fmla="*/ 388 h 209"/>
                      <a:gd name="T104" fmla="*/ 6 w 77"/>
                      <a:gd name="T105" fmla="*/ 6 h 209"/>
                      <a:gd name="T106" fmla="*/ 7 w 77"/>
                      <a:gd name="T107" fmla="*/ 0 h 209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w 77"/>
                      <a:gd name="T163" fmla="*/ 0 h 209"/>
                      <a:gd name="T164" fmla="*/ 77 w 77"/>
                      <a:gd name="T165" fmla="*/ 209 h 209"/>
                    </a:gdLst>
                    <a:ahLst/>
                    <a:cxnLst>
                      <a:cxn ang="T108">
                        <a:pos x="T0" y="T1"/>
                      </a:cxn>
                      <a:cxn ang="T109">
                        <a:pos x="T2" y="T3"/>
                      </a:cxn>
                      <a:cxn ang="T110">
                        <a:pos x="T4" y="T5"/>
                      </a:cxn>
                      <a:cxn ang="T111">
                        <a:pos x="T6" y="T7"/>
                      </a:cxn>
                      <a:cxn ang="T112">
                        <a:pos x="T8" y="T9"/>
                      </a:cxn>
                      <a:cxn ang="T113">
                        <a:pos x="T10" y="T11"/>
                      </a:cxn>
                      <a:cxn ang="T114">
                        <a:pos x="T12" y="T13"/>
                      </a:cxn>
                      <a:cxn ang="T115">
                        <a:pos x="T14" y="T15"/>
                      </a:cxn>
                      <a:cxn ang="T116">
                        <a:pos x="T16" y="T17"/>
                      </a:cxn>
                      <a:cxn ang="T117">
                        <a:pos x="T18" y="T19"/>
                      </a:cxn>
                      <a:cxn ang="T118">
                        <a:pos x="T20" y="T21"/>
                      </a:cxn>
                      <a:cxn ang="T119">
                        <a:pos x="T22" y="T23"/>
                      </a:cxn>
                      <a:cxn ang="T120">
                        <a:pos x="T24" y="T25"/>
                      </a:cxn>
                      <a:cxn ang="T121">
                        <a:pos x="T26" y="T27"/>
                      </a:cxn>
                      <a:cxn ang="T122">
                        <a:pos x="T28" y="T29"/>
                      </a:cxn>
                      <a:cxn ang="T123">
                        <a:pos x="T30" y="T31"/>
                      </a:cxn>
                      <a:cxn ang="T124">
                        <a:pos x="T32" y="T33"/>
                      </a:cxn>
                      <a:cxn ang="T125">
                        <a:pos x="T34" y="T35"/>
                      </a:cxn>
                      <a:cxn ang="T126">
                        <a:pos x="T36" y="T37"/>
                      </a:cxn>
                      <a:cxn ang="T127">
                        <a:pos x="T38" y="T39"/>
                      </a:cxn>
                      <a:cxn ang="T128">
                        <a:pos x="T40" y="T41"/>
                      </a:cxn>
                      <a:cxn ang="T129">
                        <a:pos x="T42" y="T43"/>
                      </a:cxn>
                      <a:cxn ang="T130">
                        <a:pos x="T44" y="T45"/>
                      </a:cxn>
                      <a:cxn ang="T131">
                        <a:pos x="T46" y="T47"/>
                      </a:cxn>
                      <a:cxn ang="T132">
                        <a:pos x="T48" y="T49"/>
                      </a:cxn>
                      <a:cxn ang="T133">
                        <a:pos x="T50" y="T51"/>
                      </a:cxn>
                      <a:cxn ang="T134">
                        <a:pos x="T52" y="T53"/>
                      </a:cxn>
                      <a:cxn ang="T135">
                        <a:pos x="T54" y="T55"/>
                      </a:cxn>
                      <a:cxn ang="T136">
                        <a:pos x="T56" y="T57"/>
                      </a:cxn>
                      <a:cxn ang="T137">
                        <a:pos x="T58" y="T59"/>
                      </a:cxn>
                      <a:cxn ang="T138">
                        <a:pos x="T60" y="T61"/>
                      </a:cxn>
                      <a:cxn ang="T139">
                        <a:pos x="T62" y="T63"/>
                      </a:cxn>
                      <a:cxn ang="T140">
                        <a:pos x="T64" y="T65"/>
                      </a:cxn>
                      <a:cxn ang="T141">
                        <a:pos x="T66" y="T67"/>
                      </a:cxn>
                      <a:cxn ang="T142">
                        <a:pos x="T68" y="T69"/>
                      </a:cxn>
                      <a:cxn ang="T143">
                        <a:pos x="T70" y="T71"/>
                      </a:cxn>
                      <a:cxn ang="T144">
                        <a:pos x="T72" y="T73"/>
                      </a:cxn>
                      <a:cxn ang="T145">
                        <a:pos x="T74" y="T75"/>
                      </a:cxn>
                      <a:cxn ang="T146">
                        <a:pos x="T76" y="T77"/>
                      </a:cxn>
                      <a:cxn ang="T147">
                        <a:pos x="T78" y="T79"/>
                      </a:cxn>
                      <a:cxn ang="T148">
                        <a:pos x="T80" y="T81"/>
                      </a:cxn>
                      <a:cxn ang="T149">
                        <a:pos x="T82" y="T83"/>
                      </a:cxn>
                      <a:cxn ang="T150">
                        <a:pos x="T84" y="T85"/>
                      </a:cxn>
                      <a:cxn ang="T151">
                        <a:pos x="T86" y="T87"/>
                      </a:cxn>
                      <a:cxn ang="T152">
                        <a:pos x="T88" y="T89"/>
                      </a:cxn>
                      <a:cxn ang="T153">
                        <a:pos x="T90" y="T91"/>
                      </a:cxn>
                      <a:cxn ang="T154">
                        <a:pos x="T92" y="T93"/>
                      </a:cxn>
                      <a:cxn ang="T155">
                        <a:pos x="T94" y="T95"/>
                      </a:cxn>
                      <a:cxn ang="T156">
                        <a:pos x="T96" y="T97"/>
                      </a:cxn>
                      <a:cxn ang="T157">
                        <a:pos x="T98" y="T99"/>
                      </a:cxn>
                      <a:cxn ang="T158">
                        <a:pos x="T100" y="T101"/>
                      </a:cxn>
                      <a:cxn ang="T159">
                        <a:pos x="T102" y="T103"/>
                      </a:cxn>
                      <a:cxn ang="T160">
                        <a:pos x="T104" y="T105"/>
                      </a:cxn>
                      <a:cxn ang="T161">
                        <a:pos x="T106" y="T107"/>
                      </a:cxn>
                    </a:cxnLst>
                    <a:rect l="T162" t="T163" r="T164" b="T165"/>
                    <a:pathLst>
                      <a:path w="77" h="209">
                        <a:moveTo>
                          <a:pt x="7" y="0"/>
                        </a:moveTo>
                        <a:lnTo>
                          <a:pt x="10" y="3"/>
                        </a:lnTo>
                        <a:lnTo>
                          <a:pt x="11" y="9"/>
                        </a:lnTo>
                        <a:lnTo>
                          <a:pt x="12" y="16"/>
                        </a:lnTo>
                        <a:lnTo>
                          <a:pt x="12" y="24"/>
                        </a:lnTo>
                        <a:lnTo>
                          <a:pt x="13" y="30"/>
                        </a:lnTo>
                        <a:lnTo>
                          <a:pt x="17" y="36"/>
                        </a:lnTo>
                        <a:lnTo>
                          <a:pt x="21" y="40"/>
                        </a:lnTo>
                        <a:lnTo>
                          <a:pt x="20" y="54"/>
                        </a:lnTo>
                        <a:lnTo>
                          <a:pt x="21" y="65"/>
                        </a:lnTo>
                        <a:lnTo>
                          <a:pt x="23" y="67"/>
                        </a:lnTo>
                        <a:lnTo>
                          <a:pt x="27" y="71"/>
                        </a:lnTo>
                        <a:lnTo>
                          <a:pt x="26" y="81"/>
                        </a:lnTo>
                        <a:lnTo>
                          <a:pt x="28" y="91"/>
                        </a:lnTo>
                        <a:lnTo>
                          <a:pt x="30" y="100"/>
                        </a:lnTo>
                        <a:lnTo>
                          <a:pt x="29" y="104"/>
                        </a:lnTo>
                        <a:lnTo>
                          <a:pt x="24" y="107"/>
                        </a:lnTo>
                        <a:lnTo>
                          <a:pt x="27" y="118"/>
                        </a:lnTo>
                        <a:lnTo>
                          <a:pt x="43" y="126"/>
                        </a:lnTo>
                        <a:lnTo>
                          <a:pt x="55" y="139"/>
                        </a:lnTo>
                        <a:lnTo>
                          <a:pt x="55" y="145"/>
                        </a:lnTo>
                        <a:lnTo>
                          <a:pt x="55" y="155"/>
                        </a:lnTo>
                        <a:lnTo>
                          <a:pt x="61" y="171"/>
                        </a:lnTo>
                        <a:lnTo>
                          <a:pt x="66" y="180"/>
                        </a:lnTo>
                        <a:lnTo>
                          <a:pt x="69" y="188"/>
                        </a:lnTo>
                        <a:lnTo>
                          <a:pt x="77" y="201"/>
                        </a:lnTo>
                        <a:lnTo>
                          <a:pt x="71" y="209"/>
                        </a:lnTo>
                        <a:lnTo>
                          <a:pt x="63" y="201"/>
                        </a:lnTo>
                        <a:lnTo>
                          <a:pt x="59" y="201"/>
                        </a:lnTo>
                        <a:lnTo>
                          <a:pt x="55" y="201"/>
                        </a:lnTo>
                        <a:lnTo>
                          <a:pt x="55" y="194"/>
                        </a:lnTo>
                        <a:lnTo>
                          <a:pt x="55" y="190"/>
                        </a:lnTo>
                        <a:lnTo>
                          <a:pt x="53" y="186"/>
                        </a:lnTo>
                        <a:lnTo>
                          <a:pt x="49" y="161"/>
                        </a:lnTo>
                        <a:lnTo>
                          <a:pt x="42" y="153"/>
                        </a:lnTo>
                        <a:lnTo>
                          <a:pt x="31" y="149"/>
                        </a:lnTo>
                        <a:lnTo>
                          <a:pt x="23" y="140"/>
                        </a:lnTo>
                        <a:lnTo>
                          <a:pt x="18" y="135"/>
                        </a:lnTo>
                        <a:lnTo>
                          <a:pt x="13" y="123"/>
                        </a:lnTo>
                        <a:lnTo>
                          <a:pt x="10" y="118"/>
                        </a:lnTo>
                        <a:lnTo>
                          <a:pt x="7" y="107"/>
                        </a:lnTo>
                        <a:lnTo>
                          <a:pt x="9" y="97"/>
                        </a:lnTo>
                        <a:lnTo>
                          <a:pt x="9" y="90"/>
                        </a:lnTo>
                        <a:lnTo>
                          <a:pt x="4" y="81"/>
                        </a:lnTo>
                        <a:lnTo>
                          <a:pt x="0" y="68"/>
                        </a:lnTo>
                        <a:lnTo>
                          <a:pt x="1" y="57"/>
                        </a:lnTo>
                        <a:lnTo>
                          <a:pt x="4" y="40"/>
                        </a:lnTo>
                        <a:lnTo>
                          <a:pt x="3" y="34"/>
                        </a:lnTo>
                        <a:lnTo>
                          <a:pt x="1" y="35"/>
                        </a:lnTo>
                        <a:lnTo>
                          <a:pt x="0" y="32"/>
                        </a:lnTo>
                        <a:lnTo>
                          <a:pt x="1" y="24"/>
                        </a:lnTo>
                        <a:lnTo>
                          <a:pt x="4" y="13"/>
                        </a:lnTo>
                        <a:lnTo>
                          <a:pt x="6" y="6"/>
                        </a:lnTo>
                        <a:lnTo>
                          <a:pt x="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2" name="Freeform 141"/>
                  <p:cNvSpPr>
                    <a:spLocks/>
                  </p:cNvSpPr>
                  <p:nvPr/>
                </p:nvSpPr>
                <p:spPr bwMode="auto">
                  <a:xfrm>
                    <a:off x="2396" y="3193"/>
                    <a:ext cx="77" cy="54"/>
                  </a:xfrm>
                  <a:custGeom>
                    <a:avLst/>
                    <a:gdLst>
                      <a:gd name="T0" fmla="*/ 5178 w 72"/>
                      <a:gd name="T1" fmla="*/ 1 h 51"/>
                      <a:gd name="T2" fmla="*/ 4814 w 72"/>
                      <a:gd name="T3" fmla="*/ 1 h 51"/>
                      <a:gd name="T4" fmla="*/ 4081 w 72"/>
                      <a:gd name="T5" fmla="*/ 0 h 51"/>
                      <a:gd name="T6" fmla="*/ 3680 w 72"/>
                      <a:gd name="T7" fmla="*/ 2 h 51"/>
                      <a:gd name="T8" fmla="*/ 3578 w 72"/>
                      <a:gd name="T9" fmla="*/ 4 h 51"/>
                      <a:gd name="T10" fmla="*/ 3441 w 72"/>
                      <a:gd name="T11" fmla="*/ 4 h 51"/>
                      <a:gd name="T12" fmla="*/ 3129 w 72"/>
                      <a:gd name="T13" fmla="*/ 484 h 51"/>
                      <a:gd name="T14" fmla="*/ 2558 w 72"/>
                      <a:gd name="T15" fmla="*/ 457 h 51"/>
                      <a:gd name="T16" fmla="*/ 2237 w 72"/>
                      <a:gd name="T17" fmla="*/ 484 h 51"/>
                      <a:gd name="T18" fmla="*/ 2237 w 72"/>
                      <a:gd name="T19" fmla="*/ 512 h 51"/>
                      <a:gd name="T20" fmla="*/ 2084 w 72"/>
                      <a:gd name="T21" fmla="*/ 608 h 51"/>
                      <a:gd name="T22" fmla="*/ 1822 w 72"/>
                      <a:gd name="T23" fmla="*/ 682 h 51"/>
                      <a:gd name="T24" fmla="*/ 1393 w 72"/>
                      <a:gd name="T25" fmla="*/ 1076 h 51"/>
                      <a:gd name="T26" fmla="*/ 871 w 72"/>
                      <a:gd name="T27" fmla="*/ 1351 h 51"/>
                      <a:gd name="T28" fmla="*/ 761 w 72"/>
                      <a:gd name="T29" fmla="*/ 1514 h 51"/>
                      <a:gd name="T30" fmla="*/ 761 w 72"/>
                      <a:gd name="T31" fmla="*/ 1605 h 51"/>
                      <a:gd name="T32" fmla="*/ 6 w 72"/>
                      <a:gd name="T33" fmla="*/ 1797 h 51"/>
                      <a:gd name="T34" fmla="*/ 3 w 72"/>
                      <a:gd name="T35" fmla="*/ 1905 h 51"/>
                      <a:gd name="T36" fmla="*/ 0 w 72"/>
                      <a:gd name="T37" fmla="*/ 2204 h 51"/>
                      <a:gd name="T38" fmla="*/ 3 w 72"/>
                      <a:gd name="T39" fmla="*/ 2204 h 51"/>
                      <a:gd name="T40" fmla="*/ 7 w 72"/>
                      <a:gd name="T41" fmla="*/ 2017 h 51"/>
                      <a:gd name="T42" fmla="*/ 871 w 72"/>
                      <a:gd name="T43" fmla="*/ 1797 h 51"/>
                      <a:gd name="T44" fmla="*/ 1139 w 72"/>
                      <a:gd name="T45" fmla="*/ 1797 h 51"/>
                      <a:gd name="T46" fmla="*/ 1218 w 72"/>
                      <a:gd name="T47" fmla="*/ 1605 h 51"/>
                      <a:gd name="T48" fmla="*/ 1490 w 72"/>
                      <a:gd name="T49" fmla="*/ 1516 h 51"/>
                      <a:gd name="T50" fmla="*/ 1822 w 72"/>
                      <a:gd name="T51" fmla="*/ 1352 h 51"/>
                      <a:gd name="T52" fmla="*/ 2084 w 72"/>
                      <a:gd name="T53" fmla="*/ 1276 h 51"/>
                      <a:gd name="T54" fmla="*/ 2237 w 72"/>
                      <a:gd name="T55" fmla="*/ 1206 h 51"/>
                      <a:gd name="T56" fmla="*/ 2384 w 72"/>
                      <a:gd name="T57" fmla="*/ 1076 h 51"/>
                      <a:gd name="T58" fmla="*/ 2550 w 72"/>
                      <a:gd name="T59" fmla="*/ 1016 h 51"/>
                      <a:gd name="T60" fmla="*/ 2926 w 72"/>
                      <a:gd name="T61" fmla="*/ 857 h 51"/>
                      <a:gd name="T62" fmla="*/ 3129 w 72"/>
                      <a:gd name="T63" fmla="*/ 907 h 51"/>
                      <a:gd name="T64" fmla="*/ 3218 w 72"/>
                      <a:gd name="T65" fmla="*/ 857 h 51"/>
                      <a:gd name="T66" fmla="*/ 3218 w 72"/>
                      <a:gd name="T67" fmla="*/ 764 h 51"/>
                      <a:gd name="T68" fmla="*/ 3218 w 72"/>
                      <a:gd name="T69" fmla="*/ 682 h 51"/>
                      <a:gd name="T70" fmla="*/ 3441 w 72"/>
                      <a:gd name="T71" fmla="*/ 608 h 51"/>
                      <a:gd name="T72" fmla="*/ 3680 w 72"/>
                      <a:gd name="T73" fmla="*/ 574 h 51"/>
                      <a:gd name="T74" fmla="*/ 3936 w 72"/>
                      <a:gd name="T75" fmla="*/ 512 h 51"/>
                      <a:gd name="T76" fmla="*/ 4081 w 72"/>
                      <a:gd name="T77" fmla="*/ 512 h 51"/>
                      <a:gd name="T78" fmla="*/ 4209 w 72"/>
                      <a:gd name="T79" fmla="*/ 574 h 51"/>
                      <a:gd name="T80" fmla="*/ 4376 w 72"/>
                      <a:gd name="T81" fmla="*/ 512 h 51"/>
                      <a:gd name="T82" fmla="*/ 4501 w 72"/>
                      <a:gd name="T83" fmla="*/ 457 h 51"/>
                      <a:gd name="T84" fmla="*/ 4528 w 72"/>
                      <a:gd name="T85" fmla="*/ 432 h 51"/>
                      <a:gd name="T86" fmla="*/ 4842 w 72"/>
                      <a:gd name="T87" fmla="*/ 457 h 51"/>
                      <a:gd name="T88" fmla="*/ 5353 w 72"/>
                      <a:gd name="T89" fmla="*/ 512 h 51"/>
                      <a:gd name="T90" fmla="*/ 5506 w 72"/>
                      <a:gd name="T91" fmla="*/ 512 h 51"/>
                      <a:gd name="T92" fmla="*/ 5725 w 72"/>
                      <a:gd name="T93" fmla="*/ 457 h 51"/>
                      <a:gd name="T94" fmla="*/ 6105 w 72"/>
                      <a:gd name="T95" fmla="*/ 8 h 51"/>
                      <a:gd name="T96" fmla="*/ 5888 w 72"/>
                      <a:gd name="T97" fmla="*/ 5 h 51"/>
                      <a:gd name="T98" fmla="*/ 5178 w 72"/>
                      <a:gd name="T99" fmla="*/ 1 h 51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72"/>
                      <a:gd name="T151" fmla="*/ 0 h 51"/>
                      <a:gd name="T152" fmla="*/ 72 w 72"/>
                      <a:gd name="T153" fmla="*/ 51 h 51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72" h="51">
                        <a:moveTo>
                          <a:pt x="62" y="1"/>
                        </a:moveTo>
                        <a:lnTo>
                          <a:pt x="57" y="1"/>
                        </a:lnTo>
                        <a:lnTo>
                          <a:pt x="48" y="0"/>
                        </a:lnTo>
                        <a:lnTo>
                          <a:pt x="44" y="2"/>
                        </a:lnTo>
                        <a:lnTo>
                          <a:pt x="43" y="4"/>
                        </a:lnTo>
                        <a:lnTo>
                          <a:pt x="41" y="4"/>
                        </a:lnTo>
                        <a:lnTo>
                          <a:pt x="37" y="11"/>
                        </a:lnTo>
                        <a:lnTo>
                          <a:pt x="31" y="10"/>
                        </a:lnTo>
                        <a:lnTo>
                          <a:pt x="27" y="11"/>
                        </a:lnTo>
                        <a:lnTo>
                          <a:pt x="27" y="12"/>
                        </a:lnTo>
                        <a:lnTo>
                          <a:pt x="24" y="15"/>
                        </a:lnTo>
                        <a:lnTo>
                          <a:pt x="21" y="17"/>
                        </a:lnTo>
                        <a:lnTo>
                          <a:pt x="17" y="25"/>
                        </a:lnTo>
                        <a:lnTo>
                          <a:pt x="10" y="31"/>
                        </a:lnTo>
                        <a:lnTo>
                          <a:pt x="8" y="35"/>
                        </a:lnTo>
                        <a:lnTo>
                          <a:pt x="8" y="38"/>
                        </a:lnTo>
                        <a:lnTo>
                          <a:pt x="6" y="41"/>
                        </a:lnTo>
                        <a:lnTo>
                          <a:pt x="3" y="44"/>
                        </a:lnTo>
                        <a:lnTo>
                          <a:pt x="0" y="51"/>
                        </a:lnTo>
                        <a:lnTo>
                          <a:pt x="3" y="51"/>
                        </a:lnTo>
                        <a:lnTo>
                          <a:pt x="7" y="47"/>
                        </a:lnTo>
                        <a:lnTo>
                          <a:pt x="10" y="41"/>
                        </a:lnTo>
                        <a:lnTo>
                          <a:pt x="14" y="41"/>
                        </a:lnTo>
                        <a:lnTo>
                          <a:pt x="15" y="38"/>
                        </a:lnTo>
                        <a:lnTo>
                          <a:pt x="18" y="36"/>
                        </a:lnTo>
                        <a:lnTo>
                          <a:pt x="21" y="32"/>
                        </a:lnTo>
                        <a:lnTo>
                          <a:pt x="24" y="29"/>
                        </a:lnTo>
                        <a:lnTo>
                          <a:pt x="27" y="28"/>
                        </a:lnTo>
                        <a:lnTo>
                          <a:pt x="28" y="25"/>
                        </a:lnTo>
                        <a:lnTo>
                          <a:pt x="30" y="24"/>
                        </a:lnTo>
                        <a:lnTo>
                          <a:pt x="35" y="21"/>
                        </a:lnTo>
                        <a:lnTo>
                          <a:pt x="37" y="22"/>
                        </a:lnTo>
                        <a:lnTo>
                          <a:pt x="38" y="21"/>
                        </a:lnTo>
                        <a:lnTo>
                          <a:pt x="38" y="19"/>
                        </a:lnTo>
                        <a:lnTo>
                          <a:pt x="38" y="17"/>
                        </a:lnTo>
                        <a:lnTo>
                          <a:pt x="41" y="15"/>
                        </a:lnTo>
                        <a:lnTo>
                          <a:pt x="44" y="14"/>
                        </a:lnTo>
                        <a:lnTo>
                          <a:pt x="47" y="12"/>
                        </a:lnTo>
                        <a:lnTo>
                          <a:pt x="48" y="12"/>
                        </a:lnTo>
                        <a:lnTo>
                          <a:pt x="50" y="14"/>
                        </a:lnTo>
                        <a:lnTo>
                          <a:pt x="52" y="12"/>
                        </a:lnTo>
                        <a:lnTo>
                          <a:pt x="53" y="10"/>
                        </a:lnTo>
                        <a:lnTo>
                          <a:pt x="54" y="9"/>
                        </a:lnTo>
                        <a:lnTo>
                          <a:pt x="58" y="10"/>
                        </a:lnTo>
                        <a:lnTo>
                          <a:pt x="64" y="12"/>
                        </a:lnTo>
                        <a:lnTo>
                          <a:pt x="65" y="12"/>
                        </a:lnTo>
                        <a:lnTo>
                          <a:pt x="68" y="10"/>
                        </a:lnTo>
                        <a:lnTo>
                          <a:pt x="72" y="8"/>
                        </a:lnTo>
                        <a:lnTo>
                          <a:pt x="70" y="5"/>
                        </a:lnTo>
                        <a:lnTo>
                          <a:pt x="62" y="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3" name="Freeform 142"/>
                  <p:cNvSpPr>
                    <a:spLocks/>
                  </p:cNvSpPr>
                  <p:nvPr/>
                </p:nvSpPr>
                <p:spPr bwMode="auto">
                  <a:xfrm>
                    <a:off x="2555" y="3154"/>
                    <a:ext cx="59" cy="31"/>
                  </a:xfrm>
                  <a:custGeom>
                    <a:avLst/>
                    <a:gdLst>
                      <a:gd name="T0" fmla="*/ 1367 w 55"/>
                      <a:gd name="T1" fmla="*/ 2368 h 29"/>
                      <a:gd name="T2" fmla="*/ 5 w 55"/>
                      <a:gd name="T3" fmla="*/ 1588 h 29"/>
                      <a:gd name="T4" fmla="*/ 2 w 55"/>
                      <a:gd name="T5" fmla="*/ 1486 h 29"/>
                      <a:gd name="T6" fmla="*/ 0 w 55"/>
                      <a:gd name="T7" fmla="*/ 1138 h 29"/>
                      <a:gd name="T8" fmla="*/ 0 w 55"/>
                      <a:gd name="T9" fmla="*/ 5 h 29"/>
                      <a:gd name="T10" fmla="*/ 2 w 55"/>
                      <a:gd name="T11" fmla="*/ 0 h 29"/>
                      <a:gd name="T12" fmla="*/ 2234 w 55"/>
                      <a:gd name="T13" fmla="*/ 872 h 29"/>
                      <a:gd name="T14" fmla="*/ 4203 w 55"/>
                      <a:gd name="T15" fmla="*/ 0 h 29"/>
                      <a:gd name="T16" fmla="*/ 5693 w 55"/>
                      <a:gd name="T17" fmla="*/ 816 h 29"/>
                      <a:gd name="T18" fmla="*/ 5106 w 55"/>
                      <a:gd name="T19" fmla="*/ 1588 h 29"/>
                      <a:gd name="T20" fmla="*/ 4299 w 55"/>
                      <a:gd name="T21" fmla="*/ 2072 h 29"/>
                      <a:gd name="T22" fmla="*/ 3173 w 55"/>
                      <a:gd name="T23" fmla="*/ 2368 h 29"/>
                      <a:gd name="T24" fmla="*/ 1367 w 55"/>
                      <a:gd name="T25" fmla="*/ 2368 h 2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55"/>
                      <a:gd name="T40" fmla="*/ 0 h 29"/>
                      <a:gd name="T41" fmla="*/ 55 w 55"/>
                      <a:gd name="T42" fmla="*/ 29 h 2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55" h="29">
                        <a:moveTo>
                          <a:pt x="14" y="29"/>
                        </a:moveTo>
                        <a:lnTo>
                          <a:pt x="5" y="20"/>
                        </a:lnTo>
                        <a:lnTo>
                          <a:pt x="2" y="19"/>
                        </a:lnTo>
                        <a:lnTo>
                          <a:pt x="0" y="15"/>
                        </a:lnTo>
                        <a:lnTo>
                          <a:pt x="0" y="5"/>
                        </a:lnTo>
                        <a:lnTo>
                          <a:pt x="2" y="0"/>
                        </a:lnTo>
                        <a:lnTo>
                          <a:pt x="21" y="11"/>
                        </a:lnTo>
                        <a:lnTo>
                          <a:pt x="41" y="0"/>
                        </a:lnTo>
                        <a:lnTo>
                          <a:pt x="55" y="10"/>
                        </a:lnTo>
                        <a:lnTo>
                          <a:pt x="49" y="20"/>
                        </a:lnTo>
                        <a:lnTo>
                          <a:pt x="42" y="25"/>
                        </a:lnTo>
                        <a:lnTo>
                          <a:pt x="31" y="29"/>
                        </a:lnTo>
                        <a:lnTo>
                          <a:pt x="14" y="2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4" name="Freeform 143"/>
                  <p:cNvSpPr>
                    <a:spLocks/>
                  </p:cNvSpPr>
                  <p:nvPr/>
                </p:nvSpPr>
                <p:spPr bwMode="auto">
                  <a:xfrm>
                    <a:off x="2471" y="2871"/>
                    <a:ext cx="31" cy="30"/>
                  </a:xfrm>
                  <a:custGeom>
                    <a:avLst/>
                    <a:gdLst>
                      <a:gd name="T0" fmla="*/ 5 w 29"/>
                      <a:gd name="T1" fmla="*/ 174 h 29"/>
                      <a:gd name="T2" fmla="*/ 816 w 29"/>
                      <a:gd name="T3" fmla="*/ 12 h 29"/>
                      <a:gd name="T4" fmla="*/ 816 w 29"/>
                      <a:gd name="T5" fmla="*/ 4 h 29"/>
                      <a:gd name="T6" fmla="*/ 816 w 29"/>
                      <a:gd name="T7" fmla="*/ 1 h 29"/>
                      <a:gd name="T8" fmla="*/ 1138 w 29"/>
                      <a:gd name="T9" fmla="*/ 0 h 29"/>
                      <a:gd name="T10" fmla="*/ 1216 w 29"/>
                      <a:gd name="T11" fmla="*/ 0 h 29"/>
                      <a:gd name="T12" fmla="*/ 1588 w 29"/>
                      <a:gd name="T13" fmla="*/ 1 h 29"/>
                      <a:gd name="T14" fmla="*/ 1938 w 29"/>
                      <a:gd name="T15" fmla="*/ 3 h 29"/>
                      <a:gd name="T16" fmla="*/ 2074 w 29"/>
                      <a:gd name="T17" fmla="*/ 5 h 29"/>
                      <a:gd name="T18" fmla="*/ 2368 w 29"/>
                      <a:gd name="T19" fmla="*/ 9 h 29"/>
                      <a:gd name="T20" fmla="*/ 2074 w 29"/>
                      <a:gd name="T21" fmla="*/ 12 h 29"/>
                      <a:gd name="T22" fmla="*/ 1938 w 29"/>
                      <a:gd name="T23" fmla="*/ 162 h 29"/>
                      <a:gd name="T24" fmla="*/ 1588 w 29"/>
                      <a:gd name="T25" fmla="*/ 186 h 29"/>
                      <a:gd name="T26" fmla="*/ 1588 w 29"/>
                      <a:gd name="T27" fmla="*/ 199 h 29"/>
                      <a:gd name="T28" fmla="*/ 1390 w 29"/>
                      <a:gd name="T29" fmla="*/ 228 h 29"/>
                      <a:gd name="T30" fmla="*/ 1390 w 29"/>
                      <a:gd name="T31" fmla="*/ 252 h 29"/>
                      <a:gd name="T32" fmla="*/ 1138 w 29"/>
                      <a:gd name="T33" fmla="*/ 252 h 29"/>
                      <a:gd name="T34" fmla="*/ 816 w 29"/>
                      <a:gd name="T35" fmla="*/ 252 h 29"/>
                      <a:gd name="T36" fmla="*/ 5 w 29"/>
                      <a:gd name="T37" fmla="*/ 252 h 29"/>
                      <a:gd name="T38" fmla="*/ 5 w 29"/>
                      <a:gd name="T39" fmla="*/ 252 h 29"/>
                      <a:gd name="T40" fmla="*/ 2 w 29"/>
                      <a:gd name="T41" fmla="*/ 244 h 29"/>
                      <a:gd name="T42" fmla="*/ 0 w 29"/>
                      <a:gd name="T43" fmla="*/ 228 h 29"/>
                      <a:gd name="T44" fmla="*/ 5 w 29"/>
                      <a:gd name="T45" fmla="*/ 174 h 29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w 29"/>
                      <a:gd name="T70" fmla="*/ 0 h 29"/>
                      <a:gd name="T71" fmla="*/ 29 w 29"/>
                      <a:gd name="T72" fmla="*/ 29 h 29"/>
                    </a:gdLst>
                    <a:ahLst/>
                    <a:cxnLst>
                      <a:cxn ang="T46">
                        <a:pos x="T0" y="T1"/>
                      </a:cxn>
                      <a:cxn ang="T47">
                        <a:pos x="T2" y="T3"/>
                      </a:cxn>
                      <a:cxn ang="T48">
                        <a:pos x="T4" y="T5"/>
                      </a:cxn>
                      <a:cxn ang="T49">
                        <a:pos x="T6" y="T7"/>
                      </a:cxn>
                      <a:cxn ang="T50">
                        <a:pos x="T8" y="T9"/>
                      </a:cxn>
                      <a:cxn ang="T51">
                        <a:pos x="T10" y="T11"/>
                      </a:cxn>
                      <a:cxn ang="T52">
                        <a:pos x="T12" y="T13"/>
                      </a:cxn>
                      <a:cxn ang="T53">
                        <a:pos x="T14" y="T15"/>
                      </a:cxn>
                      <a:cxn ang="T54">
                        <a:pos x="T16" y="T17"/>
                      </a:cxn>
                      <a:cxn ang="T55">
                        <a:pos x="T18" y="T19"/>
                      </a:cxn>
                      <a:cxn ang="T56">
                        <a:pos x="T20" y="T21"/>
                      </a:cxn>
                      <a:cxn ang="T57">
                        <a:pos x="T22" y="T23"/>
                      </a:cxn>
                      <a:cxn ang="T58">
                        <a:pos x="T24" y="T25"/>
                      </a:cxn>
                      <a:cxn ang="T59">
                        <a:pos x="T26" y="T27"/>
                      </a:cxn>
                      <a:cxn ang="T60">
                        <a:pos x="T28" y="T29"/>
                      </a:cxn>
                      <a:cxn ang="T61">
                        <a:pos x="T30" y="T31"/>
                      </a:cxn>
                      <a:cxn ang="T62">
                        <a:pos x="T32" y="T33"/>
                      </a:cxn>
                      <a:cxn ang="T63">
                        <a:pos x="T34" y="T35"/>
                      </a:cxn>
                      <a:cxn ang="T64">
                        <a:pos x="T36" y="T37"/>
                      </a:cxn>
                      <a:cxn ang="T65">
                        <a:pos x="T38" y="T39"/>
                      </a:cxn>
                      <a:cxn ang="T66">
                        <a:pos x="T40" y="T41"/>
                      </a:cxn>
                      <a:cxn ang="T67">
                        <a:pos x="T42" y="T43"/>
                      </a:cxn>
                      <a:cxn ang="T68">
                        <a:pos x="T44" y="T45"/>
                      </a:cxn>
                    </a:cxnLst>
                    <a:rect l="T69" t="T70" r="T71" b="T72"/>
                    <a:pathLst>
                      <a:path w="29" h="29">
                        <a:moveTo>
                          <a:pt x="5" y="18"/>
                        </a:moveTo>
                        <a:lnTo>
                          <a:pt x="10" y="12"/>
                        </a:lnTo>
                        <a:lnTo>
                          <a:pt x="10" y="4"/>
                        </a:lnTo>
                        <a:lnTo>
                          <a:pt x="10" y="1"/>
                        </a:lnTo>
                        <a:lnTo>
                          <a:pt x="15" y="0"/>
                        </a:lnTo>
                        <a:lnTo>
                          <a:pt x="16" y="0"/>
                        </a:lnTo>
                        <a:lnTo>
                          <a:pt x="20" y="1"/>
                        </a:lnTo>
                        <a:lnTo>
                          <a:pt x="23" y="3"/>
                        </a:lnTo>
                        <a:lnTo>
                          <a:pt x="26" y="5"/>
                        </a:lnTo>
                        <a:lnTo>
                          <a:pt x="29" y="9"/>
                        </a:lnTo>
                        <a:lnTo>
                          <a:pt x="26" y="12"/>
                        </a:lnTo>
                        <a:lnTo>
                          <a:pt x="23" y="16"/>
                        </a:lnTo>
                        <a:lnTo>
                          <a:pt x="20" y="20"/>
                        </a:lnTo>
                        <a:lnTo>
                          <a:pt x="20" y="22"/>
                        </a:lnTo>
                        <a:lnTo>
                          <a:pt x="18" y="26"/>
                        </a:lnTo>
                        <a:lnTo>
                          <a:pt x="18" y="29"/>
                        </a:lnTo>
                        <a:lnTo>
                          <a:pt x="15" y="29"/>
                        </a:lnTo>
                        <a:lnTo>
                          <a:pt x="10" y="29"/>
                        </a:lnTo>
                        <a:lnTo>
                          <a:pt x="5" y="29"/>
                        </a:lnTo>
                        <a:lnTo>
                          <a:pt x="2" y="28"/>
                        </a:lnTo>
                        <a:lnTo>
                          <a:pt x="0" y="26"/>
                        </a:lnTo>
                        <a:lnTo>
                          <a:pt x="5" y="1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pic>
                <p:nvPicPr>
                  <p:cNvPr id="145" name="Picture 144"/>
                  <p:cNvPicPr>
                    <a:picLocks noChangeAspect="1" noChangeArrowheads="1"/>
                  </p:cNvPicPr>
                  <p:nvPr/>
                </p:nvPicPr>
                <p:blipFill>
                  <a:blip r:embed="rId17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57" y="1543"/>
                    <a:ext cx="104" cy="11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46" name="Picture 145"/>
                  <p:cNvPicPr>
                    <a:picLocks noChangeAspect="1" noChangeArrowheads="1"/>
                  </p:cNvPicPr>
                  <p:nvPr/>
                </p:nvPicPr>
                <p:blipFill>
                  <a:blip r:embed="rId18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557" y="1543"/>
                    <a:ext cx="104" cy="11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147" name="Freeform 146"/>
                  <p:cNvSpPr>
                    <a:spLocks/>
                  </p:cNvSpPr>
                  <p:nvPr/>
                </p:nvSpPr>
                <p:spPr bwMode="auto">
                  <a:xfrm>
                    <a:off x="2563" y="1548"/>
                    <a:ext cx="84" cy="100"/>
                  </a:xfrm>
                  <a:custGeom>
                    <a:avLst/>
                    <a:gdLst>
                      <a:gd name="T0" fmla="*/ 3722 w 79"/>
                      <a:gd name="T1" fmla="*/ 3 h 95"/>
                      <a:gd name="T2" fmla="*/ 3958 w 79"/>
                      <a:gd name="T3" fmla="*/ 4 h 95"/>
                      <a:gd name="T4" fmla="*/ 4037 w 79"/>
                      <a:gd name="T5" fmla="*/ 7 h 95"/>
                      <a:gd name="T6" fmla="*/ 3965 w 79"/>
                      <a:gd name="T7" fmla="*/ 388 h 95"/>
                      <a:gd name="T8" fmla="*/ 3571 w 79"/>
                      <a:gd name="T9" fmla="*/ 452 h 95"/>
                      <a:gd name="T10" fmla="*/ 3328 w 79"/>
                      <a:gd name="T11" fmla="*/ 527 h 95"/>
                      <a:gd name="T12" fmla="*/ 3722 w 79"/>
                      <a:gd name="T13" fmla="*/ 584 h 95"/>
                      <a:gd name="T14" fmla="*/ 3965 w 79"/>
                      <a:gd name="T15" fmla="*/ 584 h 95"/>
                      <a:gd name="T16" fmla="*/ 3763 w 79"/>
                      <a:gd name="T17" fmla="*/ 837 h 95"/>
                      <a:gd name="T18" fmla="*/ 3358 w 79"/>
                      <a:gd name="T19" fmla="*/ 1156 h 95"/>
                      <a:gd name="T20" fmla="*/ 3102 w 79"/>
                      <a:gd name="T21" fmla="*/ 1217 h 95"/>
                      <a:gd name="T22" fmla="*/ 2604 w 79"/>
                      <a:gd name="T23" fmla="*/ 1156 h 95"/>
                      <a:gd name="T24" fmla="*/ 2279 w 79"/>
                      <a:gd name="T25" fmla="*/ 1281 h 95"/>
                      <a:gd name="T26" fmla="*/ 1782 w 79"/>
                      <a:gd name="T27" fmla="*/ 1261 h 95"/>
                      <a:gd name="T28" fmla="*/ 1782 w 79"/>
                      <a:gd name="T29" fmla="*/ 1471 h 95"/>
                      <a:gd name="T30" fmla="*/ 1499 w 79"/>
                      <a:gd name="T31" fmla="*/ 1654 h 95"/>
                      <a:gd name="T32" fmla="*/ 1037 w 79"/>
                      <a:gd name="T33" fmla="*/ 1656 h 95"/>
                      <a:gd name="T34" fmla="*/ 917 w 79"/>
                      <a:gd name="T35" fmla="*/ 2000 h 95"/>
                      <a:gd name="T36" fmla="*/ 561 w 79"/>
                      <a:gd name="T37" fmla="*/ 2333 h 95"/>
                      <a:gd name="T38" fmla="*/ 5 w 79"/>
                      <a:gd name="T39" fmla="*/ 2494 h 95"/>
                      <a:gd name="T40" fmla="*/ 0 w 79"/>
                      <a:gd name="T41" fmla="*/ 2585 h 95"/>
                      <a:gd name="T42" fmla="*/ 0 w 79"/>
                      <a:gd name="T43" fmla="*/ 2767 h 95"/>
                      <a:gd name="T44" fmla="*/ 4 w 79"/>
                      <a:gd name="T45" fmla="*/ 2767 h 95"/>
                      <a:gd name="T46" fmla="*/ 7 w 79"/>
                      <a:gd name="T47" fmla="*/ 2629 h 95"/>
                      <a:gd name="T48" fmla="*/ 763 w 79"/>
                      <a:gd name="T49" fmla="*/ 2494 h 95"/>
                      <a:gd name="T50" fmla="*/ 1173 w 79"/>
                      <a:gd name="T51" fmla="*/ 2071 h 95"/>
                      <a:gd name="T52" fmla="*/ 1410 w 79"/>
                      <a:gd name="T53" fmla="*/ 1929 h 95"/>
                      <a:gd name="T54" fmla="*/ 1802 w 79"/>
                      <a:gd name="T55" fmla="*/ 1743 h 95"/>
                      <a:gd name="T56" fmla="*/ 1916 w 79"/>
                      <a:gd name="T57" fmla="*/ 1629 h 95"/>
                      <a:gd name="T58" fmla="*/ 2426 w 79"/>
                      <a:gd name="T59" fmla="*/ 1471 h 95"/>
                      <a:gd name="T60" fmla="*/ 2743 w 79"/>
                      <a:gd name="T61" fmla="*/ 1348 h 95"/>
                      <a:gd name="T62" fmla="*/ 3102 w 79"/>
                      <a:gd name="T63" fmla="*/ 1492 h 95"/>
                      <a:gd name="T64" fmla="*/ 3722 w 79"/>
                      <a:gd name="T65" fmla="*/ 1138 h 95"/>
                      <a:gd name="T66" fmla="*/ 4037 w 79"/>
                      <a:gd name="T67" fmla="*/ 1081 h 95"/>
                      <a:gd name="T68" fmla="*/ 4523 w 79"/>
                      <a:gd name="T69" fmla="*/ 1261 h 95"/>
                      <a:gd name="T70" fmla="*/ 4254 w 79"/>
                      <a:gd name="T71" fmla="*/ 1081 h 95"/>
                      <a:gd name="T72" fmla="*/ 4329 w 79"/>
                      <a:gd name="T73" fmla="*/ 837 h 95"/>
                      <a:gd name="T74" fmla="*/ 4329 w 79"/>
                      <a:gd name="T75" fmla="*/ 584 h 95"/>
                      <a:gd name="T76" fmla="*/ 4483 w 79"/>
                      <a:gd name="T77" fmla="*/ 388 h 95"/>
                      <a:gd name="T78" fmla="*/ 4483 w 79"/>
                      <a:gd name="T79" fmla="*/ 2 h 95"/>
                      <a:gd name="T80" fmla="*/ 3965 w 79"/>
                      <a:gd name="T81" fmla="*/ 0 h 95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79"/>
                      <a:gd name="T124" fmla="*/ 0 h 95"/>
                      <a:gd name="T125" fmla="*/ 79 w 79"/>
                      <a:gd name="T126" fmla="*/ 95 h 95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79" h="95">
                        <a:moveTo>
                          <a:pt x="66" y="1"/>
                        </a:moveTo>
                        <a:lnTo>
                          <a:pt x="64" y="3"/>
                        </a:lnTo>
                        <a:lnTo>
                          <a:pt x="66" y="4"/>
                        </a:lnTo>
                        <a:lnTo>
                          <a:pt x="68" y="4"/>
                        </a:lnTo>
                        <a:lnTo>
                          <a:pt x="69" y="6"/>
                        </a:lnTo>
                        <a:lnTo>
                          <a:pt x="71" y="7"/>
                        </a:lnTo>
                        <a:lnTo>
                          <a:pt x="71" y="11"/>
                        </a:lnTo>
                        <a:lnTo>
                          <a:pt x="69" y="13"/>
                        </a:lnTo>
                        <a:lnTo>
                          <a:pt x="66" y="13"/>
                        </a:lnTo>
                        <a:lnTo>
                          <a:pt x="63" y="16"/>
                        </a:lnTo>
                        <a:lnTo>
                          <a:pt x="59" y="17"/>
                        </a:lnTo>
                        <a:lnTo>
                          <a:pt x="58" y="19"/>
                        </a:lnTo>
                        <a:lnTo>
                          <a:pt x="61" y="21"/>
                        </a:lnTo>
                        <a:lnTo>
                          <a:pt x="64" y="21"/>
                        </a:lnTo>
                        <a:lnTo>
                          <a:pt x="68" y="19"/>
                        </a:lnTo>
                        <a:lnTo>
                          <a:pt x="69" y="21"/>
                        </a:lnTo>
                        <a:lnTo>
                          <a:pt x="69" y="24"/>
                        </a:lnTo>
                        <a:lnTo>
                          <a:pt x="66" y="28"/>
                        </a:lnTo>
                        <a:lnTo>
                          <a:pt x="61" y="36"/>
                        </a:lnTo>
                        <a:lnTo>
                          <a:pt x="59" y="40"/>
                        </a:lnTo>
                        <a:lnTo>
                          <a:pt x="56" y="42"/>
                        </a:lnTo>
                        <a:lnTo>
                          <a:pt x="54" y="42"/>
                        </a:lnTo>
                        <a:lnTo>
                          <a:pt x="51" y="40"/>
                        </a:lnTo>
                        <a:lnTo>
                          <a:pt x="46" y="40"/>
                        </a:lnTo>
                        <a:lnTo>
                          <a:pt x="44" y="40"/>
                        </a:lnTo>
                        <a:lnTo>
                          <a:pt x="39" y="44"/>
                        </a:lnTo>
                        <a:lnTo>
                          <a:pt x="36" y="45"/>
                        </a:lnTo>
                        <a:lnTo>
                          <a:pt x="31" y="43"/>
                        </a:lnTo>
                        <a:lnTo>
                          <a:pt x="32" y="47"/>
                        </a:lnTo>
                        <a:lnTo>
                          <a:pt x="31" y="49"/>
                        </a:lnTo>
                        <a:lnTo>
                          <a:pt x="29" y="53"/>
                        </a:lnTo>
                        <a:lnTo>
                          <a:pt x="26" y="56"/>
                        </a:lnTo>
                        <a:lnTo>
                          <a:pt x="22" y="59"/>
                        </a:lnTo>
                        <a:lnTo>
                          <a:pt x="19" y="57"/>
                        </a:lnTo>
                        <a:lnTo>
                          <a:pt x="19" y="63"/>
                        </a:lnTo>
                        <a:lnTo>
                          <a:pt x="17" y="67"/>
                        </a:lnTo>
                        <a:lnTo>
                          <a:pt x="14" y="70"/>
                        </a:lnTo>
                        <a:lnTo>
                          <a:pt x="9" y="79"/>
                        </a:lnTo>
                        <a:lnTo>
                          <a:pt x="7" y="79"/>
                        </a:lnTo>
                        <a:lnTo>
                          <a:pt x="5" y="84"/>
                        </a:lnTo>
                        <a:lnTo>
                          <a:pt x="2" y="86"/>
                        </a:lnTo>
                        <a:lnTo>
                          <a:pt x="0" y="87"/>
                        </a:lnTo>
                        <a:lnTo>
                          <a:pt x="0" y="91"/>
                        </a:lnTo>
                        <a:lnTo>
                          <a:pt x="0" y="94"/>
                        </a:lnTo>
                        <a:lnTo>
                          <a:pt x="2" y="95"/>
                        </a:lnTo>
                        <a:lnTo>
                          <a:pt x="4" y="94"/>
                        </a:lnTo>
                        <a:lnTo>
                          <a:pt x="5" y="91"/>
                        </a:lnTo>
                        <a:lnTo>
                          <a:pt x="7" y="89"/>
                        </a:lnTo>
                        <a:lnTo>
                          <a:pt x="10" y="86"/>
                        </a:lnTo>
                        <a:lnTo>
                          <a:pt x="14" y="84"/>
                        </a:lnTo>
                        <a:lnTo>
                          <a:pt x="17" y="79"/>
                        </a:lnTo>
                        <a:lnTo>
                          <a:pt x="21" y="70"/>
                        </a:lnTo>
                        <a:lnTo>
                          <a:pt x="21" y="67"/>
                        </a:lnTo>
                        <a:lnTo>
                          <a:pt x="24" y="65"/>
                        </a:lnTo>
                        <a:lnTo>
                          <a:pt x="29" y="60"/>
                        </a:lnTo>
                        <a:lnTo>
                          <a:pt x="32" y="60"/>
                        </a:lnTo>
                        <a:lnTo>
                          <a:pt x="34" y="59"/>
                        </a:lnTo>
                        <a:lnTo>
                          <a:pt x="34" y="55"/>
                        </a:lnTo>
                        <a:lnTo>
                          <a:pt x="37" y="52"/>
                        </a:lnTo>
                        <a:lnTo>
                          <a:pt x="42" y="49"/>
                        </a:lnTo>
                        <a:lnTo>
                          <a:pt x="44" y="46"/>
                        </a:lnTo>
                        <a:lnTo>
                          <a:pt x="48" y="46"/>
                        </a:lnTo>
                        <a:lnTo>
                          <a:pt x="49" y="50"/>
                        </a:lnTo>
                        <a:lnTo>
                          <a:pt x="54" y="50"/>
                        </a:lnTo>
                        <a:lnTo>
                          <a:pt x="61" y="46"/>
                        </a:lnTo>
                        <a:lnTo>
                          <a:pt x="64" y="39"/>
                        </a:lnTo>
                        <a:lnTo>
                          <a:pt x="68" y="37"/>
                        </a:lnTo>
                        <a:lnTo>
                          <a:pt x="71" y="37"/>
                        </a:lnTo>
                        <a:lnTo>
                          <a:pt x="73" y="40"/>
                        </a:lnTo>
                        <a:lnTo>
                          <a:pt x="79" y="43"/>
                        </a:lnTo>
                        <a:lnTo>
                          <a:pt x="79" y="39"/>
                        </a:lnTo>
                        <a:lnTo>
                          <a:pt x="74" y="37"/>
                        </a:lnTo>
                        <a:lnTo>
                          <a:pt x="74" y="33"/>
                        </a:lnTo>
                        <a:lnTo>
                          <a:pt x="76" y="28"/>
                        </a:lnTo>
                        <a:lnTo>
                          <a:pt x="79" y="24"/>
                        </a:lnTo>
                        <a:lnTo>
                          <a:pt x="76" y="21"/>
                        </a:lnTo>
                        <a:lnTo>
                          <a:pt x="78" y="16"/>
                        </a:lnTo>
                        <a:lnTo>
                          <a:pt x="78" y="13"/>
                        </a:lnTo>
                        <a:lnTo>
                          <a:pt x="79" y="7"/>
                        </a:lnTo>
                        <a:lnTo>
                          <a:pt x="78" y="2"/>
                        </a:lnTo>
                        <a:lnTo>
                          <a:pt x="74" y="2"/>
                        </a:lnTo>
                        <a:lnTo>
                          <a:pt x="69" y="0"/>
                        </a:lnTo>
                        <a:lnTo>
                          <a:pt x="66" y="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8" name="Freeform 147"/>
                  <p:cNvSpPr>
                    <a:spLocks/>
                  </p:cNvSpPr>
                  <p:nvPr/>
                </p:nvSpPr>
                <p:spPr bwMode="auto">
                  <a:xfrm>
                    <a:off x="2563" y="1548"/>
                    <a:ext cx="84" cy="100"/>
                  </a:xfrm>
                  <a:custGeom>
                    <a:avLst/>
                    <a:gdLst>
                      <a:gd name="T0" fmla="*/ 3722 w 79"/>
                      <a:gd name="T1" fmla="*/ 3 h 95"/>
                      <a:gd name="T2" fmla="*/ 3958 w 79"/>
                      <a:gd name="T3" fmla="*/ 4 h 95"/>
                      <a:gd name="T4" fmla="*/ 4037 w 79"/>
                      <a:gd name="T5" fmla="*/ 7 h 95"/>
                      <a:gd name="T6" fmla="*/ 3965 w 79"/>
                      <a:gd name="T7" fmla="*/ 388 h 95"/>
                      <a:gd name="T8" fmla="*/ 3571 w 79"/>
                      <a:gd name="T9" fmla="*/ 452 h 95"/>
                      <a:gd name="T10" fmla="*/ 3328 w 79"/>
                      <a:gd name="T11" fmla="*/ 527 h 95"/>
                      <a:gd name="T12" fmla="*/ 3722 w 79"/>
                      <a:gd name="T13" fmla="*/ 584 h 95"/>
                      <a:gd name="T14" fmla="*/ 3965 w 79"/>
                      <a:gd name="T15" fmla="*/ 584 h 95"/>
                      <a:gd name="T16" fmla="*/ 3763 w 79"/>
                      <a:gd name="T17" fmla="*/ 837 h 95"/>
                      <a:gd name="T18" fmla="*/ 3358 w 79"/>
                      <a:gd name="T19" fmla="*/ 1156 h 95"/>
                      <a:gd name="T20" fmla="*/ 3102 w 79"/>
                      <a:gd name="T21" fmla="*/ 1217 h 95"/>
                      <a:gd name="T22" fmla="*/ 2604 w 79"/>
                      <a:gd name="T23" fmla="*/ 1156 h 95"/>
                      <a:gd name="T24" fmla="*/ 2279 w 79"/>
                      <a:gd name="T25" fmla="*/ 1281 h 95"/>
                      <a:gd name="T26" fmla="*/ 1782 w 79"/>
                      <a:gd name="T27" fmla="*/ 1261 h 95"/>
                      <a:gd name="T28" fmla="*/ 1782 w 79"/>
                      <a:gd name="T29" fmla="*/ 1471 h 95"/>
                      <a:gd name="T30" fmla="*/ 1499 w 79"/>
                      <a:gd name="T31" fmla="*/ 1654 h 95"/>
                      <a:gd name="T32" fmla="*/ 1037 w 79"/>
                      <a:gd name="T33" fmla="*/ 1656 h 95"/>
                      <a:gd name="T34" fmla="*/ 917 w 79"/>
                      <a:gd name="T35" fmla="*/ 2000 h 95"/>
                      <a:gd name="T36" fmla="*/ 561 w 79"/>
                      <a:gd name="T37" fmla="*/ 2333 h 95"/>
                      <a:gd name="T38" fmla="*/ 5 w 79"/>
                      <a:gd name="T39" fmla="*/ 2494 h 95"/>
                      <a:gd name="T40" fmla="*/ 0 w 79"/>
                      <a:gd name="T41" fmla="*/ 2585 h 95"/>
                      <a:gd name="T42" fmla="*/ 0 w 79"/>
                      <a:gd name="T43" fmla="*/ 2767 h 95"/>
                      <a:gd name="T44" fmla="*/ 4 w 79"/>
                      <a:gd name="T45" fmla="*/ 2767 h 95"/>
                      <a:gd name="T46" fmla="*/ 7 w 79"/>
                      <a:gd name="T47" fmla="*/ 2629 h 95"/>
                      <a:gd name="T48" fmla="*/ 763 w 79"/>
                      <a:gd name="T49" fmla="*/ 2494 h 95"/>
                      <a:gd name="T50" fmla="*/ 1173 w 79"/>
                      <a:gd name="T51" fmla="*/ 2071 h 95"/>
                      <a:gd name="T52" fmla="*/ 1410 w 79"/>
                      <a:gd name="T53" fmla="*/ 1929 h 95"/>
                      <a:gd name="T54" fmla="*/ 1802 w 79"/>
                      <a:gd name="T55" fmla="*/ 1743 h 95"/>
                      <a:gd name="T56" fmla="*/ 1916 w 79"/>
                      <a:gd name="T57" fmla="*/ 1629 h 95"/>
                      <a:gd name="T58" fmla="*/ 2426 w 79"/>
                      <a:gd name="T59" fmla="*/ 1471 h 95"/>
                      <a:gd name="T60" fmla="*/ 2743 w 79"/>
                      <a:gd name="T61" fmla="*/ 1348 h 95"/>
                      <a:gd name="T62" fmla="*/ 3102 w 79"/>
                      <a:gd name="T63" fmla="*/ 1492 h 95"/>
                      <a:gd name="T64" fmla="*/ 3722 w 79"/>
                      <a:gd name="T65" fmla="*/ 1138 h 95"/>
                      <a:gd name="T66" fmla="*/ 4037 w 79"/>
                      <a:gd name="T67" fmla="*/ 1081 h 95"/>
                      <a:gd name="T68" fmla="*/ 4523 w 79"/>
                      <a:gd name="T69" fmla="*/ 1261 h 95"/>
                      <a:gd name="T70" fmla="*/ 4254 w 79"/>
                      <a:gd name="T71" fmla="*/ 1081 h 95"/>
                      <a:gd name="T72" fmla="*/ 4329 w 79"/>
                      <a:gd name="T73" fmla="*/ 837 h 95"/>
                      <a:gd name="T74" fmla="*/ 4329 w 79"/>
                      <a:gd name="T75" fmla="*/ 584 h 95"/>
                      <a:gd name="T76" fmla="*/ 4483 w 79"/>
                      <a:gd name="T77" fmla="*/ 388 h 95"/>
                      <a:gd name="T78" fmla="*/ 4483 w 79"/>
                      <a:gd name="T79" fmla="*/ 2 h 95"/>
                      <a:gd name="T80" fmla="*/ 3965 w 79"/>
                      <a:gd name="T81" fmla="*/ 0 h 95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w 79"/>
                      <a:gd name="T124" fmla="*/ 0 h 95"/>
                      <a:gd name="T125" fmla="*/ 79 w 79"/>
                      <a:gd name="T126" fmla="*/ 95 h 95"/>
                    </a:gdLst>
                    <a:ahLst/>
                    <a:cxnLst>
                      <a:cxn ang="T82">
                        <a:pos x="T0" y="T1"/>
                      </a:cxn>
                      <a:cxn ang="T83">
                        <a:pos x="T2" y="T3"/>
                      </a:cxn>
                      <a:cxn ang="T84">
                        <a:pos x="T4" y="T5"/>
                      </a:cxn>
                      <a:cxn ang="T85">
                        <a:pos x="T6" y="T7"/>
                      </a:cxn>
                      <a:cxn ang="T86">
                        <a:pos x="T8" y="T9"/>
                      </a:cxn>
                      <a:cxn ang="T87">
                        <a:pos x="T10" y="T11"/>
                      </a:cxn>
                      <a:cxn ang="T88">
                        <a:pos x="T12" y="T13"/>
                      </a:cxn>
                      <a:cxn ang="T89">
                        <a:pos x="T14" y="T15"/>
                      </a:cxn>
                      <a:cxn ang="T90">
                        <a:pos x="T16" y="T17"/>
                      </a:cxn>
                      <a:cxn ang="T91">
                        <a:pos x="T18" y="T19"/>
                      </a:cxn>
                      <a:cxn ang="T92">
                        <a:pos x="T20" y="T21"/>
                      </a:cxn>
                      <a:cxn ang="T93">
                        <a:pos x="T22" y="T23"/>
                      </a:cxn>
                      <a:cxn ang="T94">
                        <a:pos x="T24" y="T25"/>
                      </a:cxn>
                      <a:cxn ang="T95">
                        <a:pos x="T26" y="T27"/>
                      </a:cxn>
                      <a:cxn ang="T96">
                        <a:pos x="T28" y="T29"/>
                      </a:cxn>
                      <a:cxn ang="T97">
                        <a:pos x="T30" y="T31"/>
                      </a:cxn>
                      <a:cxn ang="T98">
                        <a:pos x="T32" y="T33"/>
                      </a:cxn>
                      <a:cxn ang="T99">
                        <a:pos x="T34" y="T35"/>
                      </a:cxn>
                      <a:cxn ang="T100">
                        <a:pos x="T36" y="T37"/>
                      </a:cxn>
                      <a:cxn ang="T101">
                        <a:pos x="T38" y="T39"/>
                      </a:cxn>
                      <a:cxn ang="T102">
                        <a:pos x="T40" y="T41"/>
                      </a:cxn>
                      <a:cxn ang="T103">
                        <a:pos x="T42" y="T43"/>
                      </a:cxn>
                      <a:cxn ang="T104">
                        <a:pos x="T44" y="T45"/>
                      </a:cxn>
                      <a:cxn ang="T105">
                        <a:pos x="T46" y="T47"/>
                      </a:cxn>
                      <a:cxn ang="T106">
                        <a:pos x="T48" y="T49"/>
                      </a:cxn>
                      <a:cxn ang="T107">
                        <a:pos x="T50" y="T51"/>
                      </a:cxn>
                      <a:cxn ang="T108">
                        <a:pos x="T52" y="T53"/>
                      </a:cxn>
                      <a:cxn ang="T109">
                        <a:pos x="T54" y="T55"/>
                      </a:cxn>
                      <a:cxn ang="T110">
                        <a:pos x="T56" y="T57"/>
                      </a:cxn>
                      <a:cxn ang="T111">
                        <a:pos x="T58" y="T59"/>
                      </a:cxn>
                      <a:cxn ang="T112">
                        <a:pos x="T60" y="T61"/>
                      </a:cxn>
                      <a:cxn ang="T113">
                        <a:pos x="T62" y="T63"/>
                      </a:cxn>
                      <a:cxn ang="T114">
                        <a:pos x="T64" y="T65"/>
                      </a:cxn>
                      <a:cxn ang="T115">
                        <a:pos x="T66" y="T67"/>
                      </a:cxn>
                      <a:cxn ang="T116">
                        <a:pos x="T68" y="T69"/>
                      </a:cxn>
                      <a:cxn ang="T117">
                        <a:pos x="T70" y="T71"/>
                      </a:cxn>
                      <a:cxn ang="T118">
                        <a:pos x="T72" y="T73"/>
                      </a:cxn>
                      <a:cxn ang="T119">
                        <a:pos x="T74" y="T75"/>
                      </a:cxn>
                      <a:cxn ang="T120">
                        <a:pos x="T76" y="T77"/>
                      </a:cxn>
                      <a:cxn ang="T121">
                        <a:pos x="T78" y="T79"/>
                      </a:cxn>
                      <a:cxn ang="T122">
                        <a:pos x="T80" y="T81"/>
                      </a:cxn>
                    </a:cxnLst>
                    <a:rect l="T123" t="T124" r="T125" b="T126"/>
                    <a:pathLst>
                      <a:path w="79" h="95">
                        <a:moveTo>
                          <a:pt x="66" y="1"/>
                        </a:moveTo>
                        <a:lnTo>
                          <a:pt x="64" y="3"/>
                        </a:lnTo>
                        <a:lnTo>
                          <a:pt x="66" y="4"/>
                        </a:lnTo>
                        <a:lnTo>
                          <a:pt x="68" y="4"/>
                        </a:lnTo>
                        <a:lnTo>
                          <a:pt x="69" y="6"/>
                        </a:lnTo>
                        <a:lnTo>
                          <a:pt x="71" y="7"/>
                        </a:lnTo>
                        <a:lnTo>
                          <a:pt x="71" y="11"/>
                        </a:lnTo>
                        <a:lnTo>
                          <a:pt x="69" y="13"/>
                        </a:lnTo>
                        <a:lnTo>
                          <a:pt x="66" y="13"/>
                        </a:lnTo>
                        <a:lnTo>
                          <a:pt x="63" y="16"/>
                        </a:lnTo>
                        <a:lnTo>
                          <a:pt x="59" y="17"/>
                        </a:lnTo>
                        <a:lnTo>
                          <a:pt x="58" y="19"/>
                        </a:lnTo>
                        <a:lnTo>
                          <a:pt x="61" y="21"/>
                        </a:lnTo>
                        <a:lnTo>
                          <a:pt x="64" y="21"/>
                        </a:lnTo>
                        <a:lnTo>
                          <a:pt x="68" y="19"/>
                        </a:lnTo>
                        <a:lnTo>
                          <a:pt x="69" y="21"/>
                        </a:lnTo>
                        <a:lnTo>
                          <a:pt x="69" y="24"/>
                        </a:lnTo>
                        <a:lnTo>
                          <a:pt x="66" y="28"/>
                        </a:lnTo>
                        <a:lnTo>
                          <a:pt x="61" y="36"/>
                        </a:lnTo>
                        <a:lnTo>
                          <a:pt x="59" y="40"/>
                        </a:lnTo>
                        <a:lnTo>
                          <a:pt x="56" y="42"/>
                        </a:lnTo>
                        <a:lnTo>
                          <a:pt x="54" y="42"/>
                        </a:lnTo>
                        <a:lnTo>
                          <a:pt x="51" y="40"/>
                        </a:lnTo>
                        <a:lnTo>
                          <a:pt x="46" y="40"/>
                        </a:lnTo>
                        <a:lnTo>
                          <a:pt x="44" y="40"/>
                        </a:lnTo>
                        <a:lnTo>
                          <a:pt x="39" y="44"/>
                        </a:lnTo>
                        <a:lnTo>
                          <a:pt x="36" y="45"/>
                        </a:lnTo>
                        <a:lnTo>
                          <a:pt x="31" y="43"/>
                        </a:lnTo>
                        <a:lnTo>
                          <a:pt x="32" y="47"/>
                        </a:lnTo>
                        <a:lnTo>
                          <a:pt x="31" y="49"/>
                        </a:lnTo>
                        <a:lnTo>
                          <a:pt x="29" y="53"/>
                        </a:lnTo>
                        <a:lnTo>
                          <a:pt x="26" y="56"/>
                        </a:lnTo>
                        <a:lnTo>
                          <a:pt x="22" y="59"/>
                        </a:lnTo>
                        <a:lnTo>
                          <a:pt x="19" y="57"/>
                        </a:lnTo>
                        <a:lnTo>
                          <a:pt x="19" y="63"/>
                        </a:lnTo>
                        <a:lnTo>
                          <a:pt x="17" y="67"/>
                        </a:lnTo>
                        <a:lnTo>
                          <a:pt x="14" y="70"/>
                        </a:lnTo>
                        <a:lnTo>
                          <a:pt x="9" y="79"/>
                        </a:lnTo>
                        <a:lnTo>
                          <a:pt x="7" y="79"/>
                        </a:lnTo>
                        <a:lnTo>
                          <a:pt x="5" y="84"/>
                        </a:lnTo>
                        <a:lnTo>
                          <a:pt x="2" y="86"/>
                        </a:lnTo>
                        <a:lnTo>
                          <a:pt x="0" y="87"/>
                        </a:lnTo>
                        <a:lnTo>
                          <a:pt x="0" y="91"/>
                        </a:lnTo>
                        <a:lnTo>
                          <a:pt x="0" y="94"/>
                        </a:lnTo>
                        <a:lnTo>
                          <a:pt x="2" y="95"/>
                        </a:lnTo>
                        <a:lnTo>
                          <a:pt x="4" y="94"/>
                        </a:lnTo>
                        <a:lnTo>
                          <a:pt x="5" y="91"/>
                        </a:lnTo>
                        <a:lnTo>
                          <a:pt x="7" y="89"/>
                        </a:lnTo>
                        <a:lnTo>
                          <a:pt x="10" y="86"/>
                        </a:lnTo>
                        <a:lnTo>
                          <a:pt x="14" y="84"/>
                        </a:lnTo>
                        <a:lnTo>
                          <a:pt x="17" y="79"/>
                        </a:lnTo>
                        <a:lnTo>
                          <a:pt x="21" y="70"/>
                        </a:lnTo>
                        <a:lnTo>
                          <a:pt x="21" y="67"/>
                        </a:lnTo>
                        <a:lnTo>
                          <a:pt x="24" y="65"/>
                        </a:lnTo>
                        <a:lnTo>
                          <a:pt x="29" y="60"/>
                        </a:lnTo>
                        <a:lnTo>
                          <a:pt x="32" y="60"/>
                        </a:lnTo>
                        <a:lnTo>
                          <a:pt x="34" y="59"/>
                        </a:lnTo>
                        <a:lnTo>
                          <a:pt x="34" y="55"/>
                        </a:lnTo>
                        <a:lnTo>
                          <a:pt x="37" y="52"/>
                        </a:lnTo>
                        <a:lnTo>
                          <a:pt x="42" y="49"/>
                        </a:lnTo>
                        <a:lnTo>
                          <a:pt x="44" y="46"/>
                        </a:lnTo>
                        <a:lnTo>
                          <a:pt x="48" y="46"/>
                        </a:lnTo>
                        <a:lnTo>
                          <a:pt x="49" y="50"/>
                        </a:lnTo>
                        <a:lnTo>
                          <a:pt x="54" y="50"/>
                        </a:lnTo>
                        <a:lnTo>
                          <a:pt x="61" y="46"/>
                        </a:lnTo>
                        <a:lnTo>
                          <a:pt x="64" y="39"/>
                        </a:lnTo>
                        <a:lnTo>
                          <a:pt x="68" y="37"/>
                        </a:lnTo>
                        <a:lnTo>
                          <a:pt x="71" y="37"/>
                        </a:lnTo>
                        <a:lnTo>
                          <a:pt x="73" y="40"/>
                        </a:lnTo>
                        <a:lnTo>
                          <a:pt x="79" y="43"/>
                        </a:lnTo>
                        <a:lnTo>
                          <a:pt x="79" y="39"/>
                        </a:lnTo>
                        <a:lnTo>
                          <a:pt x="74" y="37"/>
                        </a:lnTo>
                        <a:lnTo>
                          <a:pt x="74" y="33"/>
                        </a:lnTo>
                        <a:lnTo>
                          <a:pt x="76" y="28"/>
                        </a:lnTo>
                        <a:lnTo>
                          <a:pt x="79" y="24"/>
                        </a:lnTo>
                        <a:lnTo>
                          <a:pt x="76" y="21"/>
                        </a:lnTo>
                        <a:lnTo>
                          <a:pt x="78" y="16"/>
                        </a:lnTo>
                        <a:lnTo>
                          <a:pt x="78" y="13"/>
                        </a:lnTo>
                        <a:lnTo>
                          <a:pt x="79" y="7"/>
                        </a:lnTo>
                        <a:lnTo>
                          <a:pt x="78" y="2"/>
                        </a:lnTo>
                        <a:lnTo>
                          <a:pt x="74" y="2"/>
                        </a:lnTo>
                        <a:lnTo>
                          <a:pt x="69" y="0"/>
                        </a:lnTo>
                        <a:lnTo>
                          <a:pt x="66" y="1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9" name="Freeform 149"/>
                  <p:cNvSpPr>
                    <a:spLocks/>
                  </p:cNvSpPr>
                  <p:nvPr/>
                </p:nvSpPr>
                <p:spPr bwMode="auto">
                  <a:xfrm>
                    <a:off x="3071" y="2982"/>
                    <a:ext cx="30" cy="29"/>
                  </a:xfrm>
                  <a:custGeom>
                    <a:avLst/>
                    <a:gdLst>
                      <a:gd name="T0" fmla="*/ 1112 w 28"/>
                      <a:gd name="T1" fmla="*/ 0 h 28"/>
                      <a:gd name="T2" fmla="*/ 3 w 28"/>
                      <a:gd name="T3" fmla="*/ 3 h 28"/>
                      <a:gd name="T4" fmla="*/ 0 w 28"/>
                      <a:gd name="T5" fmla="*/ 3 h 28"/>
                      <a:gd name="T6" fmla="*/ 3 w 28"/>
                      <a:gd name="T7" fmla="*/ 164 h 28"/>
                      <a:gd name="T8" fmla="*/ 0 w 28"/>
                      <a:gd name="T9" fmla="*/ 182 h 28"/>
                      <a:gd name="T10" fmla="*/ 5 w 28"/>
                      <a:gd name="T11" fmla="*/ 210 h 28"/>
                      <a:gd name="T12" fmla="*/ 904 w 28"/>
                      <a:gd name="T13" fmla="*/ 226 h 28"/>
                      <a:gd name="T14" fmla="*/ 1367 w 28"/>
                      <a:gd name="T15" fmla="*/ 260 h 28"/>
                      <a:gd name="T16" fmla="*/ 2217 w 28"/>
                      <a:gd name="T17" fmla="*/ 269 h 28"/>
                      <a:gd name="T18" fmla="*/ 2634 w 28"/>
                      <a:gd name="T19" fmla="*/ 242 h 28"/>
                      <a:gd name="T20" fmla="*/ 2634 w 28"/>
                      <a:gd name="T21" fmla="*/ 226 h 28"/>
                      <a:gd name="T22" fmla="*/ 1682 w 28"/>
                      <a:gd name="T23" fmla="*/ 13 h 28"/>
                      <a:gd name="T24" fmla="*/ 1682 w 28"/>
                      <a:gd name="T25" fmla="*/ 3 h 28"/>
                      <a:gd name="T26" fmla="*/ 1112 w 28"/>
                      <a:gd name="T27" fmla="*/ 0 h 2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28"/>
                      <a:gd name="T43" fmla="*/ 0 h 28"/>
                      <a:gd name="T44" fmla="*/ 28 w 28"/>
                      <a:gd name="T45" fmla="*/ 28 h 2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28" h="28">
                        <a:moveTo>
                          <a:pt x="12" y="0"/>
                        </a:move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3" y="14"/>
                        </a:lnTo>
                        <a:lnTo>
                          <a:pt x="0" y="17"/>
                        </a:lnTo>
                        <a:lnTo>
                          <a:pt x="5" y="21"/>
                        </a:lnTo>
                        <a:lnTo>
                          <a:pt x="9" y="23"/>
                        </a:lnTo>
                        <a:lnTo>
                          <a:pt x="15" y="27"/>
                        </a:lnTo>
                        <a:lnTo>
                          <a:pt x="23" y="28"/>
                        </a:lnTo>
                        <a:lnTo>
                          <a:pt x="28" y="25"/>
                        </a:lnTo>
                        <a:lnTo>
                          <a:pt x="28" y="23"/>
                        </a:lnTo>
                        <a:lnTo>
                          <a:pt x="18" y="13"/>
                        </a:lnTo>
                        <a:lnTo>
                          <a:pt x="18" y="3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0" name="Freeform 150"/>
                  <p:cNvSpPr>
                    <a:spLocks/>
                  </p:cNvSpPr>
                  <p:nvPr/>
                </p:nvSpPr>
                <p:spPr bwMode="auto">
                  <a:xfrm>
                    <a:off x="3071" y="2982"/>
                    <a:ext cx="30" cy="29"/>
                  </a:xfrm>
                  <a:custGeom>
                    <a:avLst/>
                    <a:gdLst>
                      <a:gd name="T0" fmla="*/ 1112 w 28"/>
                      <a:gd name="T1" fmla="*/ 0 h 28"/>
                      <a:gd name="T2" fmla="*/ 3 w 28"/>
                      <a:gd name="T3" fmla="*/ 3 h 28"/>
                      <a:gd name="T4" fmla="*/ 0 w 28"/>
                      <a:gd name="T5" fmla="*/ 3 h 28"/>
                      <a:gd name="T6" fmla="*/ 3 w 28"/>
                      <a:gd name="T7" fmla="*/ 164 h 28"/>
                      <a:gd name="T8" fmla="*/ 0 w 28"/>
                      <a:gd name="T9" fmla="*/ 182 h 28"/>
                      <a:gd name="T10" fmla="*/ 5 w 28"/>
                      <a:gd name="T11" fmla="*/ 210 h 28"/>
                      <a:gd name="T12" fmla="*/ 904 w 28"/>
                      <a:gd name="T13" fmla="*/ 226 h 28"/>
                      <a:gd name="T14" fmla="*/ 1367 w 28"/>
                      <a:gd name="T15" fmla="*/ 260 h 28"/>
                      <a:gd name="T16" fmla="*/ 2217 w 28"/>
                      <a:gd name="T17" fmla="*/ 269 h 28"/>
                      <a:gd name="T18" fmla="*/ 2634 w 28"/>
                      <a:gd name="T19" fmla="*/ 242 h 28"/>
                      <a:gd name="T20" fmla="*/ 2634 w 28"/>
                      <a:gd name="T21" fmla="*/ 226 h 28"/>
                      <a:gd name="T22" fmla="*/ 1682 w 28"/>
                      <a:gd name="T23" fmla="*/ 13 h 28"/>
                      <a:gd name="T24" fmla="*/ 1682 w 28"/>
                      <a:gd name="T25" fmla="*/ 3 h 28"/>
                      <a:gd name="T26" fmla="*/ 1112 w 28"/>
                      <a:gd name="T27" fmla="*/ 0 h 28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28"/>
                      <a:gd name="T43" fmla="*/ 0 h 28"/>
                      <a:gd name="T44" fmla="*/ 28 w 28"/>
                      <a:gd name="T45" fmla="*/ 28 h 28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28" h="28">
                        <a:moveTo>
                          <a:pt x="12" y="0"/>
                        </a:moveTo>
                        <a:lnTo>
                          <a:pt x="3" y="3"/>
                        </a:lnTo>
                        <a:lnTo>
                          <a:pt x="0" y="3"/>
                        </a:lnTo>
                        <a:lnTo>
                          <a:pt x="3" y="14"/>
                        </a:lnTo>
                        <a:lnTo>
                          <a:pt x="0" y="17"/>
                        </a:lnTo>
                        <a:lnTo>
                          <a:pt x="5" y="21"/>
                        </a:lnTo>
                        <a:lnTo>
                          <a:pt x="9" y="23"/>
                        </a:lnTo>
                        <a:lnTo>
                          <a:pt x="15" y="27"/>
                        </a:lnTo>
                        <a:lnTo>
                          <a:pt x="23" y="28"/>
                        </a:lnTo>
                        <a:lnTo>
                          <a:pt x="28" y="25"/>
                        </a:lnTo>
                        <a:lnTo>
                          <a:pt x="28" y="23"/>
                        </a:lnTo>
                        <a:lnTo>
                          <a:pt x="18" y="13"/>
                        </a:lnTo>
                        <a:lnTo>
                          <a:pt x="18" y="3"/>
                        </a:lnTo>
                        <a:lnTo>
                          <a:pt x="12" y="0"/>
                        </a:lnTo>
                        <a:close/>
                      </a:path>
                    </a:pathLst>
                  </a:custGeom>
                  <a:solidFill>
                    <a:srgbClr val="953735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1" name="Freeform 151"/>
                  <p:cNvSpPr>
                    <a:spLocks/>
                  </p:cNvSpPr>
                  <p:nvPr/>
                </p:nvSpPr>
                <p:spPr bwMode="auto">
                  <a:xfrm>
                    <a:off x="3067" y="3018"/>
                    <a:ext cx="293" cy="543"/>
                  </a:xfrm>
                  <a:custGeom>
                    <a:avLst/>
                    <a:gdLst>
                      <a:gd name="T0" fmla="*/ 2994 w 274"/>
                      <a:gd name="T1" fmla="*/ 4858 h 517"/>
                      <a:gd name="T2" fmla="*/ 2800 w 274"/>
                      <a:gd name="T3" fmla="*/ 5990 h 517"/>
                      <a:gd name="T4" fmla="*/ 4058 w 274"/>
                      <a:gd name="T5" fmla="*/ 7089 h 517"/>
                      <a:gd name="T6" fmla="*/ 4075 w 274"/>
                      <a:gd name="T7" fmla="*/ 7482 h 517"/>
                      <a:gd name="T8" fmla="*/ 2141 w 274"/>
                      <a:gd name="T9" fmla="*/ 8416 h 517"/>
                      <a:gd name="T10" fmla="*/ 896 w 274"/>
                      <a:gd name="T11" fmla="*/ 9079 h 517"/>
                      <a:gd name="T12" fmla="*/ 0 w 274"/>
                      <a:gd name="T13" fmla="*/ 9783 h 517"/>
                      <a:gd name="T14" fmla="*/ 6 w 274"/>
                      <a:gd name="T15" fmla="*/ 10546 h 517"/>
                      <a:gd name="T16" fmla="*/ 1531 w 274"/>
                      <a:gd name="T17" fmla="*/ 11174 h 517"/>
                      <a:gd name="T18" fmla="*/ 1432 w 274"/>
                      <a:gd name="T19" fmla="*/ 11832 h 517"/>
                      <a:gd name="T20" fmla="*/ 3424 w 274"/>
                      <a:gd name="T21" fmla="*/ 12683 h 517"/>
                      <a:gd name="T22" fmla="*/ 6121 w 274"/>
                      <a:gd name="T23" fmla="*/ 13179 h 517"/>
                      <a:gd name="T24" fmla="*/ 10736 w 274"/>
                      <a:gd name="T25" fmla="*/ 12689 h 517"/>
                      <a:gd name="T26" fmla="*/ 12238 w 274"/>
                      <a:gd name="T27" fmla="*/ 12504 h 517"/>
                      <a:gd name="T28" fmla="*/ 13797 w 274"/>
                      <a:gd name="T29" fmla="*/ 11635 h 517"/>
                      <a:gd name="T30" fmla="*/ 14754 w 274"/>
                      <a:gd name="T31" fmla="*/ 10367 h 517"/>
                      <a:gd name="T32" fmla="*/ 16595 w 274"/>
                      <a:gd name="T33" fmla="*/ 8753 h 517"/>
                      <a:gd name="T34" fmla="*/ 18354 w 274"/>
                      <a:gd name="T35" fmla="*/ 7062 h 517"/>
                      <a:gd name="T36" fmla="*/ 19237 w 274"/>
                      <a:gd name="T37" fmla="*/ 6402 h 517"/>
                      <a:gd name="T38" fmla="*/ 20142 w 274"/>
                      <a:gd name="T39" fmla="*/ 4880 h 517"/>
                      <a:gd name="T40" fmla="*/ 20988 w 274"/>
                      <a:gd name="T41" fmla="*/ 4393 h 517"/>
                      <a:gd name="T42" fmla="*/ 20630 w 274"/>
                      <a:gd name="T43" fmla="*/ 3610 h 517"/>
                      <a:gd name="T44" fmla="*/ 21694 w 274"/>
                      <a:gd name="T45" fmla="*/ 3437 h 517"/>
                      <a:gd name="T46" fmla="*/ 22751 w 274"/>
                      <a:gd name="T47" fmla="*/ 3437 h 517"/>
                      <a:gd name="T48" fmla="*/ 22441 w 274"/>
                      <a:gd name="T49" fmla="*/ 2646 h 517"/>
                      <a:gd name="T50" fmla="*/ 21880 w 274"/>
                      <a:gd name="T51" fmla="*/ 1839 h 517"/>
                      <a:gd name="T52" fmla="*/ 21321 w 274"/>
                      <a:gd name="T53" fmla="*/ 1021 h 517"/>
                      <a:gd name="T54" fmla="*/ 20161 w 274"/>
                      <a:gd name="T55" fmla="*/ 379 h 517"/>
                      <a:gd name="T56" fmla="*/ 18354 w 274"/>
                      <a:gd name="T57" fmla="*/ 4 h 517"/>
                      <a:gd name="T58" fmla="*/ 17893 w 274"/>
                      <a:gd name="T59" fmla="*/ 379 h 517"/>
                      <a:gd name="T60" fmla="*/ 17112 w 274"/>
                      <a:gd name="T61" fmla="*/ 1171 h 517"/>
                      <a:gd name="T62" fmla="*/ 15777 w 274"/>
                      <a:gd name="T63" fmla="*/ 1572 h 517"/>
                      <a:gd name="T64" fmla="*/ 14712 w 274"/>
                      <a:gd name="T65" fmla="*/ 1425 h 517"/>
                      <a:gd name="T66" fmla="*/ 15216 w 274"/>
                      <a:gd name="T67" fmla="*/ 2002 h 517"/>
                      <a:gd name="T68" fmla="*/ 14229 w 274"/>
                      <a:gd name="T69" fmla="*/ 2137 h 517"/>
                      <a:gd name="T70" fmla="*/ 15216 w 274"/>
                      <a:gd name="T71" fmla="*/ 2444 h 517"/>
                      <a:gd name="T72" fmla="*/ 13484 w 274"/>
                      <a:gd name="T73" fmla="*/ 2779 h 517"/>
                      <a:gd name="T74" fmla="*/ 13037 w 274"/>
                      <a:gd name="T75" fmla="*/ 2567 h 517"/>
                      <a:gd name="T76" fmla="*/ 12192 w 274"/>
                      <a:gd name="T77" fmla="*/ 2919 h 517"/>
                      <a:gd name="T78" fmla="*/ 11917 w 274"/>
                      <a:gd name="T79" fmla="*/ 3281 h 517"/>
                      <a:gd name="T80" fmla="*/ 10736 w 274"/>
                      <a:gd name="T81" fmla="*/ 3124 h 517"/>
                      <a:gd name="T82" fmla="*/ 10702 w 274"/>
                      <a:gd name="T83" fmla="*/ 3654 h 517"/>
                      <a:gd name="T84" fmla="*/ 9786 w 274"/>
                      <a:gd name="T85" fmla="*/ 3801 h 517"/>
                      <a:gd name="T86" fmla="*/ 8898 w 274"/>
                      <a:gd name="T87" fmla="*/ 3446 h 517"/>
                      <a:gd name="T88" fmla="*/ 7546 w 274"/>
                      <a:gd name="T89" fmla="*/ 3552 h 517"/>
                      <a:gd name="T90" fmla="*/ 6999 w 274"/>
                      <a:gd name="T91" fmla="*/ 3746 h 517"/>
                      <a:gd name="T92" fmla="*/ 6259 w 274"/>
                      <a:gd name="T93" fmla="*/ 3746 h 517"/>
                      <a:gd name="T94" fmla="*/ 4476 w 274"/>
                      <a:gd name="T95" fmla="*/ 3983 h 51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74"/>
                      <a:gd name="T145" fmla="*/ 0 h 517"/>
                      <a:gd name="T146" fmla="*/ 274 w 274"/>
                      <a:gd name="T147" fmla="*/ 517 h 51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74" h="517">
                        <a:moveTo>
                          <a:pt x="44" y="157"/>
                        </a:moveTo>
                        <a:lnTo>
                          <a:pt x="46" y="168"/>
                        </a:lnTo>
                        <a:lnTo>
                          <a:pt x="36" y="190"/>
                        </a:lnTo>
                        <a:lnTo>
                          <a:pt x="26" y="205"/>
                        </a:lnTo>
                        <a:lnTo>
                          <a:pt x="33" y="216"/>
                        </a:lnTo>
                        <a:lnTo>
                          <a:pt x="34" y="236"/>
                        </a:lnTo>
                        <a:lnTo>
                          <a:pt x="38" y="255"/>
                        </a:lnTo>
                        <a:lnTo>
                          <a:pt x="43" y="268"/>
                        </a:lnTo>
                        <a:lnTo>
                          <a:pt x="48" y="277"/>
                        </a:lnTo>
                        <a:lnTo>
                          <a:pt x="50" y="284"/>
                        </a:lnTo>
                        <a:lnTo>
                          <a:pt x="47" y="287"/>
                        </a:lnTo>
                        <a:lnTo>
                          <a:pt x="49" y="294"/>
                        </a:lnTo>
                        <a:lnTo>
                          <a:pt x="46" y="302"/>
                        </a:lnTo>
                        <a:lnTo>
                          <a:pt x="39" y="308"/>
                        </a:lnTo>
                        <a:lnTo>
                          <a:pt x="26" y="331"/>
                        </a:lnTo>
                        <a:lnTo>
                          <a:pt x="21" y="348"/>
                        </a:lnTo>
                        <a:lnTo>
                          <a:pt x="15" y="349"/>
                        </a:lnTo>
                        <a:lnTo>
                          <a:pt x="11" y="356"/>
                        </a:lnTo>
                        <a:lnTo>
                          <a:pt x="5" y="366"/>
                        </a:lnTo>
                        <a:lnTo>
                          <a:pt x="0" y="374"/>
                        </a:lnTo>
                        <a:lnTo>
                          <a:pt x="0" y="385"/>
                        </a:lnTo>
                        <a:lnTo>
                          <a:pt x="1" y="394"/>
                        </a:lnTo>
                        <a:lnTo>
                          <a:pt x="1" y="404"/>
                        </a:lnTo>
                        <a:lnTo>
                          <a:pt x="6" y="414"/>
                        </a:lnTo>
                        <a:lnTo>
                          <a:pt x="12" y="418"/>
                        </a:lnTo>
                        <a:lnTo>
                          <a:pt x="16" y="427"/>
                        </a:lnTo>
                        <a:lnTo>
                          <a:pt x="19" y="438"/>
                        </a:lnTo>
                        <a:lnTo>
                          <a:pt x="16" y="445"/>
                        </a:lnTo>
                        <a:lnTo>
                          <a:pt x="16" y="453"/>
                        </a:lnTo>
                        <a:lnTo>
                          <a:pt x="18" y="465"/>
                        </a:lnTo>
                        <a:lnTo>
                          <a:pt x="22" y="476"/>
                        </a:lnTo>
                        <a:lnTo>
                          <a:pt x="33" y="490"/>
                        </a:lnTo>
                        <a:lnTo>
                          <a:pt x="41" y="497"/>
                        </a:lnTo>
                        <a:lnTo>
                          <a:pt x="50" y="502"/>
                        </a:lnTo>
                        <a:lnTo>
                          <a:pt x="60" y="507"/>
                        </a:lnTo>
                        <a:lnTo>
                          <a:pt x="74" y="517"/>
                        </a:lnTo>
                        <a:lnTo>
                          <a:pt x="84" y="515"/>
                        </a:lnTo>
                        <a:lnTo>
                          <a:pt x="106" y="503"/>
                        </a:lnTo>
                        <a:lnTo>
                          <a:pt x="129" y="498"/>
                        </a:lnTo>
                        <a:lnTo>
                          <a:pt x="135" y="500"/>
                        </a:lnTo>
                        <a:lnTo>
                          <a:pt x="142" y="496"/>
                        </a:lnTo>
                        <a:lnTo>
                          <a:pt x="147" y="490"/>
                        </a:lnTo>
                        <a:lnTo>
                          <a:pt x="156" y="476"/>
                        </a:lnTo>
                        <a:lnTo>
                          <a:pt x="160" y="468"/>
                        </a:lnTo>
                        <a:lnTo>
                          <a:pt x="166" y="458"/>
                        </a:lnTo>
                        <a:lnTo>
                          <a:pt x="170" y="437"/>
                        </a:lnTo>
                        <a:lnTo>
                          <a:pt x="173" y="425"/>
                        </a:lnTo>
                        <a:lnTo>
                          <a:pt x="178" y="407"/>
                        </a:lnTo>
                        <a:lnTo>
                          <a:pt x="187" y="380"/>
                        </a:lnTo>
                        <a:lnTo>
                          <a:pt x="190" y="369"/>
                        </a:lnTo>
                        <a:lnTo>
                          <a:pt x="199" y="344"/>
                        </a:lnTo>
                        <a:lnTo>
                          <a:pt x="202" y="329"/>
                        </a:lnTo>
                        <a:lnTo>
                          <a:pt x="210" y="310"/>
                        </a:lnTo>
                        <a:lnTo>
                          <a:pt x="221" y="275"/>
                        </a:lnTo>
                        <a:lnTo>
                          <a:pt x="223" y="269"/>
                        </a:lnTo>
                        <a:lnTo>
                          <a:pt x="224" y="269"/>
                        </a:lnTo>
                        <a:lnTo>
                          <a:pt x="231" y="249"/>
                        </a:lnTo>
                        <a:lnTo>
                          <a:pt x="238" y="214"/>
                        </a:lnTo>
                        <a:lnTo>
                          <a:pt x="238" y="204"/>
                        </a:lnTo>
                        <a:lnTo>
                          <a:pt x="240" y="192"/>
                        </a:lnTo>
                        <a:lnTo>
                          <a:pt x="245" y="182"/>
                        </a:lnTo>
                        <a:lnTo>
                          <a:pt x="250" y="178"/>
                        </a:lnTo>
                        <a:lnTo>
                          <a:pt x="252" y="171"/>
                        </a:lnTo>
                        <a:lnTo>
                          <a:pt x="252" y="160"/>
                        </a:lnTo>
                        <a:lnTo>
                          <a:pt x="248" y="151"/>
                        </a:lnTo>
                        <a:lnTo>
                          <a:pt x="248" y="141"/>
                        </a:lnTo>
                        <a:lnTo>
                          <a:pt x="250" y="125"/>
                        </a:lnTo>
                        <a:lnTo>
                          <a:pt x="257" y="125"/>
                        </a:lnTo>
                        <a:lnTo>
                          <a:pt x="260" y="134"/>
                        </a:lnTo>
                        <a:lnTo>
                          <a:pt x="263" y="144"/>
                        </a:lnTo>
                        <a:lnTo>
                          <a:pt x="269" y="144"/>
                        </a:lnTo>
                        <a:lnTo>
                          <a:pt x="273" y="134"/>
                        </a:lnTo>
                        <a:lnTo>
                          <a:pt x="274" y="124"/>
                        </a:lnTo>
                        <a:lnTo>
                          <a:pt x="273" y="114"/>
                        </a:lnTo>
                        <a:lnTo>
                          <a:pt x="268" y="104"/>
                        </a:lnTo>
                        <a:lnTo>
                          <a:pt x="266" y="93"/>
                        </a:lnTo>
                        <a:lnTo>
                          <a:pt x="265" y="82"/>
                        </a:lnTo>
                        <a:lnTo>
                          <a:pt x="263" y="72"/>
                        </a:lnTo>
                        <a:lnTo>
                          <a:pt x="260" y="60"/>
                        </a:lnTo>
                        <a:lnTo>
                          <a:pt x="257" y="48"/>
                        </a:lnTo>
                        <a:lnTo>
                          <a:pt x="256" y="41"/>
                        </a:lnTo>
                        <a:lnTo>
                          <a:pt x="253" y="31"/>
                        </a:lnTo>
                        <a:lnTo>
                          <a:pt x="248" y="22"/>
                        </a:lnTo>
                        <a:lnTo>
                          <a:pt x="241" y="15"/>
                        </a:lnTo>
                        <a:lnTo>
                          <a:pt x="235" y="7"/>
                        </a:lnTo>
                        <a:lnTo>
                          <a:pt x="227" y="0"/>
                        </a:lnTo>
                        <a:lnTo>
                          <a:pt x="221" y="4"/>
                        </a:lnTo>
                        <a:lnTo>
                          <a:pt x="215" y="11"/>
                        </a:lnTo>
                        <a:lnTo>
                          <a:pt x="211" y="10"/>
                        </a:lnTo>
                        <a:lnTo>
                          <a:pt x="215" y="15"/>
                        </a:lnTo>
                        <a:lnTo>
                          <a:pt x="215" y="31"/>
                        </a:lnTo>
                        <a:lnTo>
                          <a:pt x="211" y="41"/>
                        </a:lnTo>
                        <a:lnTo>
                          <a:pt x="205" y="46"/>
                        </a:lnTo>
                        <a:lnTo>
                          <a:pt x="200" y="41"/>
                        </a:lnTo>
                        <a:lnTo>
                          <a:pt x="199" y="50"/>
                        </a:lnTo>
                        <a:lnTo>
                          <a:pt x="190" y="62"/>
                        </a:lnTo>
                        <a:lnTo>
                          <a:pt x="187" y="56"/>
                        </a:lnTo>
                        <a:lnTo>
                          <a:pt x="179" y="52"/>
                        </a:lnTo>
                        <a:lnTo>
                          <a:pt x="177" y="56"/>
                        </a:lnTo>
                        <a:lnTo>
                          <a:pt x="179" y="63"/>
                        </a:lnTo>
                        <a:lnTo>
                          <a:pt x="182" y="69"/>
                        </a:lnTo>
                        <a:lnTo>
                          <a:pt x="182" y="78"/>
                        </a:lnTo>
                        <a:lnTo>
                          <a:pt x="177" y="74"/>
                        </a:lnTo>
                        <a:lnTo>
                          <a:pt x="172" y="81"/>
                        </a:lnTo>
                        <a:lnTo>
                          <a:pt x="170" y="85"/>
                        </a:lnTo>
                        <a:lnTo>
                          <a:pt x="173" y="91"/>
                        </a:lnTo>
                        <a:lnTo>
                          <a:pt x="179" y="93"/>
                        </a:lnTo>
                        <a:lnTo>
                          <a:pt x="182" y="96"/>
                        </a:lnTo>
                        <a:lnTo>
                          <a:pt x="177" y="97"/>
                        </a:lnTo>
                        <a:lnTo>
                          <a:pt x="172" y="96"/>
                        </a:lnTo>
                        <a:lnTo>
                          <a:pt x="160" y="109"/>
                        </a:lnTo>
                        <a:lnTo>
                          <a:pt x="162" y="101"/>
                        </a:lnTo>
                        <a:lnTo>
                          <a:pt x="160" y="97"/>
                        </a:lnTo>
                        <a:lnTo>
                          <a:pt x="156" y="101"/>
                        </a:lnTo>
                        <a:lnTo>
                          <a:pt x="156" y="103"/>
                        </a:lnTo>
                        <a:lnTo>
                          <a:pt x="150" y="110"/>
                        </a:lnTo>
                        <a:lnTo>
                          <a:pt x="146" y="114"/>
                        </a:lnTo>
                        <a:lnTo>
                          <a:pt x="153" y="127"/>
                        </a:lnTo>
                        <a:lnTo>
                          <a:pt x="149" y="130"/>
                        </a:lnTo>
                        <a:lnTo>
                          <a:pt x="143" y="129"/>
                        </a:lnTo>
                        <a:lnTo>
                          <a:pt x="142" y="120"/>
                        </a:lnTo>
                        <a:lnTo>
                          <a:pt x="137" y="119"/>
                        </a:lnTo>
                        <a:lnTo>
                          <a:pt x="129" y="123"/>
                        </a:lnTo>
                        <a:lnTo>
                          <a:pt x="121" y="130"/>
                        </a:lnTo>
                        <a:lnTo>
                          <a:pt x="121" y="137"/>
                        </a:lnTo>
                        <a:lnTo>
                          <a:pt x="128" y="144"/>
                        </a:lnTo>
                        <a:lnTo>
                          <a:pt x="129" y="149"/>
                        </a:lnTo>
                        <a:lnTo>
                          <a:pt x="124" y="150"/>
                        </a:lnTo>
                        <a:lnTo>
                          <a:pt x="118" y="149"/>
                        </a:lnTo>
                        <a:lnTo>
                          <a:pt x="114" y="145"/>
                        </a:lnTo>
                        <a:lnTo>
                          <a:pt x="111" y="137"/>
                        </a:lnTo>
                        <a:lnTo>
                          <a:pt x="107" y="135"/>
                        </a:lnTo>
                        <a:lnTo>
                          <a:pt x="102" y="140"/>
                        </a:lnTo>
                        <a:lnTo>
                          <a:pt x="98" y="137"/>
                        </a:lnTo>
                        <a:lnTo>
                          <a:pt x="91" y="139"/>
                        </a:lnTo>
                        <a:lnTo>
                          <a:pt x="91" y="144"/>
                        </a:lnTo>
                        <a:lnTo>
                          <a:pt x="87" y="148"/>
                        </a:lnTo>
                        <a:lnTo>
                          <a:pt x="84" y="147"/>
                        </a:lnTo>
                        <a:lnTo>
                          <a:pt x="79" y="151"/>
                        </a:lnTo>
                        <a:lnTo>
                          <a:pt x="77" y="150"/>
                        </a:lnTo>
                        <a:lnTo>
                          <a:pt x="75" y="147"/>
                        </a:lnTo>
                        <a:lnTo>
                          <a:pt x="67" y="151"/>
                        </a:lnTo>
                        <a:lnTo>
                          <a:pt x="64" y="154"/>
                        </a:lnTo>
                        <a:lnTo>
                          <a:pt x="53" y="155"/>
                        </a:lnTo>
                        <a:lnTo>
                          <a:pt x="48" y="152"/>
                        </a:lnTo>
                        <a:lnTo>
                          <a:pt x="44" y="157"/>
                        </a:lnTo>
                        <a:close/>
                      </a:path>
                    </a:pathLst>
                  </a:custGeom>
                  <a:solidFill>
                    <a:srgbClr val="9BBB59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2" name="Freeform 152"/>
                  <p:cNvSpPr>
                    <a:spLocks/>
                  </p:cNvSpPr>
                  <p:nvPr/>
                </p:nvSpPr>
                <p:spPr bwMode="auto">
                  <a:xfrm>
                    <a:off x="3067" y="3018"/>
                    <a:ext cx="293" cy="543"/>
                  </a:xfrm>
                  <a:custGeom>
                    <a:avLst/>
                    <a:gdLst>
                      <a:gd name="T0" fmla="*/ 2994 w 274"/>
                      <a:gd name="T1" fmla="*/ 4858 h 517"/>
                      <a:gd name="T2" fmla="*/ 2800 w 274"/>
                      <a:gd name="T3" fmla="*/ 5990 h 517"/>
                      <a:gd name="T4" fmla="*/ 4058 w 274"/>
                      <a:gd name="T5" fmla="*/ 7089 h 517"/>
                      <a:gd name="T6" fmla="*/ 4075 w 274"/>
                      <a:gd name="T7" fmla="*/ 7482 h 517"/>
                      <a:gd name="T8" fmla="*/ 2141 w 274"/>
                      <a:gd name="T9" fmla="*/ 8416 h 517"/>
                      <a:gd name="T10" fmla="*/ 896 w 274"/>
                      <a:gd name="T11" fmla="*/ 9079 h 517"/>
                      <a:gd name="T12" fmla="*/ 0 w 274"/>
                      <a:gd name="T13" fmla="*/ 9783 h 517"/>
                      <a:gd name="T14" fmla="*/ 6 w 274"/>
                      <a:gd name="T15" fmla="*/ 10546 h 517"/>
                      <a:gd name="T16" fmla="*/ 1531 w 274"/>
                      <a:gd name="T17" fmla="*/ 11174 h 517"/>
                      <a:gd name="T18" fmla="*/ 1432 w 274"/>
                      <a:gd name="T19" fmla="*/ 11832 h 517"/>
                      <a:gd name="T20" fmla="*/ 3424 w 274"/>
                      <a:gd name="T21" fmla="*/ 12683 h 517"/>
                      <a:gd name="T22" fmla="*/ 6121 w 274"/>
                      <a:gd name="T23" fmla="*/ 13179 h 517"/>
                      <a:gd name="T24" fmla="*/ 10736 w 274"/>
                      <a:gd name="T25" fmla="*/ 12689 h 517"/>
                      <a:gd name="T26" fmla="*/ 12238 w 274"/>
                      <a:gd name="T27" fmla="*/ 12504 h 517"/>
                      <a:gd name="T28" fmla="*/ 13797 w 274"/>
                      <a:gd name="T29" fmla="*/ 11635 h 517"/>
                      <a:gd name="T30" fmla="*/ 14754 w 274"/>
                      <a:gd name="T31" fmla="*/ 10367 h 517"/>
                      <a:gd name="T32" fmla="*/ 16595 w 274"/>
                      <a:gd name="T33" fmla="*/ 8753 h 517"/>
                      <a:gd name="T34" fmla="*/ 18354 w 274"/>
                      <a:gd name="T35" fmla="*/ 7062 h 517"/>
                      <a:gd name="T36" fmla="*/ 19237 w 274"/>
                      <a:gd name="T37" fmla="*/ 6402 h 517"/>
                      <a:gd name="T38" fmla="*/ 20142 w 274"/>
                      <a:gd name="T39" fmla="*/ 4880 h 517"/>
                      <a:gd name="T40" fmla="*/ 20988 w 274"/>
                      <a:gd name="T41" fmla="*/ 4393 h 517"/>
                      <a:gd name="T42" fmla="*/ 20630 w 274"/>
                      <a:gd name="T43" fmla="*/ 3610 h 517"/>
                      <a:gd name="T44" fmla="*/ 21694 w 274"/>
                      <a:gd name="T45" fmla="*/ 3437 h 517"/>
                      <a:gd name="T46" fmla="*/ 22751 w 274"/>
                      <a:gd name="T47" fmla="*/ 3437 h 517"/>
                      <a:gd name="T48" fmla="*/ 22441 w 274"/>
                      <a:gd name="T49" fmla="*/ 2646 h 517"/>
                      <a:gd name="T50" fmla="*/ 21880 w 274"/>
                      <a:gd name="T51" fmla="*/ 1839 h 517"/>
                      <a:gd name="T52" fmla="*/ 21321 w 274"/>
                      <a:gd name="T53" fmla="*/ 1021 h 517"/>
                      <a:gd name="T54" fmla="*/ 20161 w 274"/>
                      <a:gd name="T55" fmla="*/ 379 h 517"/>
                      <a:gd name="T56" fmla="*/ 18354 w 274"/>
                      <a:gd name="T57" fmla="*/ 4 h 517"/>
                      <a:gd name="T58" fmla="*/ 17893 w 274"/>
                      <a:gd name="T59" fmla="*/ 379 h 517"/>
                      <a:gd name="T60" fmla="*/ 17112 w 274"/>
                      <a:gd name="T61" fmla="*/ 1171 h 517"/>
                      <a:gd name="T62" fmla="*/ 15777 w 274"/>
                      <a:gd name="T63" fmla="*/ 1572 h 517"/>
                      <a:gd name="T64" fmla="*/ 14712 w 274"/>
                      <a:gd name="T65" fmla="*/ 1425 h 517"/>
                      <a:gd name="T66" fmla="*/ 15216 w 274"/>
                      <a:gd name="T67" fmla="*/ 2002 h 517"/>
                      <a:gd name="T68" fmla="*/ 14229 w 274"/>
                      <a:gd name="T69" fmla="*/ 2137 h 517"/>
                      <a:gd name="T70" fmla="*/ 15216 w 274"/>
                      <a:gd name="T71" fmla="*/ 2444 h 517"/>
                      <a:gd name="T72" fmla="*/ 13484 w 274"/>
                      <a:gd name="T73" fmla="*/ 2779 h 517"/>
                      <a:gd name="T74" fmla="*/ 13037 w 274"/>
                      <a:gd name="T75" fmla="*/ 2567 h 517"/>
                      <a:gd name="T76" fmla="*/ 12192 w 274"/>
                      <a:gd name="T77" fmla="*/ 2919 h 517"/>
                      <a:gd name="T78" fmla="*/ 11917 w 274"/>
                      <a:gd name="T79" fmla="*/ 3281 h 517"/>
                      <a:gd name="T80" fmla="*/ 10736 w 274"/>
                      <a:gd name="T81" fmla="*/ 3124 h 517"/>
                      <a:gd name="T82" fmla="*/ 10702 w 274"/>
                      <a:gd name="T83" fmla="*/ 3654 h 517"/>
                      <a:gd name="T84" fmla="*/ 9786 w 274"/>
                      <a:gd name="T85" fmla="*/ 3801 h 517"/>
                      <a:gd name="T86" fmla="*/ 8898 w 274"/>
                      <a:gd name="T87" fmla="*/ 3446 h 517"/>
                      <a:gd name="T88" fmla="*/ 7546 w 274"/>
                      <a:gd name="T89" fmla="*/ 3552 h 517"/>
                      <a:gd name="T90" fmla="*/ 6999 w 274"/>
                      <a:gd name="T91" fmla="*/ 3746 h 517"/>
                      <a:gd name="T92" fmla="*/ 6259 w 274"/>
                      <a:gd name="T93" fmla="*/ 3746 h 517"/>
                      <a:gd name="T94" fmla="*/ 4476 w 274"/>
                      <a:gd name="T95" fmla="*/ 3983 h 51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274"/>
                      <a:gd name="T145" fmla="*/ 0 h 517"/>
                      <a:gd name="T146" fmla="*/ 274 w 274"/>
                      <a:gd name="T147" fmla="*/ 517 h 51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274" h="517">
                        <a:moveTo>
                          <a:pt x="44" y="157"/>
                        </a:moveTo>
                        <a:lnTo>
                          <a:pt x="46" y="168"/>
                        </a:lnTo>
                        <a:lnTo>
                          <a:pt x="36" y="190"/>
                        </a:lnTo>
                        <a:lnTo>
                          <a:pt x="26" y="205"/>
                        </a:lnTo>
                        <a:lnTo>
                          <a:pt x="33" y="216"/>
                        </a:lnTo>
                        <a:lnTo>
                          <a:pt x="34" y="236"/>
                        </a:lnTo>
                        <a:lnTo>
                          <a:pt x="38" y="255"/>
                        </a:lnTo>
                        <a:lnTo>
                          <a:pt x="43" y="268"/>
                        </a:lnTo>
                        <a:lnTo>
                          <a:pt x="48" y="277"/>
                        </a:lnTo>
                        <a:lnTo>
                          <a:pt x="50" y="284"/>
                        </a:lnTo>
                        <a:lnTo>
                          <a:pt x="47" y="287"/>
                        </a:lnTo>
                        <a:lnTo>
                          <a:pt x="49" y="294"/>
                        </a:lnTo>
                        <a:lnTo>
                          <a:pt x="46" y="302"/>
                        </a:lnTo>
                        <a:lnTo>
                          <a:pt x="39" y="308"/>
                        </a:lnTo>
                        <a:lnTo>
                          <a:pt x="26" y="331"/>
                        </a:lnTo>
                        <a:lnTo>
                          <a:pt x="21" y="348"/>
                        </a:lnTo>
                        <a:lnTo>
                          <a:pt x="15" y="349"/>
                        </a:lnTo>
                        <a:lnTo>
                          <a:pt x="11" y="356"/>
                        </a:lnTo>
                        <a:lnTo>
                          <a:pt x="5" y="366"/>
                        </a:lnTo>
                        <a:lnTo>
                          <a:pt x="0" y="374"/>
                        </a:lnTo>
                        <a:lnTo>
                          <a:pt x="0" y="385"/>
                        </a:lnTo>
                        <a:lnTo>
                          <a:pt x="1" y="394"/>
                        </a:lnTo>
                        <a:lnTo>
                          <a:pt x="1" y="404"/>
                        </a:lnTo>
                        <a:lnTo>
                          <a:pt x="6" y="414"/>
                        </a:lnTo>
                        <a:lnTo>
                          <a:pt x="12" y="418"/>
                        </a:lnTo>
                        <a:lnTo>
                          <a:pt x="16" y="427"/>
                        </a:lnTo>
                        <a:lnTo>
                          <a:pt x="19" y="438"/>
                        </a:lnTo>
                        <a:lnTo>
                          <a:pt x="16" y="445"/>
                        </a:lnTo>
                        <a:lnTo>
                          <a:pt x="16" y="453"/>
                        </a:lnTo>
                        <a:lnTo>
                          <a:pt x="18" y="465"/>
                        </a:lnTo>
                        <a:lnTo>
                          <a:pt x="22" y="476"/>
                        </a:lnTo>
                        <a:lnTo>
                          <a:pt x="33" y="490"/>
                        </a:lnTo>
                        <a:lnTo>
                          <a:pt x="41" y="497"/>
                        </a:lnTo>
                        <a:lnTo>
                          <a:pt x="50" y="502"/>
                        </a:lnTo>
                        <a:lnTo>
                          <a:pt x="60" y="507"/>
                        </a:lnTo>
                        <a:lnTo>
                          <a:pt x="74" y="517"/>
                        </a:lnTo>
                        <a:lnTo>
                          <a:pt x="84" y="515"/>
                        </a:lnTo>
                        <a:lnTo>
                          <a:pt x="106" y="503"/>
                        </a:lnTo>
                        <a:lnTo>
                          <a:pt x="129" y="498"/>
                        </a:lnTo>
                        <a:lnTo>
                          <a:pt x="135" y="500"/>
                        </a:lnTo>
                        <a:lnTo>
                          <a:pt x="142" y="496"/>
                        </a:lnTo>
                        <a:lnTo>
                          <a:pt x="147" y="490"/>
                        </a:lnTo>
                        <a:lnTo>
                          <a:pt x="156" y="476"/>
                        </a:lnTo>
                        <a:lnTo>
                          <a:pt x="160" y="468"/>
                        </a:lnTo>
                        <a:lnTo>
                          <a:pt x="166" y="458"/>
                        </a:lnTo>
                        <a:lnTo>
                          <a:pt x="170" y="437"/>
                        </a:lnTo>
                        <a:lnTo>
                          <a:pt x="173" y="425"/>
                        </a:lnTo>
                        <a:lnTo>
                          <a:pt x="178" y="407"/>
                        </a:lnTo>
                        <a:lnTo>
                          <a:pt x="187" y="380"/>
                        </a:lnTo>
                        <a:lnTo>
                          <a:pt x="190" y="369"/>
                        </a:lnTo>
                        <a:lnTo>
                          <a:pt x="199" y="344"/>
                        </a:lnTo>
                        <a:lnTo>
                          <a:pt x="202" y="329"/>
                        </a:lnTo>
                        <a:lnTo>
                          <a:pt x="210" y="310"/>
                        </a:lnTo>
                        <a:lnTo>
                          <a:pt x="221" y="275"/>
                        </a:lnTo>
                        <a:lnTo>
                          <a:pt x="223" y="269"/>
                        </a:lnTo>
                        <a:lnTo>
                          <a:pt x="224" y="269"/>
                        </a:lnTo>
                        <a:lnTo>
                          <a:pt x="231" y="249"/>
                        </a:lnTo>
                        <a:lnTo>
                          <a:pt x="238" y="214"/>
                        </a:lnTo>
                        <a:lnTo>
                          <a:pt x="238" y="204"/>
                        </a:lnTo>
                        <a:lnTo>
                          <a:pt x="240" y="192"/>
                        </a:lnTo>
                        <a:lnTo>
                          <a:pt x="245" y="182"/>
                        </a:lnTo>
                        <a:lnTo>
                          <a:pt x="250" y="178"/>
                        </a:lnTo>
                        <a:lnTo>
                          <a:pt x="252" y="171"/>
                        </a:lnTo>
                        <a:lnTo>
                          <a:pt x="252" y="160"/>
                        </a:lnTo>
                        <a:lnTo>
                          <a:pt x="248" y="151"/>
                        </a:lnTo>
                        <a:lnTo>
                          <a:pt x="248" y="141"/>
                        </a:lnTo>
                        <a:lnTo>
                          <a:pt x="250" y="125"/>
                        </a:lnTo>
                        <a:lnTo>
                          <a:pt x="257" y="125"/>
                        </a:lnTo>
                        <a:lnTo>
                          <a:pt x="260" y="134"/>
                        </a:lnTo>
                        <a:lnTo>
                          <a:pt x="263" y="144"/>
                        </a:lnTo>
                        <a:lnTo>
                          <a:pt x="269" y="144"/>
                        </a:lnTo>
                        <a:lnTo>
                          <a:pt x="273" y="134"/>
                        </a:lnTo>
                        <a:lnTo>
                          <a:pt x="274" y="124"/>
                        </a:lnTo>
                        <a:lnTo>
                          <a:pt x="273" y="114"/>
                        </a:lnTo>
                        <a:lnTo>
                          <a:pt x="268" y="104"/>
                        </a:lnTo>
                        <a:lnTo>
                          <a:pt x="266" y="93"/>
                        </a:lnTo>
                        <a:lnTo>
                          <a:pt x="265" y="82"/>
                        </a:lnTo>
                        <a:lnTo>
                          <a:pt x="263" y="72"/>
                        </a:lnTo>
                        <a:lnTo>
                          <a:pt x="260" y="60"/>
                        </a:lnTo>
                        <a:lnTo>
                          <a:pt x="257" y="48"/>
                        </a:lnTo>
                        <a:lnTo>
                          <a:pt x="256" y="41"/>
                        </a:lnTo>
                        <a:lnTo>
                          <a:pt x="253" y="31"/>
                        </a:lnTo>
                        <a:lnTo>
                          <a:pt x="248" y="22"/>
                        </a:lnTo>
                        <a:lnTo>
                          <a:pt x="241" y="15"/>
                        </a:lnTo>
                        <a:lnTo>
                          <a:pt x="235" y="7"/>
                        </a:lnTo>
                        <a:lnTo>
                          <a:pt x="227" y="0"/>
                        </a:lnTo>
                        <a:lnTo>
                          <a:pt x="221" y="4"/>
                        </a:lnTo>
                        <a:lnTo>
                          <a:pt x="215" y="11"/>
                        </a:lnTo>
                        <a:lnTo>
                          <a:pt x="211" y="10"/>
                        </a:lnTo>
                        <a:lnTo>
                          <a:pt x="215" y="15"/>
                        </a:lnTo>
                        <a:lnTo>
                          <a:pt x="215" y="31"/>
                        </a:lnTo>
                        <a:lnTo>
                          <a:pt x="211" y="41"/>
                        </a:lnTo>
                        <a:lnTo>
                          <a:pt x="205" y="46"/>
                        </a:lnTo>
                        <a:lnTo>
                          <a:pt x="200" y="41"/>
                        </a:lnTo>
                        <a:lnTo>
                          <a:pt x="199" y="50"/>
                        </a:lnTo>
                        <a:lnTo>
                          <a:pt x="190" y="62"/>
                        </a:lnTo>
                        <a:lnTo>
                          <a:pt x="187" y="56"/>
                        </a:lnTo>
                        <a:lnTo>
                          <a:pt x="179" y="52"/>
                        </a:lnTo>
                        <a:lnTo>
                          <a:pt x="177" y="56"/>
                        </a:lnTo>
                        <a:lnTo>
                          <a:pt x="179" y="63"/>
                        </a:lnTo>
                        <a:lnTo>
                          <a:pt x="182" y="69"/>
                        </a:lnTo>
                        <a:lnTo>
                          <a:pt x="182" y="78"/>
                        </a:lnTo>
                        <a:lnTo>
                          <a:pt x="177" y="74"/>
                        </a:lnTo>
                        <a:lnTo>
                          <a:pt x="172" y="81"/>
                        </a:lnTo>
                        <a:lnTo>
                          <a:pt x="170" y="85"/>
                        </a:lnTo>
                        <a:lnTo>
                          <a:pt x="173" y="91"/>
                        </a:lnTo>
                        <a:lnTo>
                          <a:pt x="179" y="93"/>
                        </a:lnTo>
                        <a:lnTo>
                          <a:pt x="182" y="96"/>
                        </a:lnTo>
                        <a:lnTo>
                          <a:pt x="177" y="97"/>
                        </a:lnTo>
                        <a:lnTo>
                          <a:pt x="172" y="96"/>
                        </a:lnTo>
                        <a:lnTo>
                          <a:pt x="160" y="109"/>
                        </a:lnTo>
                        <a:lnTo>
                          <a:pt x="162" y="101"/>
                        </a:lnTo>
                        <a:lnTo>
                          <a:pt x="160" y="97"/>
                        </a:lnTo>
                        <a:lnTo>
                          <a:pt x="156" y="101"/>
                        </a:lnTo>
                        <a:lnTo>
                          <a:pt x="156" y="103"/>
                        </a:lnTo>
                        <a:lnTo>
                          <a:pt x="150" y="110"/>
                        </a:lnTo>
                        <a:lnTo>
                          <a:pt x="146" y="114"/>
                        </a:lnTo>
                        <a:lnTo>
                          <a:pt x="153" y="127"/>
                        </a:lnTo>
                        <a:lnTo>
                          <a:pt x="149" y="130"/>
                        </a:lnTo>
                        <a:lnTo>
                          <a:pt x="143" y="129"/>
                        </a:lnTo>
                        <a:lnTo>
                          <a:pt x="142" y="120"/>
                        </a:lnTo>
                        <a:lnTo>
                          <a:pt x="137" y="119"/>
                        </a:lnTo>
                        <a:lnTo>
                          <a:pt x="129" y="123"/>
                        </a:lnTo>
                        <a:lnTo>
                          <a:pt x="121" y="130"/>
                        </a:lnTo>
                        <a:lnTo>
                          <a:pt x="121" y="137"/>
                        </a:lnTo>
                        <a:lnTo>
                          <a:pt x="128" y="144"/>
                        </a:lnTo>
                        <a:lnTo>
                          <a:pt x="129" y="149"/>
                        </a:lnTo>
                        <a:lnTo>
                          <a:pt x="124" y="150"/>
                        </a:lnTo>
                        <a:lnTo>
                          <a:pt x="118" y="149"/>
                        </a:lnTo>
                        <a:lnTo>
                          <a:pt x="114" y="145"/>
                        </a:lnTo>
                        <a:lnTo>
                          <a:pt x="111" y="137"/>
                        </a:lnTo>
                        <a:lnTo>
                          <a:pt x="107" y="135"/>
                        </a:lnTo>
                        <a:lnTo>
                          <a:pt x="102" y="140"/>
                        </a:lnTo>
                        <a:lnTo>
                          <a:pt x="98" y="137"/>
                        </a:lnTo>
                        <a:lnTo>
                          <a:pt x="91" y="139"/>
                        </a:lnTo>
                        <a:lnTo>
                          <a:pt x="91" y="144"/>
                        </a:lnTo>
                        <a:lnTo>
                          <a:pt x="87" y="148"/>
                        </a:lnTo>
                        <a:lnTo>
                          <a:pt x="84" y="147"/>
                        </a:lnTo>
                        <a:lnTo>
                          <a:pt x="79" y="151"/>
                        </a:lnTo>
                        <a:lnTo>
                          <a:pt x="77" y="150"/>
                        </a:lnTo>
                        <a:lnTo>
                          <a:pt x="75" y="147"/>
                        </a:lnTo>
                        <a:lnTo>
                          <a:pt x="67" y="151"/>
                        </a:lnTo>
                        <a:lnTo>
                          <a:pt x="64" y="154"/>
                        </a:lnTo>
                        <a:lnTo>
                          <a:pt x="53" y="155"/>
                        </a:lnTo>
                        <a:lnTo>
                          <a:pt x="48" y="152"/>
                        </a:lnTo>
                        <a:lnTo>
                          <a:pt x="44" y="157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3" name="Freeform 153"/>
                  <p:cNvSpPr>
                    <a:spLocks/>
                  </p:cNvSpPr>
                  <p:nvPr/>
                </p:nvSpPr>
                <p:spPr bwMode="auto">
                  <a:xfrm>
                    <a:off x="3561" y="3372"/>
                    <a:ext cx="31" cy="29"/>
                  </a:xfrm>
                  <a:custGeom>
                    <a:avLst/>
                    <a:gdLst>
                      <a:gd name="T0" fmla="*/ 2 w 29"/>
                      <a:gd name="T1" fmla="*/ 4 h 28"/>
                      <a:gd name="T2" fmla="*/ 5 w 29"/>
                      <a:gd name="T3" fmla="*/ 164 h 28"/>
                      <a:gd name="T4" fmla="*/ 996 w 29"/>
                      <a:gd name="T5" fmla="*/ 218 h 28"/>
                      <a:gd name="T6" fmla="*/ 1486 w 29"/>
                      <a:gd name="T7" fmla="*/ 269 h 28"/>
                      <a:gd name="T8" fmla="*/ 2215 w 29"/>
                      <a:gd name="T9" fmla="*/ 251 h 28"/>
                      <a:gd name="T10" fmla="*/ 2368 w 29"/>
                      <a:gd name="T11" fmla="*/ 196 h 28"/>
                      <a:gd name="T12" fmla="*/ 2368 w 29"/>
                      <a:gd name="T13" fmla="*/ 11 h 28"/>
                      <a:gd name="T14" fmla="*/ 1938 w 29"/>
                      <a:gd name="T15" fmla="*/ 4 h 28"/>
                      <a:gd name="T16" fmla="*/ 1300 w 29"/>
                      <a:gd name="T17" fmla="*/ 0 h 28"/>
                      <a:gd name="T18" fmla="*/ 0 w 29"/>
                      <a:gd name="T19" fmla="*/ 2 h 28"/>
                      <a:gd name="T20" fmla="*/ 2 w 29"/>
                      <a:gd name="T21" fmla="*/ 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2" y="4"/>
                        </a:moveTo>
                        <a:lnTo>
                          <a:pt x="5" y="14"/>
                        </a:lnTo>
                        <a:lnTo>
                          <a:pt x="13" y="22"/>
                        </a:lnTo>
                        <a:lnTo>
                          <a:pt x="19" y="28"/>
                        </a:lnTo>
                        <a:lnTo>
                          <a:pt x="27" y="26"/>
                        </a:lnTo>
                        <a:lnTo>
                          <a:pt x="29" y="19"/>
                        </a:lnTo>
                        <a:lnTo>
                          <a:pt x="29" y="11"/>
                        </a:lnTo>
                        <a:lnTo>
                          <a:pt x="23" y="4"/>
                        </a:lnTo>
                        <a:lnTo>
                          <a:pt x="17" y="0"/>
                        </a:lnTo>
                        <a:lnTo>
                          <a:pt x="0" y="2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4" name="Freeform 154"/>
                  <p:cNvSpPr>
                    <a:spLocks/>
                  </p:cNvSpPr>
                  <p:nvPr/>
                </p:nvSpPr>
                <p:spPr bwMode="auto">
                  <a:xfrm>
                    <a:off x="3561" y="3372"/>
                    <a:ext cx="31" cy="29"/>
                  </a:xfrm>
                  <a:custGeom>
                    <a:avLst/>
                    <a:gdLst>
                      <a:gd name="T0" fmla="*/ 2 w 29"/>
                      <a:gd name="T1" fmla="*/ 4 h 28"/>
                      <a:gd name="T2" fmla="*/ 5 w 29"/>
                      <a:gd name="T3" fmla="*/ 164 h 28"/>
                      <a:gd name="T4" fmla="*/ 996 w 29"/>
                      <a:gd name="T5" fmla="*/ 218 h 28"/>
                      <a:gd name="T6" fmla="*/ 1486 w 29"/>
                      <a:gd name="T7" fmla="*/ 269 h 28"/>
                      <a:gd name="T8" fmla="*/ 2215 w 29"/>
                      <a:gd name="T9" fmla="*/ 251 h 28"/>
                      <a:gd name="T10" fmla="*/ 2368 w 29"/>
                      <a:gd name="T11" fmla="*/ 196 h 28"/>
                      <a:gd name="T12" fmla="*/ 2368 w 29"/>
                      <a:gd name="T13" fmla="*/ 11 h 28"/>
                      <a:gd name="T14" fmla="*/ 1938 w 29"/>
                      <a:gd name="T15" fmla="*/ 4 h 28"/>
                      <a:gd name="T16" fmla="*/ 1300 w 29"/>
                      <a:gd name="T17" fmla="*/ 0 h 28"/>
                      <a:gd name="T18" fmla="*/ 0 w 29"/>
                      <a:gd name="T19" fmla="*/ 2 h 28"/>
                      <a:gd name="T20" fmla="*/ 2 w 29"/>
                      <a:gd name="T21" fmla="*/ 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2" y="4"/>
                        </a:moveTo>
                        <a:lnTo>
                          <a:pt x="5" y="14"/>
                        </a:lnTo>
                        <a:lnTo>
                          <a:pt x="13" y="22"/>
                        </a:lnTo>
                        <a:lnTo>
                          <a:pt x="19" y="28"/>
                        </a:lnTo>
                        <a:lnTo>
                          <a:pt x="27" y="26"/>
                        </a:lnTo>
                        <a:lnTo>
                          <a:pt x="29" y="19"/>
                        </a:lnTo>
                        <a:lnTo>
                          <a:pt x="29" y="11"/>
                        </a:lnTo>
                        <a:lnTo>
                          <a:pt x="23" y="4"/>
                        </a:lnTo>
                        <a:lnTo>
                          <a:pt x="17" y="0"/>
                        </a:lnTo>
                        <a:lnTo>
                          <a:pt x="0" y="2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5" name="Freeform 155"/>
                  <p:cNvSpPr>
                    <a:spLocks/>
                  </p:cNvSpPr>
                  <p:nvPr/>
                </p:nvSpPr>
                <p:spPr bwMode="auto">
                  <a:xfrm>
                    <a:off x="3652" y="3333"/>
                    <a:ext cx="30" cy="29"/>
                  </a:xfrm>
                  <a:custGeom>
                    <a:avLst/>
                    <a:gdLst>
                      <a:gd name="T0" fmla="*/ 1038 w 28"/>
                      <a:gd name="T1" fmla="*/ 4 h 28"/>
                      <a:gd name="T2" fmla="*/ 6 w 28"/>
                      <a:gd name="T3" fmla="*/ 9 h 28"/>
                      <a:gd name="T4" fmla="*/ 0 w 28"/>
                      <a:gd name="T5" fmla="*/ 189 h 28"/>
                      <a:gd name="T6" fmla="*/ 2 w 28"/>
                      <a:gd name="T7" fmla="*/ 269 h 28"/>
                      <a:gd name="T8" fmla="*/ 1570 w 28"/>
                      <a:gd name="T9" fmla="*/ 251 h 28"/>
                      <a:gd name="T10" fmla="*/ 2375 w 28"/>
                      <a:gd name="T11" fmla="*/ 226 h 28"/>
                      <a:gd name="T12" fmla="*/ 2634 w 28"/>
                      <a:gd name="T13" fmla="*/ 176 h 28"/>
                      <a:gd name="T14" fmla="*/ 2294 w 28"/>
                      <a:gd name="T15" fmla="*/ 7 h 28"/>
                      <a:gd name="T16" fmla="*/ 2141 w 28"/>
                      <a:gd name="T17" fmla="*/ 0 h 28"/>
                      <a:gd name="T18" fmla="*/ 1112 w 28"/>
                      <a:gd name="T19" fmla="*/ 2 h 28"/>
                      <a:gd name="T20" fmla="*/ 1038 w 28"/>
                      <a:gd name="T21" fmla="*/ 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8"/>
                      <a:gd name="T34" fmla="*/ 0 h 28"/>
                      <a:gd name="T35" fmla="*/ 28 w 28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8" h="28">
                        <a:moveTo>
                          <a:pt x="11" y="4"/>
                        </a:moveTo>
                        <a:lnTo>
                          <a:pt x="6" y="9"/>
                        </a:lnTo>
                        <a:lnTo>
                          <a:pt x="0" y="18"/>
                        </a:lnTo>
                        <a:lnTo>
                          <a:pt x="2" y="28"/>
                        </a:lnTo>
                        <a:lnTo>
                          <a:pt x="17" y="26"/>
                        </a:lnTo>
                        <a:lnTo>
                          <a:pt x="25" y="23"/>
                        </a:lnTo>
                        <a:lnTo>
                          <a:pt x="28" y="16"/>
                        </a:lnTo>
                        <a:lnTo>
                          <a:pt x="24" y="7"/>
                        </a:lnTo>
                        <a:lnTo>
                          <a:pt x="22" y="0"/>
                        </a:lnTo>
                        <a:lnTo>
                          <a:pt x="12" y="2"/>
                        </a:lnTo>
                        <a:lnTo>
                          <a:pt x="11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6" name="Freeform 156"/>
                  <p:cNvSpPr>
                    <a:spLocks/>
                  </p:cNvSpPr>
                  <p:nvPr/>
                </p:nvSpPr>
                <p:spPr bwMode="auto">
                  <a:xfrm>
                    <a:off x="3652" y="3333"/>
                    <a:ext cx="30" cy="29"/>
                  </a:xfrm>
                  <a:custGeom>
                    <a:avLst/>
                    <a:gdLst>
                      <a:gd name="T0" fmla="*/ 1038 w 28"/>
                      <a:gd name="T1" fmla="*/ 4 h 28"/>
                      <a:gd name="T2" fmla="*/ 6 w 28"/>
                      <a:gd name="T3" fmla="*/ 9 h 28"/>
                      <a:gd name="T4" fmla="*/ 0 w 28"/>
                      <a:gd name="T5" fmla="*/ 189 h 28"/>
                      <a:gd name="T6" fmla="*/ 2 w 28"/>
                      <a:gd name="T7" fmla="*/ 269 h 28"/>
                      <a:gd name="T8" fmla="*/ 1570 w 28"/>
                      <a:gd name="T9" fmla="*/ 251 h 28"/>
                      <a:gd name="T10" fmla="*/ 2375 w 28"/>
                      <a:gd name="T11" fmla="*/ 226 h 28"/>
                      <a:gd name="T12" fmla="*/ 2634 w 28"/>
                      <a:gd name="T13" fmla="*/ 176 h 28"/>
                      <a:gd name="T14" fmla="*/ 2294 w 28"/>
                      <a:gd name="T15" fmla="*/ 7 h 28"/>
                      <a:gd name="T16" fmla="*/ 2141 w 28"/>
                      <a:gd name="T17" fmla="*/ 0 h 28"/>
                      <a:gd name="T18" fmla="*/ 1112 w 28"/>
                      <a:gd name="T19" fmla="*/ 2 h 28"/>
                      <a:gd name="T20" fmla="*/ 1038 w 28"/>
                      <a:gd name="T21" fmla="*/ 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8"/>
                      <a:gd name="T34" fmla="*/ 0 h 28"/>
                      <a:gd name="T35" fmla="*/ 28 w 28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8" h="28">
                        <a:moveTo>
                          <a:pt x="11" y="4"/>
                        </a:moveTo>
                        <a:lnTo>
                          <a:pt x="6" y="9"/>
                        </a:lnTo>
                        <a:lnTo>
                          <a:pt x="0" y="18"/>
                        </a:lnTo>
                        <a:lnTo>
                          <a:pt x="2" y="28"/>
                        </a:lnTo>
                        <a:lnTo>
                          <a:pt x="17" y="26"/>
                        </a:lnTo>
                        <a:lnTo>
                          <a:pt x="25" y="23"/>
                        </a:lnTo>
                        <a:lnTo>
                          <a:pt x="28" y="16"/>
                        </a:lnTo>
                        <a:lnTo>
                          <a:pt x="24" y="7"/>
                        </a:lnTo>
                        <a:lnTo>
                          <a:pt x="22" y="0"/>
                        </a:lnTo>
                        <a:lnTo>
                          <a:pt x="12" y="2"/>
                        </a:lnTo>
                        <a:lnTo>
                          <a:pt x="11" y="4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7" name="Freeform 157"/>
                  <p:cNvSpPr>
                    <a:spLocks/>
                  </p:cNvSpPr>
                  <p:nvPr/>
                </p:nvSpPr>
                <p:spPr bwMode="auto">
                  <a:xfrm>
                    <a:off x="1626" y="2366"/>
                    <a:ext cx="31" cy="31"/>
                  </a:xfrm>
                  <a:custGeom>
                    <a:avLst/>
                    <a:gdLst>
                      <a:gd name="T0" fmla="*/ 2368 w 29"/>
                      <a:gd name="T1" fmla="*/ 763 h 29"/>
                      <a:gd name="T2" fmla="*/ 1588 w 29"/>
                      <a:gd name="T3" fmla="*/ 0 h 29"/>
                      <a:gd name="T4" fmla="*/ 872 w 29"/>
                      <a:gd name="T5" fmla="*/ 0 h 29"/>
                      <a:gd name="T6" fmla="*/ 5 w 29"/>
                      <a:gd name="T7" fmla="*/ 1138 h 29"/>
                      <a:gd name="T8" fmla="*/ 0 w 29"/>
                      <a:gd name="T9" fmla="*/ 1588 h 29"/>
                      <a:gd name="T10" fmla="*/ 0 w 29"/>
                      <a:gd name="T11" fmla="*/ 1938 h 29"/>
                      <a:gd name="T12" fmla="*/ 2 w 29"/>
                      <a:gd name="T13" fmla="*/ 1940 h 29"/>
                      <a:gd name="T14" fmla="*/ 7 w 29"/>
                      <a:gd name="T15" fmla="*/ 2215 h 29"/>
                      <a:gd name="T16" fmla="*/ 816 w 29"/>
                      <a:gd name="T17" fmla="*/ 2368 h 29"/>
                      <a:gd name="T18" fmla="*/ 1216 w 29"/>
                      <a:gd name="T19" fmla="*/ 2368 h 29"/>
                      <a:gd name="T20" fmla="*/ 1815 w 29"/>
                      <a:gd name="T21" fmla="*/ 2215 h 29"/>
                      <a:gd name="T22" fmla="*/ 1938 w 29"/>
                      <a:gd name="T23" fmla="*/ 1940 h 29"/>
                      <a:gd name="T24" fmla="*/ 2074 w 29"/>
                      <a:gd name="T25" fmla="*/ 1698 h 29"/>
                      <a:gd name="T26" fmla="*/ 2368 w 29"/>
                      <a:gd name="T27" fmla="*/ 1138 h 29"/>
                      <a:gd name="T28" fmla="*/ 2368 w 29"/>
                      <a:gd name="T29" fmla="*/ 763 h 29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29"/>
                      <a:gd name="T46" fmla="*/ 0 h 29"/>
                      <a:gd name="T47" fmla="*/ 29 w 29"/>
                      <a:gd name="T48" fmla="*/ 29 h 29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29" h="29">
                        <a:moveTo>
                          <a:pt x="29" y="9"/>
                        </a:moveTo>
                        <a:lnTo>
                          <a:pt x="20" y="0"/>
                        </a:lnTo>
                        <a:lnTo>
                          <a:pt x="11" y="0"/>
                        </a:lnTo>
                        <a:lnTo>
                          <a:pt x="5" y="15"/>
                        </a:lnTo>
                        <a:lnTo>
                          <a:pt x="0" y="20"/>
                        </a:lnTo>
                        <a:lnTo>
                          <a:pt x="0" y="23"/>
                        </a:lnTo>
                        <a:lnTo>
                          <a:pt x="2" y="24"/>
                        </a:lnTo>
                        <a:lnTo>
                          <a:pt x="7" y="27"/>
                        </a:lnTo>
                        <a:lnTo>
                          <a:pt x="10" y="29"/>
                        </a:lnTo>
                        <a:lnTo>
                          <a:pt x="16" y="29"/>
                        </a:lnTo>
                        <a:lnTo>
                          <a:pt x="22" y="27"/>
                        </a:lnTo>
                        <a:lnTo>
                          <a:pt x="23" y="24"/>
                        </a:lnTo>
                        <a:lnTo>
                          <a:pt x="26" y="21"/>
                        </a:lnTo>
                        <a:lnTo>
                          <a:pt x="29" y="15"/>
                        </a:lnTo>
                        <a:lnTo>
                          <a:pt x="29" y="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8" name="Freeform 158"/>
                  <p:cNvSpPr>
                    <a:spLocks/>
                  </p:cNvSpPr>
                  <p:nvPr/>
                </p:nvSpPr>
                <p:spPr bwMode="auto">
                  <a:xfrm>
                    <a:off x="1626" y="2366"/>
                    <a:ext cx="31" cy="31"/>
                  </a:xfrm>
                  <a:custGeom>
                    <a:avLst/>
                    <a:gdLst>
                      <a:gd name="T0" fmla="*/ 2368 w 29"/>
                      <a:gd name="T1" fmla="*/ 763 h 29"/>
                      <a:gd name="T2" fmla="*/ 1588 w 29"/>
                      <a:gd name="T3" fmla="*/ 0 h 29"/>
                      <a:gd name="T4" fmla="*/ 872 w 29"/>
                      <a:gd name="T5" fmla="*/ 0 h 29"/>
                      <a:gd name="T6" fmla="*/ 5 w 29"/>
                      <a:gd name="T7" fmla="*/ 1138 h 29"/>
                      <a:gd name="T8" fmla="*/ 0 w 29"/>
                      <a:gd name="T9" fmla="*/ 1588 h 29"/>
                      <a:gd name="T10" fmla="*/ 0 w 29"/>
                      <a:gd name="T11" fmla="*/ 1938 h 29"/>
                      <a:gd name="T12" fmla="*/ 2 w 29"/>
                      <a:gd name="T13" fmla="*/ 1940 h 29"/>
                      <a:gd name="T14" fmla="*/ 7 w 29"/>
                      <a:gd name="T15" fmla="*/ 2215 h 29"/>
                      <a:gd name="T16" fmla="*/ 816 w 29"/>
                      <a:gd name="T17" fmla="*/ 2368 h 29"/>
                      <a:gd name="T18" fmla="*/ 1216 w 29"/>
                      <a:gd name="T19" fmla="*/ 2368 h 29"/>
                      <a:gd name="T20" fmla="*/ 1815 w 29"/>
                      <a:gd name="T21" fmla="*/ 2215 h 29"/>
                      <a:gd name="T22" fmla="*/ 1938 w 29"/>
                      <a:gd name="T23" fmla="*/ 1940 h 29"/>
                      <a:gd name="T24" fmla="*/ 2074 w 29"/>
                      <a:gd name="T25" fmla="*/ 1698 h 29"/>
                      <a:gd name="T26" fmla="*/ 2368 w 29"/>
                      <a:gd name="T27" fmla="*/ 1138 h 29"/>
                      <a:gd name="T28" fmla="*/ 2368 w 29"/>
                      <a:gd name="T29" fmla="*/ 763 h 29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29"/>
                      <a:gd name="T46" fmla="*/ 0 h 29"/>
                      <a:gd name="T47" fmla="*/ 29 w 29"/>
                      <a:gd name="T48" fmla="*/ 29 h 29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29" h="29">
                        <a:moveTo>
                          <a:pt x="29" y="9"/>
                        </a:moveTo>
                        <a:lnTo>
                          <a:pt x="20" y="0"/>
                        </a:lnTo>
                        <a:lnTo>
                          <a:pt x="11" y="0"/>
                        </a:lnTo>
                        <a:lnTo>
                          <a:pt x="5" y="15"/>
                        </a:lnTo>
                        <a:lnTo>
                          <a:pt x="0" y="20"/>
                        </a:lnTo>
                        <a:lnTo>
                          <a:pt x="0" y="23"/>
                        </a:lnTo>
                        <a:lnTo>
                          <a:pt x="2" y="24"/>
                        </a:lnTo>
                        <a:lnTo>
                          <a:pt x="7" y="27"/>
                        </a:lnTo>
                        <a:lnTo>
                          <a:pt x="10" y="29"/>
                        </a:lnTo>
                        <a:lnTo>
                          <a:pt x="16" y="29"/>
                        </a:lnTo>
                        <a:lnTo>
                          <a:pt x="22" y="27"/>
                        </a:lnTo>
                        <a:lnTo>
                          <a:pt x="23" y="24"/>
                        </a:lnTo>
                        <a:lnTo>
                          <a:pt x="26" y="21"/>
                        </a:lnTo>
                        <a:lnTo>
                          <a:pt x="29" y="15"/>
                        </a:lnTo>
                        <a:lnTo>
                          <a:pt x="29" y="9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9" name="Freeform 159"/>
                  <p:cNvSpPr>
                    <a:spLocks/>
                  </p:cNvSpPr>
                  <p:nvPr/>
                </p:nvSpPr>
                <p:spPr bwMode="auto">
                  <a:xfrm>
                    <a:off x="2928" y="2723"/>
                    <a:ext cx="30" cy="30"/>
                  </a:xfrm>
                  <a:custGeom>
                    <a:avLst/>
                    <a:gdLst>
                      <a:gd name="T0" fmla="*/ 2634 w 28"/>
                      <a:gd name="T1" fmla="*/ 10 h 29"/>
                      <a:gd name="T2" fmla="*/ 2634 w 28"/>
                      <a:gd name="T3" fmla="*/ 10 h 29"/>
                      <a:gd name="T4" fmla="*/ 2069 w 28"/>
                      <a:gd name="T5" fmla="*/ 0 h 29"/>
                      <a:gd name="T6" fmla="*/ 969 w 28"/>
                      <a:gd name="T7" fmla="*/ 1 h 29"/>
                      <a:gd name="T8" fmla="*/ 0 w 28"/>
                      <a:gd name="T9" fmla="*/ 0 h 29"/>
                      <a:gd name="T10" fmla="*/ 0 w 28"/>
                      <a:gd name="T11" fmla="*/ 12 h 29"/>
                      <a:gd name="T12" fmla="*/ 0 w 28"/>
                      <a:gd name="T13" fmla="*/ 213 h 29"/>
                      <a:gd name="T14" fmla="*/ 1682 w 28"/>
                      <a:gd name="T15" fmla="*/ 252 h 29"/>
                      <a:gd name="T16" fmla="*/ 2634 w 28"/>
                      <a:gd name="T17" fmla="*/ 168 h 29"/>
                      <a:gd name="T18" fmla="*/ 2634 w 28"/>
                      <a:gd name="T19" fmla="*/ 10 h 2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8"/>
                      <a:gd name="T31" fmla="*/ 0 h 29"/>
                      <a:gd name="T32" fmla="*/ 28 w 28"/>
                      <a:gd name="T33" fmla="*/ 29 h 2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8" h="29">
                        <a:moveTo>
                          <a:pt x="28" y="10"/>
                        </a:moveTo>
                        <a:lnTo>
                          <a:pt x="28" y="10"/>
                        </a:lnTo>
                        <a:lnTo>
                          <a:pt x="21" y="0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lnTo>
                          <a:pt x="0" y="24"/>
                        </a:lnTo>
                        <a:lnTo>
                          <a:pt x="18" y="29"/>
                        </a:lnTo>
                        <a:lnTo>
                          <a:pt x="28" y="17"/>
                        </a:lnTo>
                        <a:lnTo>
                          <a:pt x="28" y="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0" name="Freeform 160"/>
                  <p:cNvSpPr>
                    <a:spLocks/>
                  </p:cNvSpPr>
                  <p:nvPr/>
                </p:nvSpPr>
                <p:spPr bwMode="auto">
                  <a:xfrm>
                    <a:off x="2928" y="2723"/>
                    <a:ext cx="30" cy="30"/>
                  </a:xfrm>
                  <a:custGeom>
                    <a:avLst/>
                    <a:gdLst>
                      <a:gd name="T0" fmla="*/ 2634 w 28"/>
                      <a:gd name="T1" fmla="*/ 10 h 29"/>
                      <a:gd name="T2" fmla="*/ 2634 w 28"/>
                      <a:gd name="T3" fmla="*/ 10 h 29"/>
                      <a:gd name="T4" fmla="*/ 2069 w 28"/>
                      <a:gd name="T5" fmla="*/ 0 h 29"/>
                      <a:gd name="T6" fmla="*/ 969 w 28"/>
                      <a:gd name="T7" fmla="*/ 1 h 29"/>
                      <a:gd name="T8" fmla="*/ 0 w 28"/>
                      <a:gd name="T9" fmla="*/ 0 h 29"/>
                      <a:gd name="T10" fmla="*/ 0 w 28"/>
                      <a:gd name="T11" fmla="*/ 12 h 29"/>
                      <a:gd name="T12" fmla="*/ 0 w 28"/>
                      <a:gd name="T13" fmla="*/ 213 h 29"/>
                      <a:gd name="T14" fmla="*/ 1682 w 28"/>
                      <a:gd name="T15" fmla="*/ 252 h 29"/>
                      <a:gd name="T16" fmla="*/ 2634 w 28"/>
                      <a:gd name="T17" fmla="*/ 168 h 29"/>
                      <a:gd name="T18" fmla="*/ 2634 w 28"/>
                      <a:gd name="T19" fmla="*/ 10 h 2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8"/>
                      <a:gd name="T31" fmla="*/ 0 h 29"/>
                      <a:gd name="T32" fmla="*/ 28 w 28"/>
                      <a:gd name="T33" fmla="*/ 29 h 2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8" h="29">
                        <a:moveTo>
                          <a:pt x="28" y="10"/>
                        </a:moveTo>
                        <a:lnTo>
                          <a:pt x="28" y="10"/>
                        </a:lnTo>
                        <a:lnTo>
                          <a:pt x="21" y="0"/>
                        </a:lnTo>
                        <a:lnTo>
                          <a:pt x="10" y="1"/>
                        </a:lnTo>
                        <a:lnTo>
                          <a:pt x="0" y="0"/>
                        </a:lnTo>
                        <a:lnTo>
                          <a:pt x="0" y="12"/>
                        </a:lnTo>
                        <a:lnTo>
                          <a:pt x="0" y="24"/>
                        </a:lnTo>
                        <a:lnTo>
                          <a:pt x="18" y="29"/>
                        </a:lnTo>
                        <a:lnTo>
                          <a:pt x="28" y="17"/>
                        </a:lnTo>
                        <a:lnTo>
                          <a:pt x="28" y="1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1" name="Freeform 161"/>
                  <p:cNvSpPr>
                    <a:spLocks/>
                  </p:cNvSpPr>
                  <p:nvPr/>
                </p:nvSpPr>
                <p:spPr bwMode="auto">
                  <a:xfrm>
                    <a:off x="2909" y="2757"/>
                    <a:ext cx="31" cy="31"/>
                  </a:xfrm>
                  <a:custGeom>
                    <a:avLst/>
                    <a:gdLst>
                      <a:gd name="T0" fmla="*/ 714 w 29"/>
                      <a:gd name="T1" fmla="*/ 0 h 29"/>
                      <a:gd name="T2" fmla="*/ 2 w 29"/>
                      <a:gd name="T3" fmla="*/ 0 h 29"/>
                      <a:gd name="T4" fmla="*/ 0 w 29"/>
                      <a:gd name="T5" fmla="*/ 6 h 29"/>
                      <a:gd name="T6" fmla="*/ 2 w 29"/>
                      <a:gd name="T7" fmla="*/ 1698 h 29"/>
                      <a:gd name="T8" fmla="*/ 2368 w 29"/>
                      <a:gd name="T9" fmla="*/ 2368 h 29"/>
                      <a:gd name="T10" fmla="*/ 1938 w 29"/>
                      <a:gd name="T11" fmla="*/ 1588 h 29"/>
                      <a:gd name="T12" fmla="*/ 1390 w 29"/>
                      <a:gd name="T13" fmla="*/ 1390 h 29"/>
                      <a:gd name="T14" fmla="*/ 816 w 29"/>
                      <a:gd name="T15" fmla="*/ 1216 h 29"/>
                      <a:gd name="T16" fmla="*/ 714 w 29"/>
                      <a:gd name="T17" fmla="*/ 7 h 29"/>
                      <a:gd name="T18" fmla="*/ 714 w 29"/>
                      <a:gd name="T19" fmla="*/ 0 h 2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9"/>
                      <a:gd name="T31" fmla="*/ 0 h 29"/>
                      <a:gd name="T32" fmla="*/ 29 w 29"/>
                      <a:gd name="T33" fmla="*/ 29 h 2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9" h="29">
                        <a:moveTo>
                          <a:pt x="8" y="0"/>
                        </a:moveTo>
                        <a:lnTo>
                          <a:pt x="2" y="0"/>
                        </a:lnTo>
                        <a:lnTo>
                          <a:pt x="0" y="6"/>
                        </a:lnTo>
                        <a:lnTo>
                          <a:pt x="2" y="21"/>
                        </a:lnTo>
                        <a:lnTo>
                          <a:pt x="29" y="29"/>
                        </a:lnTo>
                        <a:lnTo>
                          <a:pt x="23" y="20"/>
                        </a:lnTo>
                        <a:lnTo>
                          <a:pt x="18" y="18"/>
                        </a:lnTo>
                        <a:lnTo>
                          <a:pt x="10" y="16"/>
                        </a:lnTo>
                        <a:lnTo>
                          <a:pt x="8" y="7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2" name="Freeform 162"/>
                  <p:cNvSpPr>
                    <a:spLocks/>
                  </p:cNvSpPr>
                  <p:nvPr/>
                </p:nvSpPr>
                <p:spPr bwMode="auto">
                  <a:xfrm>
                    <a:off x="2909" y="2757"/>
                    <a:ext cx="31" cy="31"/>
                  </a:xfrm>
                  <a:custGeom>
                    <a:avLst/>
                    <a:gdLst>
                      <a:gd name="T0" fmla="*/ 714 w 29"/>
                      <a:gd name="T1" fmla="*/ 0 h 29"/>
                      <a:gd name="T2" fmla="*/ 2 w 29"/>
                      <a:gd name="T3" fmla="*/ 0 h 29"/>
                      <a:gd name="T4" fmla="*/ 0 w 29"/>
                      <a:gd name="T5" fmla="*/ 6 h 29"/>
                      <a:gd name="T6" fmla="*/ 2 w 29"/>
                      <a:gd name="T7" fmla="*/ 1698 h 29"/>
                      <a:gd name="T8" fmla="*/ 2368 w 29"/>
                      <a:gd name="T9" fmla="*/ 2368 h 29"/>
                      <a:gd name="T10" fmla="*/ 1938 w 29"/>
                      <a:gd name="T11" fmla="*/ 1588 h 29"/>
                      <a:gd name="T12" fmla="*/ 1390 w 29"/>
                      <a:gd name="T13" fmla="*/ 1390 h 29"/>
                      <a:gd name="T14" fmla="*/ 816 w 29"/>
                      <a:gd name="T15" fmla="*/ 1216 h 29"/>
                      <a:gd name="T16" fmla="*/ 714 w 29"/>
                      <a:gd name="T17" fmla="*/ 7 h 29"/>
                      <a:gd name="T18" fmla="*/ 714 w 29"/>
                      <a:gd name="T19" fmla="*/ 0 h 29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9"/>
                      <a:gd name="T31" fmla="*/ 0 h 29"/>
                      <a:gd name="T32" fmla="*/ 29 w 29"/>
                      <a:gd name="T33" fmla="*/ 29 h 29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9" h="29">
                        <a:moveTo>
                          <a:pt x="8" y="0"/>
                        </a:moveTo>
                        <a:lnTo>
                          <a:pt x="2" y="0"/>
                        </a:lnTo>
                        <a:lnTo>
                          <a:pt x="0" y="6"/>
                        </a:lnTo>
                        <a:lnTo>
                          <a:pt x="2" y="21"/>
                        </a:lnTo>
                        <a:lnTo>
                          <a:pt x="29" y="29"/>
                        </a:lnTo>
                        <a:lnTo>
                          <a:pt x="23" y="20"/>
                        </a:lnTo>
                        <a:lnTo>
                          <a:pt x="18" y="18"/>
                        </a:lnTo>
                        <a:lnTo>
                          <a:pt x="10" y="16"/>
                        </a:lnTo>
                        <a:lnTo>
                          <a:pt x="8" y="7"/>
                        </a:lnTo>
                        <a:lnTo>
                          <a:pt x="8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3" name="Freeform 163"/>
                  <p:cNvSpPr>
                    <a:spLocks/>
                  </p:cNvSpPr>
                  <p:nvPr/>
                </p:nvSpPr>
                <p:spPr bwMode="auto">
                  <a:xfrm>
                    <a:off x="3050" y="2049"/>
                    <a:ext cx="31" cy="31"/>
                  </a:xfrm>
                  <a:custGeom>
                    <a:avLst/>
                    <a:gdLst>
                      <a:gd name="T0" fmla="*/ 872 w 29"/>
                      <a:gd name="T1" fmla="*/ 816 h 29"/>
                      <a:gd name="T2" fmla="*/ 1216 w 29"/>
                      <a:gd name="T3" fmla="*/ 0 h 29"/>
                      <a:gd name="T4" fmla="*/ 1216 w 29"/>
                      <a:gd name="T5" fmla="*/ 816 h 29"/>
                      <a:gd name="T6" fmla="*/ 2368 w 29"/>
                      <a:gd name="T7" fmla="*/ 816 h 29"/>
                      <a:gd name="T8" fmla="*/ 1698 w 29"/>
                      <a:gd name="T9" fmla="*/ 1390 h 29"/>
                      <a:gd name="T10" fmla="*/ 1938 w 29"/>
                      <a:gd name="T11" fmla="*/ 2368 h 29"/>
                      <a:gd name="T12" fmla="*/ 1216 w 29"/>
                      <a:gd name="T13" fmla="*/ 1698 h 29"/>
                      <a:gd name="T14" fmla="*/ 5 w 29"/>
                      <a:gd name="T15" fmla="*/ 2368 h 29"/>
                      <a:gd name="T16" fmla="*/ 714 w 29"/>
                      <a:gd name="T17" fmla="*/ 1390 h 29"/>
                      <a:gd name="T18" fmla="*/ 0 w 29"/>
                      <a:gd name="T19" fmla="*/ 816 h 29"/>
                      <a:gd name="T20" fmla="*/ 872 w 29"/>
                      <a:gd name="T21" fmla="*/ 816 h 29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9"/>
                      <a:gd name="T35" fmla="*/ 29 w 29"/>
                      <a:gd name="T36" fmla="*/ 29 h 29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9">
                        <a:moveTo>
                          <a:pt x="11" y="10"/>
                        </a:moveTo>
                        <a:lnTo>
                          <a:pt x="16" y="0"/>
                        </a:lnTo>
                        <a:lnTo>
                          <a:pt x="16" y="10"/>
                        </a:lnTo>
                        <a:lnTo>
                          <a:pt x="29" y="10"/>
                        </a:lnTo>
                        <a:lnTo>
                          <a:pt x="21" y="18"/>
                        </a:lnTo>
                        <a:lnTo>
                          <a:pt x="23" y="29"/>
                        </a:lnTo>
                        <a:lnTo>
                          <a:pt x="16" y="21"/>
                        </a:lnTo>
                        <a:lnTo>
                          <a:pt x="5" y="29"/>
                        </a:lnTo>
                        <a:lnTo>
                          <a:pt x="8" y="18"/>
                        </a:lnTo>
                        <a:lnTo>
                          <a:pt x="0" y="10"/>
                        </a:lnTo>
                        <a:lnTo>
                          <a:pt x="11" y="1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4" name="Freeform 164"/>
                  <p:cNvSpPr>
                    <a:spLocks/>
                  </p:cNvSpPr>
                  <p:nvPr/>
                </p:nvSpPr>
                <p:spPr bwMode="auto">
                  <a:xfrm>
                    <a:off x="3050" y="2049"/>
                    <a:ext cx="31" cy="31"/>
                  </a:xfrm>
                  <a:custGeom>
                    <a:avLst/>
                    <a:gdLst>
                      <a:gd name="T0" fmla="*/ 872 w 29"/>
                      <a:gd name="T1" fmla="*/ 816 h 29"/>
                      <a:gd name="T2" fmla="*/ 1216 w 29"/>
                      <a:gd name="T3" fmla="*/ 0 h 29"/>
                      <a:gd name="T4" fmla="*/ 1216 w 29"/>
                      <a:gd name="T5" fmla="*/ 816 h 29"/>
                      <a:gd name="T6" fmla="*/ 2368 w 29"/>
                      <a:gd name="T7" fmla="*/ 816 h 29"/>
                      <a:gd name="T8" fmla="*/ 1698 w 29"/>
                      <a:gd name="T9" fmla="*/ 1390 h 29"/>
                      <a:gd name="T10" fmla="*/ 1938 w 29"/>
                      <a:gd name="T11" fmla="*/ 2368 h 29"/>
                      <a:gd name="T12" fmla="*/ 1216 w 29"/>
                      <a:gd name="T13" fmla="*/ 1698 h 29"/>
                      <a:gd name="T14" fmla="*/ 5 w 29"/>
                      <a:gd name="T15" fmla="*/ 2368 h 29"/>
                      <a:gd name="T16" fmla="*/ 714 w 29"/>
                      <a:gd name="T17" fmla="*/ 1390 h 29"/>
                      <a:gd name="T18" fmla="*/ 0 w 29"/>
                      <a:gd name="T19" fmla="*/ 816 h 29"/>
                      <a:gd name="T20" fmla="*/ 872 w 29"/>
                      <a:gd name="T21" fmla="*/ 816 h 29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9"/>
                      <a:gd name="T35" fmla="*/ 29 w 29"/>
                      <a:gd name="T36" fmla="*/ 29 h 29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9">
                        <a:moveTo>
                          <a:pt x="11" y="10"/>
                        </a:moveTo>
                        <a:lnTo>
                          <a:pt x="16" y="0"/>
                        </a:lnTo>
                        <a:lnTo>
                          <a:pt x="16" y="10"/>
                        </a:lnTo>
                        <a:lnTo>
                          <a:pt x="29" y="10"/>
                        </a:lnTo>
                        <a:lnTo>
                          <a:pt x="21" y="18"/>
                        </a:lnTo>
                        <a:lnTo>
                          <a:pt x="23" y="29"/>
                        </a:lnTo>
                        <a:lnTo>
                          <a:pt x="16" y="21"/>
                        </a:lnTo>
                        <a:lnTo>
                          <a:pt x="5" y="29"/>
                        </a:lnTo>
                        <a:lnTo>
                          <a:pt x="8" y="18"/>
                        </a:lnTo>
                        <a:lnTo>
                          <a:pt x="0" y="10"/>
                        </a:lnTo>
                        <a:lnTo>
                          <a:pt x="11" y="1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69" name="Freeform 169"/>
                  <p:cNvSpPr>
                    <a:spLocks/>
                  </p:cNvSpPr>
                  <p:nvPr/>
                </p:nvSpPr>
                <p:spPr bwMode="auto">
                  <a:xfrm>
                    <a:off x="1525" y="2605"/>
                    <a:ext cx="32" cy="29"/>
                  </a:xfrm>
                  <a:custGeom>
                    <a:avLst/>
                    <a:gdLst>
                      <a:gd name="T0" fmla="*/ 10407 w 29"/>
                      <a:gd name="T1" fmla="*/ 0 h 28"/>
                      <a:gd name="T2" fmla="*/ 5766 w 29"/>
                      <a:gd name="T3" fmla="*/ 2 h 28"/>
                      <a:gd name="T4" fmla="*/ 5225 w 29"/>
                      <a:gd name="T5" fmla="*/ 2 h 28"/>
                      <a:gd name="T6" fmla="*/ 3 w 29"/>
                      <a:gd name="T7" fmla="*/ 4 h 28"/>
                      <a:gd name="T8" fmla="*/ 0 w 29"/>
                      <a:gd name="T9" fmla="*/ 10 h 28"/>
                      <a:gd name="T10" fmla="*/ 0 w 29"/>
                      <a:gd name="T11" fmla="*/ 176 h 28"/>
                      <a:gd name="T12" fmla="*/ 2 w 29"/>
                      <a:gd name="T13" fmla="*/ 196 h 28"/>
                      <a:gd name="T14" fmla="*/ 2 w 29"/>
                      <a:gd name="T15" fmla="*/ 203 h 28"/>
                      <a:gd name="T16" fmla="*/ 3 w 29"/>
                      <a:gd name="T17" fmla="*/ 203 h 28"/>
                      <a:gd name="T18" fmla="*/ 3 w 29"/>
                      <a:gd name="T19" fmla="*/ 234 h 28"/>
                      <a:gd name="T20" fmla="*/ 3 w 29"/>
                      <a:gd name="T21" fmla="*/ 269 h 28"/>
                      <a:gd name="T22" fmla="*/ 3889 w 29"/>
                      <a:gd name="T23" fmla="*/ 242 h 28"/>
                      <a:gd name="T24" fmla="*/ 3889 w 29"/>
                      <a:gd name="T25" fmla="*/ 234 h 28"/>
                      <a:gd name="T26" fmla="*/ 4291 w 29"/>
                      <a:gd name="T27" fmla="*/ 234 h 28"/>
                      <a:gd name="T28" fmla="*/ 4291 w 29"/>
                      <a:gd name="T29" fmla="*/ 242 h 28"/>
                      <a:gd name="T30" fmla="*/ 5766 w 29"/>
                      <a:gd name="T31" fmla="*/ 234 h 28"/>
                      <a:gd name="T32" fmla="*/ 5766 w 29"/>
                      <a:gd name="T33" fmla="*/ 226 h 28"/>
                      <a:gd name="T34" fmla="*/ 7746 w 29"/>
                      <a:gd name="T35" fmla="*/ 226 h 28"/>
                      <a:gd name="T36" fmla="*/ 10407 w 29"/>
                      <a:gd name="T37" fmla="*/ 203 h 28"/>
                      <a:gd name="T38" fmla="*/ 10627 w 29"/>
                      <a:gd name="T39" fmla="*/ 189 h 28"/>
                      <a:gd name="T40" fmla="*/ 17026 w 29"/>
                      <a:gd name="T41" fmla="*/ 12 h 28"/>
                      <a:gd name="T42" fmla="*/ 17385 w 29"/>
                      <a:gd name="T43" fmla="*/ 6 h 28"/>
                      <a:gd name="T44" fmla="*/ 19183 w 29"/>
                      <a:gd name="T45" fmla="*/ 5 h 28"/>
                      <a:gd name="T46" fmla="*/ 17026 w 29"/>
                      <a:gd name="T47" fmla="*/ 4 h 28"/>
                      <a:gd name="T48" fmla="*/ 17026 w 29"/>
                      <a:gd name="T49" fmla="*/ 2 h 28"/>
                      <a:gd name="T50" fmla="*/ 14278 w 29"/>
                      <a:gd name="T51" fmla="*/ 2 h 28"/>
                      <a:gd name="T52" fmla="*/ 15755 w 29"/>
                      <a:gd name="T53" fmla="*/ 1 h 28"/>
                      <a:gd name="T54" fmla="*/ 12939 w 29"/>
                      <a:gd name="T55" fmla="*/ 0 h 28"/>
                      <a:gd name="T56" fmla="*/ 12672 w 29"/>
                      <a:gd name="T57" fmla="*/ 0 h 28"/>
                      <a:gd name="T58" fmla="*/ 10407 w 29"/>
                      <a:gd name="T59" fmla="*/ 0 h 2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9"/>
                      <a:gd name="T91" fmla="*/ 0 h 28"/>
                      <a:gd name="T92" fmla="*/ 29 w 29"/>
                      <a:gd name="T93" fmla="*/ 28 h 28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9" h="28">
                        <a:moveTo>
                          <a:pt x="15" y="0"/>
                        </a:moveTo>
                        <a:lnTo>
                          <a:pt x="9" y="2"/>
                        </a:lnTo>
                        <a:lnTo>
                          <a:pt x="8" y="2"/>
                        </a:lnTo>
                        <a:lnTo>
                          <a:pt x="3" y="4"/>
                        </a:lnTo>
                        <a:lnTo>
                          <a:pt x="0" y="10"/>
                        </a:lnTo>
                        <a:lnTo>
                          <a:pt x="0" y="16"/>
                        </a:lnTo>
                        <a:lnTo>
                          <a:pt x="2" y="19"/>
                        </a:lnTo>
                        <a:lnTo>
                          <a:pt x="2" y="20"/>
                        </a:lnTo>
                        <a:lnTo>
                          <a:pt x="3" y="20"/>
                        </a:lnTo>
                        <a:lnTo>
                          <a:pt x="3" y="24"/>
                        </a:lnTo>
                        <a:lnTo>
                          <a:pt x="3" y="28"/>
                        </a:lnTo>
                        <a:lnTo>
                          <a:pt x="5" y="25"/>
                        </a:lnTo>
                        <a:lnTo>
                          <a:pt x="5" y="24"/>
                        </a:lnTo>
                        <a:lnTo>
                          <a:pt x="6" y="24"/>
                        </a:lnTo>
                        <a:lnTo>
                          <a:pt x="6" y="25"/>
                        </a:lnTo>
                        <a:lnTo>
                          <a:pt x="9" y="24"/>
                        </a:lnTo>
                        <a:lnTo>
                          <a:pt x="9" y="23"/>
                        </a:lnTo>
                        <a:lnTo>
                          <a:pt x="12" y="23"/>
                        </a:lnTo>
                        <a:lnTo>
                          <a:pt x="15" y="20"/>
                        </a:lnTo>
                        <a:lnTo>
                          <a:pt x="16" y="18"/>
                        </a:lnTo>
                        <a:lnTo>
                          <a:pt x="25" y="12"/>
                        </a:lnTo>
                        <a:lnTo>
                          <a:pt x="26" y="6"/>
                        </a:lnTo>
                        <a:lnTo>
                          <a:pt x="29" y="5"/>
                        </a:lnTo>
                        <a:lnTo>
                          <a:pt x="25" y="4"/>
                        </a:lnTo>
                        <a:lnTo>
                          <a:pt x="25" y="2"/>
                        </a:lnTo>
                        <a:lnTo>
                          <a:pt x="22" y="2"/>
                        </a:lnTo>
                        <a:lnTo>
                          <a:pt x="24" y="1"/>
                        </a:lnTo>
                        <a:lnTo>
                          <a:pt x="20" y="0"/>
                        </a:lnTo>
                        <a:lnTo>
                          <a:pt x="19" y="0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0" name="Freeform 170"/>
                  <p:cNvSpPr>
                    <a:spLocks/>
                  </p:cNvSpPr>
                  <p:nvPr/>
                </p:nvSpPr>
                <p:spPr bwMode="auto">
                  <a:xfrm>
                    <a:off x="1525" y="2605"/>
                    <a:ext cx="32" cy="29"/>
                  </a:xfrm>
                  <a:custGeom>
                    <a:avLst/>
                    <a:gdLst>
                      <a:gd name="T0" fmla="*/ 10407 w 29"/>
                      <a:gd name="T1" fmla="*/ 0 h 28"/>
                      <a:gd name="T2" fmla="*/ 5766 w 29"/>
                      <a:gd name="T3" fmla="*/ 2 h 28"/>
                      <a:gd name="T4" fmla="*/ 5225 w 29"/>
                      <a:gd name="T5" fmla="*/ 2 h 28"/>
                      <a:gd name="T6" fmla="*/ 3 w 29"/>
                      <a:gd name="T7" fmla="*/ 4 h 28"/>
                      <a:gd name="T8" fmla="*/ 0 w 29"/>
                      <a:gd name="T9" fmla="*/ 10 h 28"/>
                      <a:gd name="T10" fmla="*/ 0 w 29"/>
                      <a:gd name="T11" fmla="*/ 176 h 28"/>
                      <a:gd name="T12" fmla="*/ 2 w 29"/>
                      <a:gd name="T13" fmla="*/ 196 h 28"/>
                      <a:gd name="T14" fmla="*/ 2 w 29"/>
                      <a:gd name="T15" fmla="*/ 203 h 28"/>
                      <a:gd name="T16" fmla="*/ 3 w 29"/>
                      <a:gd name="T17" fmla="*/ 203 h 28"/>
                      <a:gd name="T18" fmla="*/ 3 w 29"/>
                      <a:gd name="T19" fmla="*/ 234 h 28"/>
                      <a:gd name="T20" fmla="*/ 3 w 29"/>
                      <a:gd name="T21" fmla="*/ 269 h 28"/>
                      <a:gd name="T22" fmla="*/ 3889 w 29"/>
                      <a:gd name="T23" fmla="*/ 242 h 28"/>
                      <a:gd name="T24" fmla="*/ 3889 w 29"/>
                      <a:gd name="T25" fmla="*/ 234 h 28"/>
                      <a:gd name="T26" fmla="*/ 4291 w 29"/>
                      <a:gd name="T27" fmla="*/ 234 h 28"/>
                      <a:gd name="T28" fmla="*/ 4291 w 29"/>
                      <a:gd name="T29" fmla="*/ 242 h 28"/>
                      <a:gd name="T30" fmla="*/ 5766 w 29"/>
                      <a:gd name="T31" fmla="*/ 234 h 28"/>
                      <a:gd name="T32" fmla="*/ 5766 w 29"/>
                      <a:gd name="T33" fmla="*/ 226 h 28"/>
                      <a:gd name="T34" fmla="*/ 7746 w 29"/>
                      <a:gd name="T35" fmla="*/ 226 h 28"/>
                      <a:gd name="T36" fmla="*/ 10407 w 29"/>
                      <a:gd name="T37" fmla="*/ 203 h 28"/>
                      <a:gd name="T38" fmla="*/ 10627 w 29"/>
                      <a:gd name="T39" fmla="*/ 189 h 28"/>
                      <a:gd name="T40" fmla="*/ 17026 w 29"/>
                      <a:gd name="T41" fmla="*/ 12 h 28"/>
                      <a:gd name="T42" fmla="*/ 17385 w 29"/>
                      <a:gd name="T43" fmla="*/ 6 h 28"/>
                      <a:gd name="T44" fmla="*/ 19183 w 29"/>
                      <a:gd name="T45" fmla="*/ 5 h 28"/>
                      <a:gd name="T46" fmla="*/ 17026 w 29"/>
                      <a:gd name="T47" fmla="*/ 4 h 28"/>
                      <a:gd name="T48" fmla="*/ 17026 w 29"/>
                      <a:gd name="T49" fmla="*/ 2 h 28"/>
                      <a:gd name="T50" fmla="*/ 14278 w 29"/>
                      <a:gd name="T51" fmla="*/ 2 h 28"/>
                      <a:gd name="T52" fmla="*/ 15755 w 29"/>
                      <a:gd name="T53" fmla="*/ 1 h 28"/>
                      <a:gd name="T54" fmla="*/ 12939 w 29"/>
                      <a:gd name="T55" fmla="*/ 0 h 28"/>
                      <a:gd name="T56" fmla="*/ 12672 w 29"/>
                      <a:gd name="T57" fmla="*/ 0 h 28"/>
                      <a:gd name="T58" fmla="*/ 10407 w 29"/>
                      <a:gd name="T59" fmla="*/ 0 h 28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w 29"/>
                      <a:gd name="T91" fmla="*/ 0 h 28"/>
                      <a:gd name="T92" fmla="*/ 29 w 29"/>
                      <a:gd name="T93" fmla="*/ 28 h 28"/>
                    </a:gdLst>
                    <a:ahLst/>
                    <a:cxnLst>
                      <a:cxn ang="T60">
                        <a:pos x="T0" y="T1"/>
                      </a:cxn>
                      <a:cxn ang="T61">
                        <a:pos x="T2" y="T3"/>
                      </a:cxn>
                      <a:cxn ang="T62">
                        <a:pos x="T4" y="T5"/>
                      </a:cxn>
                      <a:cxn ang="T63">
                        <a:pos x="T6" y="T7"/>
                      </a:cxn>
                      <a:cxn ang="T64">
                        <a:pos x="T8" y="T9"/>
                      </a:cxn>
                      <a:cxn ang="T65">
                        <a:pos x="T10" y="T11"/>
                      </a:cxn>
                      <a:cxn ang="T66">
                        <a:pos x="T12" y="T13"/>
                      </a:cxn>
                      <a:cxn ang="T67">
                        <a:pos x="T14" y="T15"/>
                      </a:cxn>
                      <a:cxn ang="T68">
                        <a:pos x="T16" y="T17"/>
                      </a:cxn>
                      <a:cxn ang="T69">
                        <a:pos x="T18" y="T19"/>
                      </a:cxn>
                      <a:cxn ang="T70">
                        <a:pos x="T20" y="T21"/>
                      </a:cxn>
                      <a:cxn ang="T71">
                        <a:pos x="T22" y="T23"/>
                      </a:cxn>
                      <a:cxn ang="T72">
                        <a:pos x="T24" y="T25"/>
                      </a:cxn>
                      <a:cxn ang="T73">
                        <a:pos x="T26" y="T27"/>
                      </a:cxn>
                      <a:cxn ang="T74">
                        <a:pos x="T28" y="T29"/>
                      </a:cxn>
                      <a:cxn ang="T75">
                        <a:pos x="T30" y="T31"/>
                      </a:cxn>
                      <a:cxn ang="T76">
                        <a:pos x="T32" y="T33"/>
                      </a:cxn>
                      <a:cxn ang="T77">
                        <a:pos x="T34" y="T35"/>
                      </a:cxn>
                      <a:cxn ang="T78">
                        <a:pos x="T36" y="T37"/>
                      </a:cxn>
                      <a:cxn ang="T79">
                        <a:pos x="T38" y="T39"/>
                      </a:cxn>
                      <a:cxn ang="T80">
                        <a:pos x="T40" y="T41"/>
                      </a:cxn>
                      <a:cxn ang="T81">
                        <a:pos x="T42" y="T43"/>
                      </a:cxn>
                      <a:cxn ang="T82">
                        <a:pos x="T44" y="T45"/>
                      </a:cxn>
                      <a:cxn ang="T83">
                        <a:pos x="T46" y="T47"/>
                      </a:cxn>
                      <a:cxn ang="T84">
                        <a:pos x="T48" y="T49"/>
                      </a:cxn>
                      <a:cxn ang="T85">
                        <a:pos x="T50" y="T51"/>
                      </a:cxn>
                      <a:cxn ang="T86">
                        <a:pos x="T52" y="T53"/>
                      </a:cxn>
                      <a:cxn ang="T87">
                        <a:pos x="T54" y="T55"/>
                      </a:cxn>
                      <a:cxn ang="T88">
                        <a:pos x="T56" y="T57"/>
                      </a:cxn>
                      <a:cxn ang="T89">
                        <a:pos x="T58" y="T59"/>
                      </a:cxn>
                    </a:cxnLst>
                    <a:rect l="T90" t="T91" r="T92" b="T93"/>
                    <a:pathLst>
                      <a:path w="29" h="28">
                        <a:moveTo>
                          <a:pt x="15" y="0"/>
                        </a:moveTo>
                        <a:lnTo>
                          <a:pt x="9" y="2"/>
                        </a:lnTo>
                        <a:lnTo>
                          <a:pt x="8" y="2"/>
                        </a:lnTo>
                        <a:lnTo>
                          <a:pt x="3" y="4"/>
                        </a:lnTo>
                        <a:lnTo>
                          <a:pt x="0" y="10"/>
                        </a:lnTo>
                        <a:lnTo>
                          <a:pt x="0" y="16"/>
                        </a:lnTo>
                        <a:lnTo>
                          <a:pt x="2" y="19"/>
                        </a:lnTo>
                        <a:lnTo>
                          <a:pt x="2" y="20"/>
                        </a:lnTo>
                        <a:lnTo>
                          <a:pt x="3" y="20"/>
                        </a:lnTo>
                        <a:lnTo>
                          <a:pt x="3" y="24"/>
                        </a:lnTo>
                        <a:lnTo>
                          <a:pt x="3" y="28"/>
                        </a:lnTo>
                        <a:lnTo>
                          <a:pt x="5" y="25"/>
                        </a:lnTo>
                        <a:lnTo>
                          <a:pt x="5" y="24"/>
                        </a:lnTo>
                        <a:lnTo>
                          <a:pt x="6" y="24"/>
                        </a:lnTo>
                        <a:lnTo>
                          <a:pt x="6" y="25"/>
                        </a:lnTo>
                        <a:lnTo>
                          <a:pt x="9" y="24"/>
                        </a:lnTo>
                        <a:lnTo>
                          <a:pt x="9" y="23"/>
                        </a:lnTo>
                        <a:lnTo>
                          <a:pt x="12" y="23"/>
                        </a:lnTo>
                        <a:lnTo>
                          <a:pt x="15" y="20"/>
                        </a:lnTo>
                        <a:lnTo>
                          <a:pt x="16" y="18"/>
                        </a:lnTo>
                        <a:lnTo>
                          <a:pt x="25" y="12"/>
                        </a:lnTo>
                        <a:lnTo>
                          <a:pt x="26" y="6"/>
                        </a:lnTo>
                        <a:lnTo>
                          <a:pt x="29" y="5"/>
                        </a:lnTo>
                        <a:lnTo>
                          <a:pt x="25" y="4"/>
                        </a:lnTo>
                        <a:lnTo>
                          <a:pt x="25" y="2"/>
                        </a:lnTo>
                        <a:lnTo>
                          <a:pt x="22" y="2"/>
                        </a:lnTo>
                        <a:lnTo>
                          <a:pt x="24" y="1"/>
                        </a:lnTo>
                        <a:lnTo>
                          <a:pt x="20" y="0"/>
                        </a:lnTo>
                        <a:lnTo>
                          <a:pt x="19" y="0"/>
                        </a:lnTo>
                        <a:lnTo>
                          <a:pt x="15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1" name="Freeform 171"/>
                  <p:cNvSpPr>
                    <a:spLocks/>
                  </p:cNvSpPr>
                  <p:nvPr/>
                </p:nvSpPr>
                <p:spPr bwMode="auto">
                  <a:xfrm>
                    <a:off x="1548" y="2533"/>
                    <a:ext cx="31" cy="30"/>
                  </a:xfrm>
                  <a:custGeom>
                    <a:avLst/>
                    <a:gdLst>
                      <a:gd name="T0" fmla="*/ 6 w 29"/>
                      <a:gd name="T1" fmla="*/ 0 h 28"/>
                      <a:gd name="T2" fmla="*/ 6 w 29"/>
                      <a:gd name="T3" fmla="*/ 969 h 28"/>
                      <a:gd name="T4" fmla="*/ 0 w 29"/>
                      <a:gd name="T5" fmla="*/ 969 h 28"/>
                      <a:gd name="T6" fmla="*/ 0 w 29"/>
                      <a:gd name="T7" fmla="*/ 1276 h 28"/>
                      <a:gd name="T8" fmla="*/ 0 w 29"/>
                      <a:gd name="T9" fmla="*/ 1931 h 28"/>
                      <a:gd name="T10" fmla="*/ 2 w 29"/>
                      <a:gd name="T11" fmla="*/ 1802 h 28"/>
                      <a:gd name="T12" fmla="*/ 4 w 29"/>
                      <a:gd name="T13" fmla="*/ 2141 h 28"/>
                      <a:gd name="T14" fmla="*/ 6 w 29"/>
                      <a:gd name="T15" fmla="*/ 1931 h 28"/>
                      <a:gd name="T16" fmla="*/ 816 w 29"/>
                      <a:gd name="T17" fmla="*/ 2141 h 28"/>
                      <a:gd name="T18" fmla="*/ 932 w 29"/>
                      <a:gd name="T19" fmla="*/ 2634 h 28"/>
                      <a:gd name="T20" fmla="*/ 1138 w 29"/>
                      <a:gd name="T21" fmla="*/ 2294 h 28"/>
                      <a:gd name="T22" fmla="*/ 1138 w 29"/>
                      <a:gd name="T23" fmla="*/ 1931 h 28"/>
                      <a:gd name="T24" fmla="*/ 1486 w 29"/>
                      <a:gd name="T25" fmla="*/ 1931 h 28"/>
                      <a:gd name="T26" fmla="*/ 1486 w 29"/>
                      <a:gd name="T27" fmla="*/ 1367 h 28"/>
                      <a:gd name="T28" fmla="*/ 1486 w 29"/>
                      <a:gd name="T29" fmla="*/ 969 h 28"/>
                      <a:gd name="T30" fmla="*/ 2072 w 29"/>
                      <a:gd name="T31" fmla="*/ 904 h 28"/>
                      <a:gd name="T32" fmla="*/ 2368 w 29"/>
                      <a:gd name="T33" fmla="*/ 2 h 28"/>
                      <a:gd name="T34" fmla="*/ 1486 w 29"/>
                      <a:gd name="T35" fmla="*/ 4 h 28"/>
                      <a:gd name="T36" fmla="*/ 2072 w 29"/>
                      <a:gd name="T37" fmla="*/ 0 h 28"/>
                      <a:gd name="T38" fmla="*/ 2072 w 29"/>
                      <a:gd name="T39" fmla="*/ 0 h 28"/>
                      <a:gd name="T40" fmla="*/ 1815 w 29"/>
                      <a:gd name="T41" fmla="*/ 0 h 28"/>
                      <a:gd name="T42" fmla="*/ 1486 w 29"/>
                      <a:gd name="T43" fmla="*/ 0 h 28"/>
                      <a:gd name="T44" fmla="*/ 1138 w 29"/>
                      <a:gd name="T45" fmla="*/ 0 h 28"/>
                      <a:gd name="T46" fmla="*/ 6 w 29"/>
                      <a:gd name="T47" fmla="*/ 0 h 28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29"/>
                      <a:gd name="T73" fmla="*/ 0 h 28"/>
                      <a:gd name="T74" fmla="*/ 29 w 29"/>
                      <a:gd name="T75" fmla="*/ 28 h 28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29" h="28">
                        <a:moveTo>
                          <a:pt x="6" y="0"/>
                        </a:moveTo>
                        <a:lnTo>
                          <a:pt x="6" y="10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0" y="20"/>
                        </a:lnTo>
                        <a:lnTo>
                          <a:pt x="2" y="19"/>
                        </a:lnTo>
                        <a:lnTo>
                          <a:pt x="4" y="22"/>
                        </a:lnTo>
                        <a:lnTo>
                          <a:pt x="6" y="20"/>
                        </a:lnTo>
                        <a:lnTo>
                          <a:pt x="10" y="22"/>
                        </a:lnTo>
                        <a:lnTo>
                          <a:pt x="12" y="28"/>
                        </a:lnTo>
                        <a:lnTo>
                          <a:pt x="15" y="24"/>
                        </a:lnTo>
                        <a:lnTo>
                          <a:pt x="15" y="20"/>
                        </a:lnTo>
                        <a:lnTo>
                          <a:pt x="19" y="20"/>
                        </a:lnTo>
                        <a:lnTo>
                          <a:pt x="19" y="15"/>
                        </a:lnTo>
                        <a:lnTo>
                          <a:pt x="19" y="10"/>
                        </a:lnTo>
                        <a:lnTo>
                          <a:pt x="25" y="9"/>
                        </a:lnTo>
                        <a:lnTo>
                          <a:pt x="29" y="2"/>
                        </a:lnTo>
                        <a:lnTo>
                          <a:pt x="19" y="4"/>
                        </a:lnTo>
                        <a:lnTo>
                          <a:pt x="25" y="0"/>
                        </a:lnTo>
                        <a:lnTo>
                          <a:pt x="22" y="0"/>
                        </a:lnTo>
                        <a:lnTo>
                          <a:pt x="19" y="0"/>
                        </a:lnTo>
                        <a:lnTo>
                          <a:pt x="15" y="0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2" name="Freeform 172"/>
                  <p:cNvSpPr>
                    <a:spLocks/>
                  </p:cNvSpPr>
                  <p:nvPr/>
                </p:nvSpPr>
                <p:spPr bwMode="auto">
                  <a:xfrm>
                    <a:off x="1548" y="2533"/>
                    <a:ext cx="31" cy="30"/>
                  </a:xfrm>
                  <a:custGeom>
                    <a:avLst/>
                    <a:gdLst>
                      <a:gd name="T0" fmla="*/ 6 w 29"/>
                      <a:gd name="T1" fmla="*/ 0 h 28"/>
                      <a:gd name="T2" fmla="*/ 6 w 29"/>
                      <a:gd name="T3" fmla="*/ 969 h 28"/>
                      <a:gd name="T4" fmla="*/ 0 w 29"/>
                      <a:gd name="T5" fmla="*/ 969 h 28"/>
                      <a:gd name="T6" fmla="*/ 0 w 29"/>
                      <a:gd name="T7" fmla="*/ 1276 h 28"/>
                      <a:gd name="T8" fmla="*/ 0 w 29"/>
                      <a:gd name="T9" fmla="*/ 1931 h 28"/>
                      <a:gd name="T10" fmla="*/ 2 w 29"/>
                      <a:gd name="T11" fmla="*/ 1802 h 28"/>
                      <a:gd name="T12" fmla="*/ 4 w 29"/>
                      <a:gd name="T13" fmla="*/ 2141 h 28"/>
                      <a:gd name="T14" fmla="*/ 6 w 29"/>
                      <a:gd name="T15" fmla="*/ 1931 h 28"/>
                      <a:gd name="T16" fmla="*/ 816 w 29"/>
                      <a:gd name="T17" fmla="*/ 2141 h 28"/>
                      <a:gd name="T18" fmla="*/ 932 w 29"/>
                      <a:gd name="T19" fmla="*/ 2634 h 28"/>
                      <a:gd name="T20" fmla="*/ 1138 w 29"/>
                      <a:gd name="T21" fmla="*/ 2294 h 28"/>
                      <a:gd name="T22" fmla="*/ 1138 w 29"/>
                      <a:gd name="T23" fmla="*/ 1931 h 28"/>
                      <a:gd name="T24" fmla="*/ 1486 w 29"/>
                      <a:gd name="T25" fmla="*/ 1931 h 28"/>
                      <a:gd name="T26" fmla="*/ 1486 w 29"/>
                      <a:gd name="T27" fmla="*/ 1367 h 28"/>
                      <a:gd name="T28" fmla="*/ 1486 w 29"/>
                      <a:gd name="T29" fmla="*/ 969 h 28"/>
                      <a:gd name="T30" fmla="*/ 2072 w 29"/>
                      <a:gd name="T31" fmla="*/ 904 h 28"/>
                      <a:gd name="T32" fmla="*/ 2368 w 29"/>
                      <a:gd name="T33" fmla="*/ 2 h 28"/>
                      <a:gd name="T34" fmla="*/ 1486 w 29"/>
                      <a:gd name="T35" fmla="*/ 4 h 28"/>
                      <a:gd name="T36" fmla="*/ 2072 w 29"/>
                      <a:gd name="T37" fmla="*/ 0 h 28"/>
                      <a:gd name="T38" fmla="*/ 2072 w 29"/>
                      <a:gd name="T39" fmla="*/ 0 h 28"/>
                      <a:gd name="T40" fmla="*/ 1815 w 29"/>
                      <a:gd name="T41" fmla="*/ 0 h 28"/>
                      <a:gd name="T42" fmla="*/ 1486 w 29"/>
                      <a:gd name="T43" fmla="*/ 0 h 28"/>
                      <a:gd name="T44" fmla="*/ 1138 w 29"/>
                      <a:gd name="T45" fmla="*/ 0 h 28"/>
                      <a:gd name="T46" fmla="*/ 6 w 29"/>
                      <a:gd name="T47" fmla="*/ 0 h 28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29"/>
                      <a:gd name="T73" fmla="*/ 0 h 28"/>
                      <a:gd name="T74" fmla="*/ 29 w 29"/>
                      <a:gd name="T75" fmla="*/ 28 h 28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29" h="28">
                        <a:moveTo>
                          <a:pt x="6" y="0"/>
                        </a:moveTo>
                        <a:lnTo>
                          <a:pt x="6" y="10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0" y="20"/>
                        </a:lnTo>
                        <a:lnTo>
                          <a:pt x="2" y="19"/>
                        </a:lnTo>
                        <a:lnTo>
                          <a:pt x="4" y="22"/>
                        </a:lnTo>
                        <a:lnTo>
                          <a:pt x="6" y="20"/>
                        </a:lnTo>
                        <a:lnTo>
                          <a:pt x="10" y="22"/>
                        </a:lnTo>
                        <a:lnTo>
                          <a:pt x="12" y="28"/>
                        </a:lnTo>
                        <a:lnTo>
                          <a:pt x="15" y="24"/>
                        </a:lnTo>
                        <a:lnTo>
                          <a:pt x="15" y="20"/>
                        </a:lnTo>
                        <a:lnTo>
                          <a:pt x="19" y="20"/>
                        </a:lnTo>
                        <a:lnTo>
                          <a:pt x="19" y="15"/>
                        </a:lnTo>
                        <a:lnTo>
                          <a:pt x="19" y="10"/>
                        </a:lnTo>
                        <a:lnTo>
                          <a:pt x="25" y="9"/>
                        </a:lnTo>
                        <a:lnTo>
                          <a:pt x="29" y="2"/>
                        </a:lnTo>
                        <a:lnTo>
                          <a:pt x="19" y="4"/>
                        </a:lnTo>
                        <a:lnTo>
                          <a:pt x="25" y="0"/>
                        </a:lnTo>
                        <a:lnTo>
                          <a:pt x="22" y="0"/>
                        </a:lnTo>
                        <a:lnTo>
                          <a:pt x="19" y="0"/>
                        </a:lnTo>
                        <a:lnTo>
                          <a:pt x="15" y="0"/>
                        </a:lnTo>
                        <a:lnTo>
                          <a:pt x="6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3" name="Freeform 173"/>
                  <p:cNvSpPr>
                    <a:spLocks/>
                  </p:cNvSpPr>
                  <p:nvPr/>
                </p:nvSpPr>
                <p:spPr bwMode="auto">
                  <a:xfrm>
                    <a:off x="346" y="1814"/>
                    <a:ext cx="30" cy="30"/>
                  </a:xfrm>
                  <a:custGeom>
                    <a:avLst/>
                    <a:gdLst>
                      <a:gd name="T0" fmla="*/ 2 w 28"/>
                      <a:gd name="T1" fmla="*/ 4 h 29"/>
                      <a:gd name="T2" fmla="*/ 5 w 28"/>
                      <a:gd name="T3" fmla="*/ 0 h 29"/>
                      <a:gd name="T4" fmla="*/ 2 w 28"/>
                      <a:gd name="T5" fmla="*/ 0 h 29"/>
                      <a:gd name="T6" fmla="*/ 0 w 28"/>
                      <a:gd name="T7" fmla="*/ 3 h 29"/>
                      <a:gd name="T8" fmla="*/ 0 w 28"/>
                      <a:gd name="T9" fmla="*/ 10 h 29"/>
                      <a:gd name="T10" fmla="*/ 0 w 28"/>
                      <a:gd name="T11" fmla="*/ 162 h 29"/>
                      <a:gd name="T12" fmla="*/ 6 w 28"/>
                      <a:gd name="T13" fmla="*/ 213 h 29"/>
                      <a:gd name="T14" fmla="*/ 1802 w 28"/>
                      <a:gd name="T15" fmla="*/ 252 h 29"/>
                      <a:gd name="T16" fmla="*/ 2634 w 28"/>
                      <a:gd name="T17" fmla="*/ 180 h 29"/>
                      <a:gd name="T18" fmla="*/ 1682 w 28"/>
                      <a:gd name="T19" fmla="*/ 10 h 29"/>
                      <a:gd name="T20" fmla="*/ 1276 w 28"/>
                      <a:gd name="T21" fmla="*/ 10 h 29"/>
                      <a:gd name="T22" fmla="*/ 969 w 28"/>
                      <a:gd name="T23" fmla="*/ 5 h 29"/>
                      <a:gd name="T24" fmla="*/ 2 w 28"/>
                      <a:gd name="T25" fmla="*/ 4 h 2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28"/>
                      <a:gd name="T40" fmla="*/ 0 h 29"/>
                      <a:gd name="T41" fmla="*/ 28 w 28"/>
                      <a:gd name="T42" fmla="*/ 29 h 2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28" h="29">
                        <a:moveTo>
                          <a:pt x="2" y="4"/>
                        </a:moveTo>
                        <a:lnTo>
                          <a:pt x="5" y="0"/>
                        </a:lnTo>
                        <a:lnTo>
                          <a:pt x="2" y="0"/>
                        </a:lnTo>
                        <a:lnTo>
                          <a:pt x="0" y="3"/>
                        </a:lnTo>
                        <a:lnTo>
                          <a:pt x="0" y="10"/>
                        </a:lnTo>
                        <a:lnTo>
                          <a:pt x="0" y="16"/>
                        </a:lnTo>
                        <a:lnTo>
                          <a:pt x="6" y="24"/>
                        </a:lnTo>
                        <a:lnTo>
                          <a:pt x="19" y="29"/>
                        </a:lnTo>
                        <a:lnTo>
                          <a:pt x="28" y="19"/>
                        </a:lnTo>
                        <a:lnTo>
                          <a:pt x="18" y="10"/>
                        </a:lnTo>
                        <a:lnTo>
                          <a:pt x="14" y="10"/>
                        </a:lnTo>
                        <a:lnTo>
                          <a:pt x="10" y="5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4" name="Freeform 174"/>
                  <p:cNvSpPr>
                    <a:spLocks/>
                  </p:cNvSpPr>
                  <p:nvPr/>
                </p:nvSpPr>
                <p:spPr bwMode="auto">
                  <a:xfrm>
                    <a:off x="346" y="1814"/>
                    <a:ext cx="30" cy="30"/>
                  </a:xfrm>
                  <a:custGeom>
                    <a:avLst/>
                    <a:gdLst>
                      <a:gd name="T0" fmla="*/ 2 w 28"/>
                      <a:gd name="T1" fmla="*/ 4 h 29"/>
                      <a:gd name="T2" fmla="*/ 5 w 28"/>
                      <a:gd name="T3" fmla="*/ 0 h 29"/>
                      <a:gd name="T4" fmla="*/ 2 w 28"/>
                      <a:gd name="T5" fmla="*/ 0 h 29"/>
                      <a:gd name="T6" fmla="*/ 0 w 28"/>
                      <a:gd name="T7" fmla="*/ 3 h 29"/>
                      <a:gd name="T8" fmla="*/ 0 w 28"/>
                      <a:gd name="T9" fmla="*/ 10 h 29"/>
                      <a:gd name="T10" fmla="*/ 0 w 28"/>
                      <a:gd name="T11" fmla="*/ 162 h 29"/>
                      <a:gd name="T12" fmla="*/ 6 w 28"/>
                      <a:gd name="T13" fmla="*/ 213 h 29"/>
                      <a:gd name="T14" fmla="*/ 1802 w 28"/>
                      <a:gd name="T15" fmla="*/ 252 h 29"/>
                      <a:gd name="T16" fmla="*/ 2634 w 28"/>
                      <a:gd name="T17" fmla="*/ 180 h 29"/>
                      <a:gd name="T18" fmla="*/ 1682 w 28"/>
                      <a:gd name="T19" fmla="*/ 10 h 29"/>
                      <a:gd name="T20" fmla="*/ 1276 w 28"/>
                      <a:gd name="T21" fmla="*/ 10 h 29"/>
                      <a:gd name="T22" fmla="*/ 969 w 28"/>
                      <a:gd name="T23" fmla="*/ 5 h 29"/>
                      <a:gd name="T24" fmla="*/ 2 w 28"/>
                      <a:gd name="T25" fmla="*/ 4 h 29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w 28"/>
                      <a:gd name="T40" fmla="*/ 0 h 29"/>
                      <a:gd name="T41" fmla="*/ 28 w 28"/>
                      <a:gd name="T42" fmla="*/ 29 h 29"/>
                    </a:gdLst>
                    <a:ahLst/>
                    <a:cxnLst>
                      <a:cxn ang="T26">
                        <a:pos x="T0" y="T1"/>
                      </a:cxn>
                      <a:cxn ang="T27">
                        <a:pos x="T2" y="T3"/>
                      </a:cxn>
                      <a:cxn ang="T28">
                        <a:pos x="T4" y="T5"/>
                      </a:cxn>
                      <a:cxn ang="T29">
                        <a:pos x="T6" y="T7"/>
                      </a:cxn>
                      <a:cxn ang="T30">
                        <a:pos x="T8" y="T9"/>
                      </a:cxn>
                      <a:cxn ang="T31">
                        <a:pos x="T10" y="T11"/>
                      </a:cxn>
                      <a:cxn ang="T32">
                        <a:pos x="T12" y="T13"/>
                      </a:cxn>
                      <a:cxn ang="T33">
                        <a:pos x="T14" y="T15"/>
                      </a:cxn>
                      <a:cxn ang="T34">
                        <a:pos x="T16" y="T17"/>
                      </a:cxn>
                      <a:cxn ang="T35">
                        <a:pos x="T18" y="T19"/>
                      </a:cxn>
                      <a:cxn ang="T36">
                        <a:pos x="T20" y="T21"/>
                      </a:cxn>
                      <a:cxn ang="T37">
                        <a:pos x="T22" y="T23"/>
                      </a:cxn>
                      <a:cxn ang="T38">
                        <a:pos x="T24" y="T25"/>
                      </a:cxn>
                    </a:cxnLst>
                    <a:rect l="T39" t="T40" r="T41" b="T42"/>
                    <a:pathLst>
                      <a:path w="28" h="29">
                        <a:moveTo>
                          <a:pt x="2" y="4"/>
                        </a:moveTo>
                        <a:lnTo>
                          <a:pt x="5" y="0"/>
                        </a:lnTo>
                        <a:lnTo>
                          <a:pt x="2" y="0"/>
                        </a:lnTo>
                        <a:lnTo>
                          <a:pt x="0" y="3"/>
                        </a:lnTo>
                        <a:lnTo>
                          <a:pt x="0" y="10"/>
                        </a:lnTo>
                        <a:lnTo>
                          <a:pt x="0" y="16"/>
                        </a:lnTo>
                        <a:lnTo>
                          <a:pt x="6" y="24"/>
                        </a:lnTo>
                        <a:lnTo>
                          <a:pt x="19" y="29"/>
                        </a:lnTo>
                        <a:lnTo>
                          <a:pt x="28" y="19"/>
                        </a:lnTo>
                        <a:lnTo>
                          <a:pt x="18" y="10"/>
                        </a:lnTo>
                        <a:lnTo>
                          <a:pt x="14" y="10"/>
                        </a:lnTo>
                        <a:lnTo>
                          <a:pt x="10" y="5"/>
                        </a:lnTo>
                        <a:lnTo>
                          <a:pt x="2" y="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5" name="Freeform 175"/>
                  <p:cNvSpPr>
                    <a:spLocks/>
                  </p:cNvSpPr>
                  <p:nvPr/>
                </p:nvSpPr>
                <p:spPr bwMode="auto">
                  <a:xfrm>
                    <a:off x="317" y="1835"/>
                    <a:ext cx="30" cy="30"/>
                  </a:xfrm>
                  <a:custGeom>
                    <a:avLst/>
                    <a:gdLst>
                      <a:gd name="T0" fmla="*/ 1038 w 28"/>
                      <a:gd name="T1" fmla="*/ 0 h 29"/>
                      <a:gd name="T2" fmla="*/ 0 w 28"/>
                      <a:gd name="T3" fmla="*/ 162 h 29"/>
                      <a:gd name="T4" fmla="*/ 1 w 28"/>
                      <a:gd name="T5" fmla="*/ 228 h 29"/>
                      <a:gd name="T6" fmla="*/ 904 w 28"/>
                      <a:gd name="T7" fmla="*/ 252 h 29"/>
                      <a:gd name="T8" fmla="*/ 2217 w 28"/>
                      <a:gd name="T9" fmla="*/ 228 h 29"/>
                      <a:gd name="T10" fmla="*/ 2634 w 28"/>
                      <a:gd name="T11" fmla="*/ 162 h 29"/>
                      <a:gd name="T12" fmla="*/ 1931 w 28"/>
                      <a:gd name="T13" fmla="*/ 1 h 29"/>
                      <a:gd name="T14" fmla="*/ 1038 w 28"/>
                      <a:gd name="T15" fmla="*/ 0 h 29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8"/>
                      <a:gd name="T25" fmla="*/ 0 h 29"/>
                      <a:gd name="T26" fmla="*/ 28 w 28"/>
                      <a:gd name="T27" fmla="*/ 29 h 29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8" h="29">
                        <a:moveTo>
                          <a:pt x="11" y="0"/>
                        </a:moveTo>
                        <a:lnTo>
                          <a:pt x="0" y="16"/>
                        </a:lnTo>
                        <a:lnTo>
                          <a:pt x="1" y="26"/>
                        </a:lnTo>
                        <a:lnTo>
                          <a:pt x="9" y="29"/>
                        </a:lnTo>
                        <a:lnTo>
                          <a:pt x="23" y="26"/>
                        </a:lnTo>
                        <a:lnTo>
                          <a:pt x="28" y="16"/>
                        </a:lnTo>
                        <a:lnTo>
                          <a:pt x="20" y="1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6" name="Freeform 176"/>
                  <p:cNvSpPr>
                    <a:spLocks/>
                  </p:cNvSpPr>
                  <p:nvPr/>
                </p:nvSpPr>
                <p:spPr bwMode="auto">
                  <a:xfrm>
                    <a:off x="317" y="1835"/>
                    <a:ext cx="30" cy="30"/>
                  </a:xfrm>
                  <a:custGeom>
                    <a:avLst/>
                    <a:gdLst>
                      <a:gd name="T0" fmla="*/ 1038 w 28"/>
                      <a:gd name="T1" fmla="*/ 0 h 29"/>
                      <a:gd name="T2" fmla="*/ 0 w 28"/>
                      <a:gd name="T3" fmla="*/ 162 h 29"/>
                      <a:gd name="T4" fmla="*/ 1 w 28"/>
                      <a:gd name="T5" fmla="*/ 228 h 29"/>
                      <a:gd name="T6" fmla="*/ 904 w 28"/>
                      <a:gd name="T7" fmla="*/ 252 h 29"/>
                      <a:gd name="T8" fmla="*/ 2217 w 28"/>
                      <a:gd name="T9" fmla="*/ 228 h 29"/>
                      <a:gd name="T10" fmla="*/ 2634 w 28"/>
                      <a:gd name="T11" fmla="*/ 162 h 29"/>
                      <a:gd name="T12" fmla="*/ 1931 w 28"/>
                      <a:gd name="T13" fmla="*/ 1 h 29"/>
                      <a:gd name="T14" fmla="*/ 1038 w 28"/>
                      <a:gd name="T15" fmla="*/ 0 h 29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8"/>
                      <a:gd name="T25" fmla="*/ 0 h 29"/>
                      <a:gd name="T26" fmla="*/ 28 w 28"/>
                      <a:gd name="T27" fmla="*/ 29 h 29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8" h="29">
                        <a:moveTo>
                          <a:pt x="11" y="0"/>
                        </a:moveTo>
                        <a:lnTo>
                          <a:pt x="0" y="16"/>
                        </a:lnTo>
                        <a:lnTo>
                          <a:pt x="1" y="26"/>
                        </a:lnTo>
                        <a:lnTo>
                          <a:pt x="9" y="29"/>
                        </a:lnTo>
                        <a:lnTo>
                          <a:pt x="23" y="26"/>
                        </a:lnTo>
                        <a:lnTo>
                          <a:pt x="28" y="16"/>
                        </a:lnTo>
                        <a:lnTo>
                          <a:pt x="20" y="1"/>
                        </a:lnTo>
                        <a:lnTo>
                          <a:pt x="11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7" name="Freeform 177"/>
                  <p:cNvSpPr>
                    <a:spLocks/>
                  </p:cNvSpPr>
                  <p:nvPr/>
                </p:nvSpPr>
                <p:spPr bwMode="auto">
                  <a:xfrm>
                    <a:off x="306" y="1849"/>
                    <a:ext cx="31" cy="30"/>
                  </a:xfrm>
                  <a:custGeom>
                    <a:avLst/>
                    <a:gdLst>
                      <a:gd name="T0" fmla="*/ 5 w 29"/>
                      <a:gd name="T1" fmla="*/ 0 h 29"/>
                      <a:gd name="T2" fmla="*/ 0 w 29"/>
                      <a:gd name="T3" fmla="*/ 252 h 29"/>
                      <a:gd name="T4" fmla="*/ 1216 w 29"/>
                      <a:gd name="T5" fmla="*/ 220 h 29"/>
                      <a:gd name="T6" fmla="*/ 2368 w 29"/>
                      <a:gd name="T7" fmla="*/ 0 h 29"/>
                      <a:gd name="T8" fmla="*/ 5 w 29"/>
                      <a:gd name="T9" fmla="*/ 0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9"/>
                      <a:gd name="T17" fmla="*/ 29 w 29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9">
                        <a:moveTo>
                          <a:pt x="5" y="0"/>
                        </a:moveTo>
                        <a:lnTo>
                          <a:pt x="0" y="29"/>
                        </a:lnTo>
                        <a:lnTo>
                          <a:pt x="16" y="25"/>
                        </a:lnTo>
                        <a:lnTo>
                          <a:pt x="29" y="0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8" name="Freeform 178"/>
                  <p:cNvSpPr>
                    <a:spLocks/>
                  </p:cNvSpPr>
                  <p:nvPr/>
                </p:nvSpPr>
                <p:spPr bwMode="auto">
                  <a:xfrm>
                    <a:off x="306" y="1849"/>
                    <a:ext cx="31" cy="30"/>
                  </a:xfrm>
                  <a:custGeom>
                    <a:avLst/>
                    <a:gdLst>
                      <a:gd name="T0" fmla="*/ 5 w 29"/>
                      <a:gd name="T1" fmla="*/ 0 h 29"/>
                      <a:gd name="T2" fmla="*/ 0 w 29"/>
                      <a:gd name="T3" fmla="*/ 252 h 29"/>
                      <a:gd name="T4" fmla="*/ 1216 w 29"/>
                      <a:gd name="T5" fmla="*/ 220 h 29"/>
                      <a:gd name="T6" fmla="*/ 2368 w 29"/>
                      <a:gd name="T7" fmla="*/ 0 h 29"/>
                      <a:gd name="T8" fmla="*/ 5 w 29"/>
                      <a:gd name="T9" fmla="*/ 0 h 2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"/>
                      <a:gd name="T16" fmla="*/ 0 h 29"/>
                      <a:gd name="T17" fmla="*/ 29 w 29"/>
                      <a:gd name="T18" fmla="*/ 29 h 2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" h="29">
                        <a:moveTo>
                          <a:pt x="5" y="0"/>
                        </a:moveTo>
                        <a:lnTo>
                          <a:pt x="0" y="29"/>
                        </a:lnTo>
                        <a:lnTo>
                          <a:pt x="16" y="25"/>
                        </a:lnTo>
                        <a:lnTo>
                          <a:pt x="29" y="0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79" name="Freeform 179"/>
                  <p:cNvSpPr>
                    <a:spLocks/>
                  </p:cNvSpPr>
                  <p:nvPr/>
                </p:nvSpPr>
                <p:spPr bwMode="auto">
                  <a:xfrm>
                    <a:off x="370" y="1812"/>
                    <a:ext cx="29" cy="29"/>
                  </a:xfrm>
                  <a:custGeom>
                    <a:avLst/>
                    <a:gdLst>
                      <a:gd name="T0" fmla="*/ 0 w 28"/>
                      <a:gd name="T1" fmla="*/ 5 h 28"/>
                      <a:gd name="T2" fmla="*/ 0 w 28"/>
                      <a:gd name="T3" fmla="*/ 269 h 28"/>
                      <a:gd name="T4" fmla="*/ 269 w 28"/>
                      <a:gd name="T5" fmla="*/ 218 h 28"/>
                      <a:gd name="T6" fmla="*/ 234 w 28"/>
                      <a:gd name="T7" fmla="*/ 5 h 28"/>
                      <a:gd name="T8" fmla="*/ 7 w 28"/>
                      <a:gd name="T9" fmla="*/ 0 h 28"/>
                      <a:gd name="T10" fmla="*/ 0 w 28"/>
                      <a:gd name="T11" fmla="*/ 5 h 2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8"/>
                      <a:gd name="T19" fmla="*/ 0 h 28"/>
                      <a:gd name="T20" fmla="*/ 28 w 28"/>
                      <a:gd name="T21" fmla="*/ 28 h 2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8" h="28">
                        <a:moveTo>
                          <a:pt x="0" y="5"/>
                        </a:moveTo>
                        <a:lnTo>
                          <a:pt x="0" y="28"/>
                        </a:lnTo>
                        <a:lnTo>
                          <a:pt x="28" y="22"/>
                        </a:lnTo>
                        <a:lnTo>
                          <a:pt x="24" y="5"/>
                        </a:lnTo>
                        <a:lnTo>
                          <a:pt x="7" y="0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0" name="Freeform 180"/>
                  <p:cNvSpPr>
                    <a:spLocks/>
                  </p:cNvSpPr>
                  <p:nvPr/>
                </p:nvSpPr>
                <p:spPr bwMode="auto">
                  <a:xfrm>
                    <a:off x="370" y="1812"/>
                    <a:ext cx="29" cy="29"/>
                  </a:xfrm>
                  <a:custGeom>
                    <a:avLst/>
                    <a:gdLst>
                      <a:gd name="T0" fmla="*/ 0 w 28"/>
                      <a:gd name="T1" fmla="*/ 5 h 28"/>
                      <a:gd name="T2" fmla="*/ 0 w 28"/>
                      <a:gd name="T3" fmla="*/ 269 h 28"/>
                      <a:gd name="T4" fmla="*/ 269 w 28"/>
                      <a:gd name="T5" fmla="*/ 218 h 28"/>
                      <a:gd name="T6" fmla="*/ 234 w 28"/>
                      <a:gd name="T7" fmla="*/ 5 h 28"/>
                      <a:gd name="T8" fmla="*/ 7 w 28"/>
                      <a:gd name="T9" fmla="*/ 0 h 28"/>
                      <a:gd name="T10" fmla="*/ 0 w 28"/>
                      <a:gd name="T11" fmla="*/ 5 h 28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8"/>
                      <a:gd name="T19" fmla="*/ 0 h 28"/>
                      <a:gd name="T20" fmla="*/ 28 w 28"/>
                      <a:gd name="T21" fmla="*/ 28 h 28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8" h="28">
                        <a:moveTo>
                          <a:pt x="0" y="5"/>
                        </a:moveTo>
                        <a:lnTo>
                          <a:pt x="0" y="28"/>
                        </a:lnTo>
                        <a:lnTo>
                          <a:pt x="28" y="22"/>
                        </a:lnTo>
                        <a:lnTo>
                          <a:pt x="24" y="5"/>
                        </a:lnTo>
                        <a:lnTo>
                          <a:pt x="7" y="0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1" name="Freeform 181"/>
                  <p:cNvSpPr>
                    <a:spLocks/>
                  </p:cNvSpPr>
                  <p:nvPr/>
                </p:nvSpPr>
                <p:spPr bwMode="auto">
                  <a:xfrm>
                    <a:off x="375" y="1761"/>
                    <a:ext cx="31" cy="30"/>
                  </a:xfrm>
                  <a:custGeom>
                    <a:avLst/>
                    <a:gdLst>
                      <a:gd name="T0" fmla="*/ 6 w 29"/>
                      <a:gd name="T1" fmla="*/ 2634 h 28"/>
                      <a:gd name="T2" fmla="*/ 1815 w 29"/>
                      <a:gd name="T3" fmla="*/ 2217 h 28"/>
                      <a:gd name="T4" fmla="*/ 1588 w 29"/>
                      <a:gd name="T5" fmla="*/ 1682 h 28"/>
                      <a:gd name="T6" fmla="*/ 2368 w 29"/>
                      <a:gd name="T7" fmla="*/ 1682 h 28"/>
                      <a:gd name="T8" fmla="*/ 2368 w 29"/>
                      <a:gd name="T9" fmla="*/ 5 h 28"/>
                      <a:gd name="T10" fmla="*/ 1486 w 29"/>
                      <a:gd name="T11" fmla="*/ 0 h 28"/>
                      <a:gd name="T12" fmla="*/ 5 w 29"/>
                      <a:gd name="T13" fmla="*/ 2 h 28"/>
                      <a:gd name="T14" fmla="*/ 2 w 29"/>
                      <a:gd name="T15" fmla="*/ 1 h 28"/>
                      <a:gd name="T16" fmla="*/ 1 w 29"/>
                      <a:gd name="T17" fmla="*/ 904 h 28"/>
                      <a:gd name="T18" fmla="*/ 0 w 29"/>
                      <a:gd name="T19" fmla="*/ 1931 h 28"/>
                      <a:gd name="T20" fmla="*/ 6 w 29"/>
                      <a:gd name="T21" fmla="*/ 263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6" y="28"/>
                        </a:moveTo>
                        <a:lnTo>
                          <a:pt x="22" y="23"/>
                        </a:lnTo>
                        <a:lnTo>
                          <a:pt x="20" y="18"/>
                        </a:lnTo>
                        <a:lnTo>
                          <a:pt x="29" y="18"/>
                        </a:lnTo>
                        <a:lnTo>
                          <a:pt x="29" y="5"/>
                        </a:lnTo>
                        <a:lnTo>
                          <a:pt x="19" y="0"/>
                        </a:lnTo>
                        <a:lnTo>
                          <a:pt x="5" y="2"/>
                        </a:lnTo>
                        <a:lnTo>
                          <a:pt x="2" y="1"/>
                        </a:lnTo>
                        <a:lnTo>
                          <a:pt x="1" y="9"/>
                        </a:lnTo>
                        <a:lnTo>
                          <a:pt x="0" y="20"/>
                        </a:lnTo>
                        <a:lnTo>
                          <a:pt x="6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2" name="Freeform 182"/>
                  <p:cNvSpPr>
                    <a:spLocks/>
                  </p:cNvSpPr>
                  <p:nvPr/>
                </p:nvSpPr>
                <p:spPr bwMode="auto">
                  <a:xfrm>
                    <a:off x="375" y="1761"/>
                    <a:ext cx="31" cy="30"/>
                  </a:xfrm>
                  <a:custGeom>
                    <a:avLst/>
                    <a:gdLst>
                      <a:gd name="T0" fmla="*/ 6 w 29"/>
                      <a:gd name="T1" fmla="*/ 2634 h 28"/>
                      <a:gd name="T2" fmla="*/ 1815 w 29"/>
                      <a:gd name="T3" fmla="*/ 2217 h 28"/>
                      <a:gd name="T4" fmla="*/ 1588 w 29"/>
                      <a:gd name="T5" fmla="*/ 1682 h 28"/>
                      <a:gd name="T6" fmla="*/ 2368 w 29"/>
                      <a:gd name="T7" fmla="*/ 1682 h 28"/>
                      <a:gd name="T8" fmla="*/ 2368 w 29"/>
                      <a:gd name="T9" fmla="*/ 5 h 28"/>
                      <a:gd name="T10" fmla="*/ 1486 w 29"/>
                      <a:gd name="T11" fmla="*/ 0 h 28"/>
                      <a:gd name="T12" fmla="*/ 5 w 29"/>
                      <a:gd name="T13" fmla="*/ 2 h 28"/>
                      <a:gd name="T14" fmla="*/ 2 w 29"/>
                      <a:gd name="T15" fmla="*/ 1 h 28"/>
                      <a:gd name="T16" fmla="*/ 1 w 29"/>
                      <a:gd name="T17" fmla="*/ 904 h 28"/>
                      <a:gd name="T18" fmla="*/ 0 w 29"/>
                      <a:gd name="T19" fmla="*/ 1931 h 28"/>
                      <a:gd name="T20" fmla="*/ 6 w 29"/>
                      <a:gd name="T21" fmla="*/ 2634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6" y="28"/>
                        </a:moveTo>
                        <a:lnTo>
                          <a:pt x="22" y="23"/>
                        </a:lnTo>
                        <a:lnTo>
                          <a:pt x="20" y="18"/>
                        </a:lnTo>
                        <a:lnTo>
                          <a:pt x="29" y="18"/>
                        </a:lnTo>
                        <a:lnTo>
                          <a:pt x="29" y="5"/>
                        </a:lnTo>
                        <a:lnTo>
                          <a:pt x="19" y="0"/>
                        </a:lnTo>
                        <a:lnTo>
                          <a:pt x="5" y="2"/>
                        </a:lnTo>
                        <a:lnTo>
                          <a:pt x="2" y="1"/>
                        </a:lnTo>
                        <a:lnTo>
                          <a:pt x="1" y="9"/>
                        </a:lnTo>
                        <a:lnTo>
                          <a:pt x="0" y="20"/>
                        </a:lnTo>
                        <a:lnTo>
                          <a:pt x="6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3" name="Freeform 183"/>
                  <p:cNvSpPr>
                    <a:spLocks/>
                  </p:cNvSpPr>
                  <p:nvPr/>
                </p:nvSpPr>
                <p:spPr bwMode="auto">
                  <a:xfrm>
                    <a:off x="311" y="1751"/>
                    <a:ext cx="30" cy="29"/>
                  </a:xfrm>
                  <a:custGeom>
                    <a:avLst/>
                    <a:gdLst>
                      <a:gd name="T0" fmla="*/ 844 w 28"/>
                      <a:gd name="T1" fmla="*/ 269 h 28"/>
                      <a:gd name="T2" fmla="*/ 904 w 28"/>
                      <a:gd name="T3" fmla="*/ 189 h 28"/>
                      <a:gd name="T4" fmla="*/ 1570 w 28"/>
                      <a:gd name="T5" fmla="*/ 164 h 28"/>
                      <a:gd name="T6" fmla="*/ 1802 w 28"/>
                      <a:gd name="T7" fmla="*/ 176 h 28"/>
                      <a:gd name="T8" fmla="*/ 2634 w 28"/>
                      <a:gd name="T9" fmla="*/ 11 h 28"/>
                      <a:gd name="T10" fmla="*/ 2217 w 28"/>
                      <a:gd name="T11" fmla="*/ 4 h 28"/>
                      <a:gd name="T12" fmla="*/ 1367 w 28"/>
                      <a:gd name="T13" fmla="*/ 4 h 28"/>
                      <a:gd name="T14" fmla="*/ 1112 w 28"/>
                      <a:gd name="T15" fmla="*/ 1 h 28"/>
                      <a:gd name="T16" fmla="*/ 904 w 28"/>
                      <a:gd name="T17" fmla="*/ 5 h 28"/>
                      <a:gd name="T18" fmla="*/ 4 w 28"/>
                      <a:gd name="T19" fmla="*/ 0 h 28"/>
                      <a:gd name="T20" fmla="*/ 0 w 28"/>
                      <a:gd name="T21" fmla="*/ 9 h 28"/>
                      <a:gd name="T22" fmla="*/ 844 w 28"/>
                      <a:gd name="T23" fmla="*/ 269 h 28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28"/>
                      <a:gd name="T37" fmla="*/ 0 h 28"/>
                      <a:gd name="T38" fmla="*/ 28 w 28"/>
                      <a:gd name="T39" fmla="*/ 28 h 28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28" h="28">
                        <a:moveTo>
                          <a:pt x="8" y="28"/>
                        </a:moveTo>
                        <a:lnTo>
                          <a:pt x="9" y="18"/>
                        </a:lnTo>
                        <a:lnTo>
                          <a:pt x="17" y="14"/>
                        </a:lnTo>
                        <a:lnTo>
                          <a:pt x="19" y="16"/>
                        </a:lnTo>
                        <a:lnTo>
                          <a:pt x="28" y="11"/>
                        </a:lnTo>
                        <a:lnTo>
                          <a:pt x="23" y="4"/>
                        </a:lnTo>
                        <a:lnTo>
                          <a:pt x="15" y="4"/>
                        </a:lnTo>
                        <a:lnTo>
                          <a:pt x="12" y="1"/>
                        </a:lnTo>
                        <a:lnTo>
                          <a:pt x="9" y="5"/>
                        </a:lnTo>
                        <a:lnTo>
                          <a:pt x="4" y="0"/>
                        </a:lnTo>
                        <a:lnTo>
                          <a:pt x="0" y="9"/>
                        </a:lnTo>
                        <a:lnTo>
                          <a:pt x="8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4" name="Freeform 184"/>
                  <p:cNvSpPr>
                    <a:spLocks/>
                  </p:cNvSpPr>
                  <p:nvPr/>
                </p:nvSpPr>
                <p:spPr bwMode="auto">
                  <a:xfrm>
                    <a:off x="311" y="1751"/>
                    <a:ext cx="30" cy="29"/>
                  </a:xfrm>
                  <a:custGeom>
                    <a:avLst/>
                    <a:gdLst>
                      <a:gd name="T0" fmla="*/ 844 w 28"/>
                      <a:gd name="T1" fmla="*/ 269 h 28"/>
                      <a:gd name="T2" fmla="*/ 904 w 28"/>
                      <a:gd name="T3" fmla="*/ 189 h 28"/>
                      <a:gd name="T4" fmla="*/ 1570 w 28"/>
                      <a:gd name="T5" fmla="*/ 164 h 28"/>
                      <a:gd name="T6" fmla="*/ 1802 w 28"/>
                      <a:gd name="T7" fmla="*/ 176 h 28"/>
                      <a:gd name="T8" fmla="*/ 2634 w 28"/>
                      <a:gd name="T9" fmla="*/ 11 h 28"/>
                      <a:gd name="T10" fmla="*/ 2217 w 28"/>
                      <a:gd name="T11" fmla="*/ 4 h 28"/>
                      <a:gd name="T12" fmla="*/ 1367 w 28"/>
                      <a:gd name="T13" fmla="*/ 4 h 28"/>
                      <a:gd name="T14" fmla="*/ 1112 w 28"/>
                      <a:gd name="T15" fmla="*/ 1 h 28"/>
                      <a:gd name="T16" fmla="*/ 904 w 28"/>
                      <a:gd name="T17" fmla="*/ 5 h 28"/>
                      <a:gd name="T18" fmla="*/ 4 w 28"/>
                      <a:gd name="T19" fmla="*/ 0 h 28"/>
                      <a:gd name="T20" fmla="*/ 0 w 28"/>
                      <a:gd name="T21" fmla="*/ 9 h 28"/>
                      <a:gd name="T22" fmla="*/ 844 w 28"/>
                      <a:gd name="T23" fmla="*/ 269 h 28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28"/>
                      <a:gd name="T37" fmla="*/ 0 h 28"/>
                      <a:gd name="T38" fmla="*/ 28 w 28"/>
                      <a:gd name="T39" fmla="*/ 28 h 28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28" h="28">
                        <a:moveTo>
                          <a:pt x="8" y="28"/>
                        </a:moveTo>
                        <a:lnTo>
                          <a:pt x="9" y="18"/>
                        </a:lnTo>
                        <a:lnTo>
                          <a:pt x="17" y="14"/>
                        </a:lnTo>
                        <a:lnTo>
                          <a:pt x="19" y="16"/>
                        </a:lnTo>
                        <a:lnTo>
                          <a:pt x="28" y="11"/>
                        </a:lnTo>
                        <a:lnTo>
                          <a:pt x="23" y="4"/>
                        </a:lnTo>
                        <a:lnTo>
                          <a:pt x="15" y="4"/>
                        </a:lnTo>
                        <a:lnTo>
                          <a:pt x="12" y="1"/>
                        </a:lnTo>
                        <a:lnTo>
                          <a:pt x="9" y="5"/>
                        </a:lnTo>
                        <a:lnTo>
                          <a:pt x="4" y="0"/>
                        </a:lnTo>
                        <a:lnTo>
                          <a:pt x="0" y="9"/>
                        </a:lnTo>
                        <a:lnTo>
                          <a:pt x="8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5" name="Freeform 185"/>
                  <p:cNvSpPr>
                    <a:spLocks/>
                  </p:cNvSpPr>
                  <p:nvPr/>
                </p:nvSpPr>
                <p:spPr bwMode="auto">
                  <a:xfrm>
                    <a:off x="373" y="1730"/>
                    <a:ext cx="31" cy="29"/>
                  </a:xfrm>
                  <a:custGeom>
                    <a:avLst/>
                    <a:gdLst>
                      <a:gd name="T0" fmla="*/ 1815 w 29"/>
                      <a:gd name="T1" fmla="*/ 269 h 28"/>
                      <a:gd name="T2" fmla="*/ 1815 w 29"/>
                      <a:gd name="T3" fmla="*/ 196 h 28"/>
                      <a:gd name="T4" fmla="*/ 2368 w 29"/>
                      <a:gd name="T5" fmla="*/ 176 h 28"/>
                      <a:gd name="T6" fmla="*/ 1486 w 29"/>
                      <a:gd name="T7" fmla="*/ 9 h 28"/>
                      <a:gd name="T8" fmla="*/ 1486 w 29"/>
                      <a:gd name="T9" fmla="*/ 1 h 28"/>
                      <a:gd name="T10" fmla="*/ 872 w 29"/>
                      <a:gd name="T11" fmla="*/ 0 h 28"/>
                      <a:gd name="T12" fmla="*/ 0 w 29"/>
                      <a:gd name="T13" fmla="*/ 1 h 28"/>
                      <a:gd name="T14" fmla="*/ 2 w 29"/>
                      <a:gd name="T15" fmla="*/ 11 h 28"/>
                      <a:gd name="T16" fmla="*/ 0 w 29"/>
                      <a:gd name="T17" fmla="*/ 170 h 28"/>
                      <a:gd name="T18" fmla="*/ 932 w 29"/>
                      <a:gd name="T19" fmla="*/ 176 h 28"/>
                      <a:gd name="T20" fmla="*/ 1815 w 29"/>
                      <a:gd name="T21" fmla="*/ 269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22" y="28"/>
                        </a:moveTo>
                        <a:lnTo>
                          <a:pt x="22" y="19"/>
                        </a:lnTo>
                        <a:lnTo>
                          <a:pt x="29" y="16"/>
                        </a:lnTo>
                        <a:lnTo>
                          <a:pt x="19" y="9"/>
                        </a:lnTo>
                        <a:lnTo>
                          <a:pt x="19" y="1"/>
                        </a:lnTo>
                        <a:lnTo>
                          <a:pt x="11" y="0"/>
                        </a:lnTo>
                        <a:lnTo>
                          <a:pt x="0" y="1"/>
                        </a:lnTo>
                        <a:lnTo>
                          <a:pt x="2" y="11"/>
                        </a:lnTo>
                        <a:lnTo>
                          <a:pt x="0" y="15"/>
                        </a:lnTo>
                        <a:lnTo>
                          <a:pt x="12" y="16"/>
                        </a:lnTo>
                        <a:lnTo>
                          <a:pt x="22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6" name="Freeform 186"/>
                  <p:cNvSpPr>
                    <a:spLocks/>
                  </p:cNvSpPr>
                  <p:nvPr/>
                </p:nvSpPr>
                <p:spPr bwMode="auto">
                  <a:xfrm>
                    <a:off x="373" y="1730"/>
                    <a:ext cx="31" cy="29"/>
                  </a:xfrm>
                  <a:custGeom>
                    <a:avLst/>
                    <a:gdLst>
                      <a:gd name="T0" fmla="*/ 1815 w 29"/>
                      <a:gd name="T1" fmla="*/ 269 h 28"/>
                      <a:gd name="T2" fmla="*/ 1815 w 29"/>
                      <a:gd name="T3" fmla="*/ 196 h 28"/>
                      <a:gd name="T4" fmla="*/ 2368 w 29"/>
                      <a:gd name="T5" fmla="*/ 176 h 28"/>
                      <a:gd name="T6" fmla="*/ 1486 w 29"/>
                      <a:gd name="T7" fmla="*/ 9 h 28"/>
                      <a:gd name="T8" fmla="*/ 1486 w 29"/>
                      <a:gd name="T9" fmla="*/ 1 h 28"/>
                      <a:gd name="T10" fmla="*/ 872 w 29"/>
                      <a:gd name="T11" fmla="*/ 0 h 28"/>
                      <a:gd name="T12" fmla="*/ 0 w 29"/>
                      <a:gd name="T13" fmla="*/ 1 h 28"/>
                      <a:gd name="T14" fmla="*/ 2 w 29"/>
                      <a:gd name="T15" fmla="*/ 11 h 28"/>
                      <a:gd name="T16" fmla="*/ 0 w 29"/>
                      <a:gd name="T17" fmla="*/ 170 h 28"/>
                      <a:gd name="T18" fmla="*/ 932 w 29"/>
                      <a:gd name="T19" fmla="*/ 176 h 28"/>
                      <a:gd name="T20" fmla="*/ 1815 w 29"/>
                      <a:gd name="T21" fmla="*/ 269 h 2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29"/>
                      <a:gd name="T34" fmla="*/ 0 h 28"/>
                      <a:gd name="T35" fmla="*/ 29 w 29"/>
                      <a:gd name="T36" fmla="*/ 28 h 2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29" h="28">
                        <a:moveTo>
                          <a:pt x="22" y="28"/>
                        </a:moveTo>
                        <a:lnTo>
                          <a:pt x="22" y="19"/>
                        </a:lnTo>
                        <a:lnTo>
                          <a:pt x="29" y="16"/>
                        </a:lnTo>
                        <a:lnTo>
                          <a:pt x="19" y="9"/>
                        </a:lnTo>
                        <a:lnTo>
                          <a:pt x="19" y="1"/>
                        </a:lnTo>
                        <a:lnTo>
                          <a:pt x="11" y="0"/>
                        </a:lnTo>
                        <a:lnTo>
                          <a:pt x="0" y="1"/>
                        </a:lnTo>
                        <a:lnTo>
                          <a:pt x="2" y="11"/>
                        </a:lnTo>
                        <a:lnTo>
                          <a:pt x="0" y="15"/>
                        </a:lnTo>
                        <a:lnTo>
                          <a:pt x="12" y="16"/>
                        </a:lnTo>
                        <a:lnTo>
                          <a:pt x="22" y="2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7" name="Freeform 187"/>
                  <p:cNvSpPr>
                    <a:spLocks/>
                  </p:cNvSpPr>
                  <p:nvPr/>
                </p:nvSpPr>
                <p:spPr bwMode="auto">
                  <a:xfrm>
                    <a:off x="280" y="1742"/>
                    <a:ext cx="31" cy="30"/>
                  </a:xfrm>
                  <a:custGeom>
                    <a:avLst/>
                    <a:gdLst>
                      <a:gd name="T0" fmla="*/ 1815 w 29"/>
                      <a:gd name="T1" fmla="*/ 0 h 28"/>
                      <a:gd name="T2" fmla="*/ 2368 w 29"/>
                      <a:gd name="T3" fmla="*/ 1465 h 28"/>
                      <a:gd name="T4" fmla="*/ 1138 w 29"/>
                      <a:gd name="T5" fmla="*/ 2294 h 28"/>
                      <a:gd name="T6" fmla="*/ 816 w 29"/>
                      <a:gd name="T7" fmla="*/ 2634 h 28"/>
                      <a:gd name="T8" fmla="*/ 0 w 29"/>
                      <a:gd name="T9" fmla="*/ 1931 h 28"/>
                      <a:gd name="T10" fmla="*/ 816 w 29"/>
                      <a:gd name="T11" fmla="*/ 1276 h 28"/>
                      <a:gd name="T12" fmla="*/ 872 w 29"/>
                      <a:gd name="T13" fmla="*/ 1 h 28"/>
                      <a:gd name="T14" fmla="*/ 1815 w 29"/>
                      <a:gd name="T15" fmla="*/ 0 h 28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9"/>
                      <a:gd name="T25" fmla="*/ 0 h 28"/>
                      <a:gd name="T26" fmla="*/ 29 w 29"/>
                      <a:gd name="T27" fmla="*/ 28 h 28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9" h="28">
                        <a:moveTo>
                          <a:pt x="22" y="0"/>
                        </a:moveTo>
                        <a:lnTo>
                          <a:pt x="29" y="16"/>
                        </a:lnTo>
                        <a:lnTo>
                          <a:pt x="15" y="24"/>
                        </a:lnTo>
                        <a:lnTo>
                          <a:pt x="10" y="28"/>
                        </a:lnTo>
                        <a:lnTo>
                          <a:pt x="0" y="20"/>
                        </a:lnTo>
                        <a:lnTo>
                          <a:pt x="10" y="14"/>
                        </a:lnTo>
                        <a:lnTo>
                          <a:pt x="11" y="1"/>
                        </a:lnTo>
                        <a:lnTo>
                          <a:pt x="22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8" name="Freeform 188"/>
                  <p:cNvSpPr>
                    <a:spLocks/>
                  </p:cNvSpPr>
                  <p:nvPr/>
                </p:nvSpPr>
                <p:spPr bwMode="auto">
                  <a:xfrm>
                    <a:off x="280" y="1742"/>
                    <a:ext cx="31" cy="30"/>
                  </a:xfrm>
                  <a:custGeom>
                    <a:avLst/>
                    <a:gdLst>
                      <a:gd name="T0" fmla="*/ 1815 w 29"/>
                      <a:gd name="T1" fmla="*/ 0 h 28"/>
                      <a:gd name="T2" fmla="*/ 2368 w 29"/>
                      <a:gd name="T3" fmla="*/ 1465 h 28"/>
                      <a:gd name="T4" fmla="*/ 1138 w 29"/>
                      <a:gd name="T5" fmla="*/ 2294 h 28"/>
                      <a:gd name="T6" fmla="*/ 816 w 29"/>
                      <a:gd name="T7" fmla="*/ 2634 h 28"/>
                      <a:gd name="T8" fmla="*/ 0 w 29"/>
                      <a:gd name="T9" fmla="*/ 1931 h 28"/>
                      <a:gd name="T10" fmla="*/ 816 w 29"/>
                      <a:gd name="T11" fmla="*/ 1276 h 28"/>
                      <a:gd name="T12" fmla="*/ 872 w 29"/>
                      <a:gd name="T13" fmla="*/ 1 h 28"/>
                      <a:gd name="T14" fmla="*/ 1815 w 29"/>
                      <a:gd name="T15" fmla="*/ 0 h 28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w 29"/>
                      <a:gd name="T25" fmla="*/ 0 h 28"/>
                      <a:gd name="T26" fmla="*/ 29 w 29"/>
                      <a:gd name="T27" fmla="*/ 28 h 28"/>
                    </a:gdLst>
                    <a:ahLst/>
                    <a:cxnLst>
                      <a:cxn ang="T16">
                        <a:pos x="T0" y="T1"/>
                      </a:cxn>
                      <a:cxn ang="T17">
                        <a:pos x="T2" y="T3"/>
                      </a:cxn>
                      <a:cxn ang="T18">
                        <a:pos x="T4" y="T5"/>
                      </a:cxn>
                      <a:cxn ang="T19">
                        <a:pos x="T6" y="T7"/>
                      </a:cxn>
                      <a:cxn ang="T20">
                        <a:pos x="T8" y="T9"/>
                      </a:cxn>
                      <a:cxn ang="T21">
                        <a:pos x="T10" y="T11"/>
                      </a:cxn>
                      <a:cxn ang="T22">
                        <a:pos x="T12" y="T13"/>
                      </a:cxn>
                      <a:cxn ang="T23">
                        <a:pos x="T14" y="T15"/>
                      </a:cxn>
                    </a:cxnLst>
                    <a:rect l="T24" t="T25" r="T26" b="T27"/>
                    <a:pathLst>
                      <a:path w="29" h="28">
                        <a:moveTo>
                          <a:pt x="22" y="0"/>
                        </a:moveTo>
                        <a:lnTo>
                          <a:pt x="29" y="16"/>
                        </a:lnTo>
                        <a:lnTo>
                          <a:pt x="15" y="24"/>
                        </a:lnTo>
                        <a:lnTo>
                          <a:pt x="10" y="28"/>
                        </a:lnTo>
                        <a:lnTo>
                          <a:pt x="0" y="20"/>
                        </a:lnTo>
                        <a:lnTo>
                          <a:pt x="10" y="14"/>
                        </a:lnTo>
                        <a:lnTo>
                          <a:pt x="11" y="1"/>
                        </a:lnTo>
                        <a:lnTo>
                          <a:pt x="22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89" name="Freeform 189"/>
                  <p:cNvSpPr>
                    <a:spLocks/>
                  </p:cNvSpPr>
                  <p:nvPr/>
                </p:nvSpPr>
                <p:spPr bwMode="auto">
                  <a:xfrm>
                    <a:off x="267" y="1728"/>
                    <a:ext cx="31" cy="30"/>
                  </a:xfrm>
                  <a:custGeom>
                    <a:avLst/>
                    <a:gdLst>
                      <a:gd name="T0" fmla="*/ 1698 w 29"/>
                      <a:gd name="T1" fmla="*/ 0 h 29"/>
                      <a:gd name="T2" fmla="*/ 1138 w 29"/>
                      <a:gd name="T3" fmla="*/ 0 h 29"/>
                      <a:gd name="T4" fmla="*/ 872 w 29"/>
                      <a:gd name="T5" fmla="*/ 3 h 29"/>
                      <a:gd name="T6" fmla="*/ 6 w 29"/>
                      <a:gd name="T7" fmla="*/ 5 h 29"/>
                      <a:gd name="T8" fmla="*/ 0 w 29"/>
                      <a:gd name="T9" fmla="*/ 174 h 29"/>
                      <a:gd name="T10" fmla="*/ 3 w 29"/>
                      <a:gd name="T11" fmla="*/ 180 h 29"/>
                      <a:gd name="T12" fmla="*/ 3 w 29"/>
                      <a:gd name="T13" fmla="*/ 220 h 29"/>
                      <a:gd name="T14" fmla="*/ 6 w 29"/>
                      <a:gd name="T15" fmla="*/ 220 h 29"/>
                      <a:gd name="T16" fmla="*/ 714 w 29"/>
                      <a:gd name="T17" fmla="*/ 213 h 29"/>
                      <a:gd name="T18" fmla="*/ 816 w 29"/>
                      <a:gd name="T19" fmla="*/ 252 h 29"/>
                      <a:gd name="T20" fmla="*/ 1486 w 29"/>
                      <a:gd name="T21" fmla="*/ 168 h 29"/>
                      <a:gd name="T22" fmla="*/ 2368 w 29"/>
                      <a:gd name="T23" fmla="*/ 8 h 29"/>
                      <a:gd name="T24" fmla="*/ 1940 w 29"/>
                      <a:gd name="T25" fmla="*/ 5 h 29"/>
                      <a:gd name="T26" fmla="*/ 1698 w 29"/>
                      <a:gd name="T27" fmla="*/ 0 h 29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29"/>
                      <a:gd name="T43" fmla="*/ 0 h 29"/>
                      <a:gd name="T44" fmla="*/ 29 w 29"/>
                      <a:gd name="T45" fmla="*/ 29 h 29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29" h="29">
                        <a:moveTo>
                          <a:pt x="21" y="0"/>
                        </a:moveTo>
                        <a:lnTo>
                          <a:pt x="15" y="0"/>
                        </a:lnTo>
                        <a:lnTo>
                          <a:pt x="11" y="3"/>
                        </a:lnTo>
                        <a:lnTo>
                          <a:pt x="6" y="5"/>
                        </a:lnTo>
                        <a:lnTo>
                          <a:pt x="0" y="18"/>
                        </a:lnTo>
                        <a:lnTo>
                          <a:pt x="3" y="19"/>
                        </a:lnTo>
                        <a:lnTo>
                          <a:pt x="3" y="25"/>
                        </a:lnTo>
                        <a:lnTo>
                          <a:pt x="6" y="25"/>
                        </a:lnTo>
                        <a:lnTo>
                          <a:pt x="8" y="24"/>
                        </a:lnTo>
                        <a:lnTo>
                          <a:pt x="10" y="29"/>
                        </a:lnTo>
                        <a:lnTo>
                          <a:pt x="19" y="17"/>
                        </a:lnTo>
                        <a:lnTo>
                          <a:pt x="29" y="8"/>
                        </a:lnTo>
                        <a:lnTo>
                          <a:pt x="24" y="5"/>
                        </a:lnTo>
                        <a:lnTo>
                          <a:pt x="21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0" name="Freeform 190"/>
                  <p:cNvSpPr>
                    <a:spLocks/>
                  </p:cNvSpPr>
                  <p:nvPr/>
                </p:nvSpPr>
                <p:spPr bwMode="auto">
                  <a:xfrm>
                    <a:off x="267" y="1728"/>
                    <a:ext cx="31" cy="30"/>
                  </a:xfrm>
                  <a:custGeom>
                    <a:avLst/>
                    <a:gdLst>
                      <a:gd name="T0" fmla="*/ 1698 w 29"/>
                      <a:gd name="T1" fmla="*/ 0 h 29"/>
                      <a:gd name="T2" fmla="*/ 1138 w 29"/>
                      <a:gd name="T3" fmla="*/ 0 h 29"/>
                      <a:gd name="T4" fmla="*/ 872 w 29"/>
                      <a:gd name="T5" fmla="*/ 3 h 29"/>
                      <a:gd name="T6" fmla="*/ 6 w 29"/>
                      <a:gd name="T7" fmla="*/ 5 h 29"/>
                      <a:gd name="T8" fmla="*/ 0 w 29"/>
                      <a:gd name="T9" fmla="*/ 174 h 29"/>
                      <a:gd name="T10" fmla="*/ 3 w 29"/>
                      <a:gd name="T11" fmla="*/ 180 h 29"/>
                      <a:gd name="T12" fmla="*/ 3 w 29"/>
                      <a:gd name="T13" fmla="*/ 220 h 29"/>
                      <a:gd name="T14" fmla="*/ 6 w 29"/>
                      <a:gd name="T15" fmla="*/ 220 h 29"/>
                      <a:gd name="T16" fmla="*/ 714 w 29"/>
                      <a:gd name="T17" fmla="*/ 213 h 29"/>
                      <a:gd name="T18" fmla="*/ 816 w 29"/>
                      <a:gd name="T19" fmla="*/ 252 h 29"/>
                      <a:gd name="T20" fmla="*/ 1486 w 29"/>
                      <a:gd name="T21" fmla="*/ 168 h 29"/>
                      <a:gd name="T22" fmla="*/ 2368 w 29"/>
                      <a:gd name="T23" fmla="*/ 8 h 29"/>
                      <a:gd name="T24" fmla="*/ 1940 w 29"/>
                      <a:gd name="T25" fmla="*/ 5 h 29"/>
                      <a:gd name="T26" fmla="*/ 1698 w 29"/>
                      <a:gd name="T27" fmla="*/ 0 h 29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29"/>
                      <a:gd name="T43" fmla="*/ 0 h 29"/>
                      <a:gd name="T44" fmla="*/ 29 w 29"/>
                      <a:gd name="T45" fmla="*/ 29 h 29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29" h="29">
                        <a:moveTo>
                          <a:pt x="21" y="0"/>
                        </a:moveTo>
                        <a:lnTo>
                          <a:pt x="15" y="0"/>
                        </a:lnTo>
                        <a:lnTo>
                          <a:pt x="11" y="3"/>
                        </a:lnTo>
                        <a:lnTo>
                          <a:pt x="6" y="5"/>
                        </a:lnTo>
                        <a:lnTo>
                          <a:pt x="0" y="18"/>
                        </a:lnTo>
                        <a:lnTo>
                          <a:pt x="3" y="19"/>
                        </a:lnTo>
                        <a:lnTo>
                          <a:pt x="3" y="25"/>
                        </a:lnTo>
                        <a:lnTo>
                          <a:pt x="6" y="25"/>
                        </a:lnTo>
                        <a:lnTo>
                          <a:pt x="8" y="24"/>
                        </a:lnTo>
                        <a:lnTo>
                          <a:pt x="10" y="29"/>
                        </a:lnTo>
                        <a:lnTo>
                          <a:pt x="19" y="17"/>
                        </a:lnTo>
                        <a:lnTo>
                          <a:pt x="29" y="8"/>
                        </a:lnTo>
                        <a:lnTo>
                          <a:pt x="24" y="5"/>
                        </a:lnTo>
                        <a:lnTo>
                          <a:pt x="21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1" name="Freeform 191"/>
                  <p:cNvSpPr>
                    <a:spLocks/>
                  </p:cNvSpPr>
                  <p:nvPr/>
                </p:nvSpPr>
                <p:spPr bwMode="auto">
                  <a:xfrm>
                    <a:off x="307" y="1841"/>
                    <a:ext cx="31" cy="31"/>
                  </a:xfrm>
                  <a:custGeom>
                    <a:avLst/>
                    <a:gdLst>
                      <a:gd name="T0" fmla="*/ 0 w 29"/>
                      <a:gd name="T1" fmla="*/ 2368 h 29"/>
                      <a:gd name="T2" fmla="*/ 2368 w 29"/>
                      <a:gd name="T3" fmla="*/ 5 h 29"/>
                      <a:gd name="T4" fmla="*/ 5 w 29"/>
                      <a:gd name="T5" fmla="*/ 0 h 29"/>
                      <a:gd name="T6" fmla="*/ 0 w 29"/>
                      <a:gd name="T7" fmla="*/ 2368 h 29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9"/>
                      <a:gd name="T13" fmla="*/ 0 h 29"/>
                      <a:gd name="T14" fmla="*/ 29 w 29"/>
                      <a:gd name="T15" fmla="*/ 29 h 29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9" h="29">
                        <a:moveTo>
                          <a:pt x="0" y="29"/>
                        </a:moveTo>
                        <a:lnTo>
                          <a:pt x="29" y="5"/>
                        </a:lnTo>
                        <a:lnTo>
                          <a:pt x="5" y="0"/>
                        </a:lnTo>
                        <a:lnTo>
                          <a:pt x="0" y="2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2" name="Freeform 192"/>
                  <p:cNvSpPr>
                    <a:spLocks/>
                  </p:cNvSpPr>
                  <p:nvPr/>
                </p:nvSpPr>
                <p:spPr bwMode="auto">
                  <a:xfrm>
                    <a:off x="307" y="1841"/>
                    <a:ext cx="31" cy="31"/>
                  </a:xfrm>
                  <a:custGeom>
                    <a:avLst/>
                    <a:gdLst>
                      <a:gd name="T0" fmla="*/ 0 w 29"/>
                      <a:gd name="T1" fmla="*/ 2368 h 29"/>
                      <a:gd name="T2" fmla="*/ 2368 w 29"/>
                      <a:gd name="T3" fmla="*/ 5 h 29"/>
                      <a:gd name="T4" fmla="*/ 5 w 29"/>
                      <a:gd name="T5" fmla="*/ 0 h 29"/>
                      <a:gd name="T6" fmla="*/ 0 w 29"/>
                      <a:gd name="T7" fmla="*/ 2368 h 29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9"/>
                      <a:gd name="T13" fmla="*/ 0 h 29"/>
                      <a:gd name="T14" fmla="*/ 29 w 29"/>
                      <a:gd name="T15" fmla="*/ 29 h 29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9" h="29">
                        <a:moveTo>
                          <a:pt x="0" y="29"/>
                        </a:moveTo>
                        <a:lnTo>
                          <a:pt x="29" y="5"/>
                        </a:lnTo>
                        <a:lnTo>
                          <a:pt x="5" y="0"/>
                        </a:lnTo>
                        <a:lnTo>
                          <a:pt x="0" y="2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3" name="Freeform 197"/>
                  <p:cNvSpPr>
                    <a:spLocks/>
                  </p:cNvSpPr>
                  <p:nvPr/>
                </p:nvSpPr>
                <p:spPr bwMode="auto">
                  <a:xfrm>
                    <a:off x="3099" y="3043"/>
                    <a:ext cx="22" cy="29"/>
                  </a:xfrm>
                  <a:custGeom>
                    <a:avLst/>
                    <a:gdLst>
                      <a:gd name="T0" fmla="*/ 0 w 21"/>
                      <a:gd name="T1" fmla="*/ 9 h 28"/>
                      <a:gd name="T2" fmla="*/ 2 w 21"/>
                      <a:gd name="T3" fmla="*/ 9 h 28"/>
                      <a:gd name="T4" fmla="*/ 4 w 21"/>
                      <a:gd name="T5" fmla="*/ 11 h 28"/>
                      <a:gd name="T6" fmla="*/ 9 w 21"/>
                      <a:gd name="T7" fmla="*/ 12 h 28"/>
                      <a:gd name="T8" fmla="*/ 10 w 21"/>
                      <a:gd name="T9" fmla="*/ 12 h 28"/>
                      <a:gd name="T10" fmla="*/ 10 w 21"/>
                      <a:gd name="T11" fmla="*/ 13 h 28"/>
                      <a:gd name="T12" fmla="*/ 10 w 21"/>
                      <a:gd name="T13" fmla="*/ 164 h 28"/>
                      <a:gd name="T14" fmla="*/ 267 w 21"/>
                      <a:gd name="T15" fmla="*/ 164 h 28"/>
                      <a:gd name="T16" fmla="*/ 280 w 21"/>
                      <a:gd name="T17" fmla="*/ 170 h 28"/>
                      <a:gd name="T18" fmla="*/ 280 w 21"/>
                      <a:gd name="T19" fmla="*/ 176 h 28"/>
                      <a:gd name="T20" fmla="*/ 293 w 21"/>
                      <a:gd name="T21" fmla="*/ 176 h 28"/>
                      <a:gd name="T22" fmla="*/ 293 w 21"/>
                      <a:gd name="T23" fmla="*/ 182 h 28"/>
                      <a:gd name="T24" fmla="*/ 293 w 21"/>
                      <a:gd name="T25" fmla="*/ 182 h 28"/>
                      <a:gd name="T26" fmla="*/ 293 w 21"/>
                      <a:gd name="T27" fmla="*/ 182 h 28"/>
                      <a:gd name="T28" fmla="*/ 293 w 21"/>
                      <a:gd name="T29" fmla="*/ 189 h 28"/>
                      <a:gd name="T30" fmla="*/ 293 w 21"/>
                      <a:gd name="T31" fmla="*/ 196 h 28"/>
                      <a:gd name="T32" fmla="*/ 293 w 21"/>
                      <a:gd name="T33" fmla="*/ 203 h 28"/>
                      <a:gd name="T34" fmla="*/ 293 w 21"/>
                      <a:gd name="T35" fmla="*/ 203 h 28"/>
                      <a:gd name="T36" fmla="*/ 293 w 21"/>
                      <a:gd name="T37" fmla="*/ 210 h 28"/>
                      <a:gd name="T38" fmla="*/ 293 w 21"/>
                      <a:gd name="T39" fmla="*/ 218 h 28"/>
                      <a:gd name="T40" fmla="*/ 280 w 21"/>
                      <a:gd name="T41" fmla="*/ 218 h 28"/>
                      <a:gd name="T42" fmla="*/ 280 w 21"/>
                      <a:gd name="T43" fmla="*/ 218 h 28"/>
                      <a:gd name="T44" fmla="*/ 322 w 21"/>
                      <a:gd name="T45" fmla="*/ 234 h 28"/>
                      <a:gd name="T46" fmla="*/ 322 w 21"/>
                      <a:gd name="T47" fmla="*/ 242 h 28"/>
                      <a:gd name="T48" fmla="*/ 322 w 21"/>
                      <a:gd name="T49" fmla="*/ 251 h 28"/>
                      <a:gd name="T50" fmla="*/ 322 w 21"/>
                      <a:gd name="T51" fmla="*/ 260 h 28"/>
                      <a:gd name="T52" fmla="*/ 337 w 21"/>
                      <a:gd name="T53" fmla="*/ 260 h 28"/>
                      <a:gd name="T54" fmla="*/ 353 w 21"/>
                      <a:gd name="T55" fmla="*/ 269 h 28"/>
                      <a:gd name="T56" fmla="*/ 370 w 21"/>
                      <a:gd name="T57" fmla="*/ 269 h 28"/>
                      <a:gd name="T58" fmla="*/ 425 w 21"/>
                      <a:gd name="T59" fmla="*/ 269 h 28"/>
                      <a:gd name="T60" fmla="*/ 406 w 21"/>
                      <a:gd name="T61" fmla="*/ 251 h 28"/>
                      <a:gd name="T62" fmla="*/ 370 w 21"/>
                      <a:gd name="T63" fmla="*/ 218 h 28"/>
                      <a:gd name="T64" fmla="*/ 388 w 21"/>
                      <a:gd name="T65" fmla="*/ 218 h 28"/>
                      <a:gd name="T66" fmla="*/ 388 w 21"/>
                      <a:gd name="T67" fmla="*/ 203 h 28"/>
                      <a:gd name="T68" fmla="*/ 388 w 21"/>
                      <a:gd name="T69" fmla="*/ 196 h 28"/>
                      <a:gd name="T70" fmla="*/ 388 w 21"/>
                      <a:gd name="T71" fmla="*/ 176 h 28"/>
                      <a:gd name="T72" fmla="*/ 406 w 21"/>
                      <a:gd name="T73" fmla="*/ 13 h 28"/>
                      <a:gd name="T74" fmla="*/ 388 w 21"/>
                      <a:gd name="T75" fmla="*/ 12 h 28"/>
                      <a:gd name="T76" fmla="*/ 322 w 21"/>
                      <a:gd name="T77" fmla="*/ 12 h 28"/>
                      <a:gd name="T78" fmla="*/ 322 w 21"/>
                      <a:gd name="T79" fmla="*/ 11 h 28"/>
                      <a:gd name="T80" fmla="*/ 293 w 21"/>
                      <a:gd name="T81" fmla="*/ 8 h 28"/>
                      <a:gd name="T82" fmla="*/ 267 w 21"/>
                      <a:gd name="T83" fmla="*/ 5 h 28"/>
                      <a:gd name="T84" fmla="*/ 267 w 21"/>
                      <a:gd name="T85" fmla="*/ 0 h 28"/>
                      <a:gd name="T86" fmla="*/ 8 w 21"/>
                      <a:gd name="T87" fmla="*/ 0 h 28"/>
                      <a:gd name="T88" fmla="*/ 8 w 21"/>
                      <a:gd name="T89" fmla="*/ 4 h 28"/>
                      <a:gd name="T90" fmla="*/ 6 w 21"/>
                      <a:gd name="T91" fmla="*/ 5 h 28"/>
                      <a:gd name="T92" fmla="*/ 6 w 21"/>
                      <a:gd name="T93" fmla="*/ 6 h 28"/>
                      <a:gd name="T94" fmla="*/ 4 w 21"/>
                      <a:gd name="T95" fmla="*/ 6 h 28"/>
                      <a:gd name="T96" fmla="*/ 4 w 21"/>
                      <a:gd name="T97" fmla="*/ 5 h 28"/>
                      <a:gd name="T98" fmla="*/ 0 w 21"/>
                      <a:gd name="T99" fmla="*/ 6 h 28"/>
                      <a:gd name="T100" fmla="*/ 0 w 21"/>
                      <a:gd name="T101" fmla="*/ 9 h 28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21"/>
                      <a:gd name="T154" fmla="*/ 0 h 28"/>
                      <a:gd name="T155" fmla="*/ 21 w 21"/>
                      <a:gd name="T156" fmla="*/ 28 h 28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21" h="28">
                        <a:moveTo>
                          <a:pt x="0" y="9"/>
                        </a:moveTo>
                        <a:lnTo>
                          <a:pt x="2" y="9"/>
                        </a:lnTo>
                        <a:lnTo>
                          <a:pt x="4" y="11"/>
                        </a:lnTo>
                        <a:lnTo>
                          <a:pt x="9" y="12"/>
                        </a:lnTo>
                        <a:lnTo>
                          <a:pt x="10" y="12"/>
                        </a:lnTo>
                        <a:lnTo>
                          <a:pt x="10" y="13"/>
                        </a:lnTo>
                        <a:lnTo>
                          <a:pt x="10" y="14"/>
                        </a:lnTo>
                        <a:lnTo>
                          <a:pt x="11" y="14"/>
                        </a:lnTo>
                        <a:lnTo>
                          <a:pt x="12" y="15"/>
                        </a:lnTo>
                        <a:lnTo>
                          <a:pt x="12" y="16"/>
                        </a:lnTo>
                        <a:lnTo>
                          <a:pt x="13" y="16"/>
                        </a:lnTo>
                        <a:lnTo>
                          <a:pt x="13" y="17"/>
                        </a:lnTo>
                        <a:lnTo>
                          <a:pt x="13" y="18"/>
                        </a:lnTo>
                        <a:lnTo>
                          <a:pt x="13" y="19"/>
                        </a:lnTo>
                        <a:lnTo>
                          <a:pt x="13" y="20"/>
                        </a:lnTo>
                        <a:lnTo>
                          <a:pt x="13" y="21"/>
                        </a:lnTo>
                        <a:lnTo>
                          <a:pt x="13" y="22"/>
                        </a:lnTo>
                        <a:lnTo>
                          <a:pt x="12" y="22"/>
                        </a:lnTo>
                        <a:lnTo>
                          <a:pt x="15" y="24"/>
                        </a:lnTo>
                        <a:lnTo>
                          <a:pt x="15" y="25"/>
                        </a:lnTo>
                        <a:lnTo>
                          <a:pt x="15" y="26"/>
                        </a:lnTo>
                        <a:lnTo>
                          <a:pt x="15" y="27"/>
                        </a:lnTo>
                        <a:lnTo>
                          <a:pt x="16" y="27"/>
                        </a:lnTo>
                        <a:lnTo>
                          <a:pt x="17" y="28"/>
                        </a:lnTo>
                        <a:lnTo>
                          <a:pt x="18" y="28"/>
                        </a:lnTo>
                        <a:lnTo>
                          <a:pt x="21" y="28"/>
                        </a:lnTo>
                        <a:lnTo>
                          <a:pt x="20" y="26"/>
                        </a:lnTo>
                        <a:lnTo>
                          <a:pt x="18" y="22"/>
                        </a:lnTo>
                        <a:lnTo>
                          <a:pt x="19" y="22"/>
                        </a:lnTo>
                        <a:lnTo>
                          <a:pt x="19" y="20"/>
                        </a:lnTo>
                        <a:lnTo>
                          <a:pt x="19" y="19"/>
                        </a:lnTo>
                        <a:lnTo>
                          <a:pt x="19" y="16"/>
                        </a:lnTo>
                        <a:lnTo>
                          <a:pt x="20" y="13"/>
                        </a:lnTo>
                        <a:lnTo>
                          <a:pt x="19" y="12"/>
                        </a:lnTo>
                        <a:lnTo>
                          <a:pt x="15" y="12"/>
                        </a:lnTo>
                        <a:lnTo>
                          <a:pt x="15" y="11"/>
                        </a:lnTo>
                        <a:lnTo>
                          <a:pt x="13" y="8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8" y="4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0" y="6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4" name="Freeform 198"/>
                  <p:cNvSpPr>
                    <a:spLocks/>
                  </p:cNvSpPr>
                  <p:nvPr/>
                </p:nvSpPr>
                <p:spPr bwMode="auto">
                  <a:xfrm>
                    <a:off x="3099" y="3043"/>
                    <a:ext cx="22" cy="29"/>
                  </a:xfrm>
                  <a:custGeom>
                    <a:avLst/>
                    <a:gdLst>
                      <a:gd name="T0" fmla="*/ 0 w 21"/>
                      <a:gd name="T1" fmla="*/ 9 h 28"/>
                      <a:gd name="T2" fmla="*/ 2 w 21"/>
                      <a:gd name="T3" fmla="*/ 9 h 28"/>
                      <a:gd name="T4" fmla="*/ 4 w 21"/>
                      <a:gd name="T5" fmla="*/ 11 h 28"/>
                      <a:gd name="T6" fmla="*/ 9 w 21"/>
                      <a:gd name="T7" fmla="*/ 12 h 28"/>
                      <a:gd name="T8" fmla="*/ 10 w 21"/>
                      <a:gd name="T9" fmla="*/ 12 h 28"/>
                      <a:gd name="T10" fmla="*/ 10 w 21"/>
                      <a:gd name="T11" fmla="*/ 13 h 28"/>
                      <a:gd name="T12" fmla="*/ 10 w 21"/>
                      <a:gd name="T13" fmla="*/ 164 h 28"/>
                      <a:gd name="T14" fmla="*/ 267 w 21"/>
                      <a:gd name="T15" fmla="*/ 164 h 28"/>
                      <a:gd name="T16" fmla="*/ 280 w 21"/>
                      <a:gd name="T17" fmla="*/ 170 h 28"/>
                      <a:gd name="T18" fmla="*/ 280 w 21"/>
                      <a:gd name="T19" fmla="*/ 176 h 28"/>
                      <a:gd name="T20" fmla="*/ 293 w 21"/>
                      <a:gd name="T21" fmla="*/ 176 h 28"/>
                      <a:gd name="T22" fmla="*/ 293 w 21"/>
                      <a:gd name="T23" fmla="*/ 182 h 28"/>
                      <a:gd name="T24" fmla="*/ 293 w 21"/>
                      <a:gd name="T25" fmla="*/ 182 h 28"/>
                      <a:gd name="T26" fmla="*/ 293 w 21"/>
                      <a:gd name="T27" fmla="*/ 182 h 28"/>
                      <a:gd name="T28" fmla="*/ 293 w 21"/>
                      <a:gd name="T29" fmla="*/ 189 h 28"/>
                      <a:gd name="T30" fmla="*/ 293 w 21"/>
                      <a:gd name="T31" fmla="*/ 196 h 28"/>
                      <a:gd name="T32" fmla="*/ 293 w 21"/>
                      <a:gd name="T33" fmla="*/ 203 h 28"/>
                      <a:gd name="T34" fmla="*/ 293 w 21"/>
                      <a:gd name="T35" fmla="*/ 203 h 28"/>
                      <a:gd name="T36" fmla="*/ 293 w 21"/>
                      <a:gd name="T37" fmla="*/ 210 h 28"/>
                      <a:gd name="T38" fmla="*/ 293 w 21"/>
                      <a:gd name="T39" fmla="*/ 218 h 28"/>
                      <a:gd name="T40" fmla="*/ 280 w 21"/>
                      <a:gd name="T41" fmla="*/ 218 h 28"/>
                      <a:gd name="T42" fmla="*/ 280 w 21"/>
                      <a:gd name="T43" fmla="*/ 218 h 28"/>
                      <a:gd name="T44" fmla="*/ 322 w 21"/>
                      <a:gd name="T45" fmla="*/ 234 h 28"/>
                      <a:gd name="T46" fmla="*/ 322 w 21"/>
                      <a:gd name="T47" fmla="*/ 242 h 28"/>
                      <a:gd name="T48" fmla="*/ 322 w 21"/>
                      <a:gd name="T49" fmla="*/ 251 h 28"/>
                      <a:gd name="T50" fmla="*/ 322 w 21"/>
                      <a:gd name="T51" fmla="*/ 260 h 28"/>
                      <a:gd name="T52" fmla="*/ 337 w 21"/>
                      <a:gd name="T53" fmla="*/ 260 h 28"/>
                      <a:gd name="T54" fmla="*/ 353 w 21"/>
                      <a:gd name="T55" fmla="*/ 269 h 28"/>
                      <a:gd name="T56" fmla="*/ 370 w 21"/>
                      <a:gd name="T57" fmla="*/ 269 h 28"/>
                      <a:gd name="T58" fmla="*/ 425 w 21"/>
                      <a:gd name="T59" fmla="*/ 269 h 28"/>
                      <a:gd name="T60" fmla="*/ 406 w 21"/>
                      <a:gd name="T61" fmla="*/ 251 h 28"/>
                      <a:gd name="T62" fmla="*/ 370 w 21"/>
                      <a:gd name="T63" fmla="*/ 218 h 28"/>
                      <a:gd name="T64" fmla="*/ 388 w 21"/>
                      <a:gd name="T65" fmla="*/ 218 h 28"/>
                      <a:gd name="T66" fmla="*/ 388 w 21"/>
                      <a:gd name="T67" fmla="*/ 203 h 28"/>
                      <a:gd name="T68" fmla="*/ 388 w 21"/>
                      <a:gd name="T69" fmla="*/ 196 h 28"/>
                      <a:gd name="T70" fmla="*/ 388 w 21"/>
                      <a:gd name="T71" fmla="*/ 176 h 28"/>
                      <a:gd name="T72" fmla="*/ 406 w 21"/>
                      <a:gd name="T73" fmla="*/ 13 h 28"/>
                      <a:gd name="T74" fmla="*/ 388 w 21"/>
                      <a:gd name="T75" fmla="*/ 12 h 28"/>
                      <a:gd name="T76" fmla="*/ 322 w 21"/>
                      <a:gd name="T77" fmla="*/ 12 h 28"/>
                      <a:gd name="T78" fmla="*/ 322 w 21"/>
                      <a:gd name="T79" fmla="*/ 11 h 28"/>
                      <a:gd name="T80" fmla="*/ 293 w 21"/>
                      <a:gd name="T81" fmla="*/ 8 h 28"/>
                      <a:gd name="T82" fmla="*/ 267 w 21"/>
                      <a:gd name="T83" fmla="*/ 5 h 28"/>
                      <a:gd name="T84" fmla="*/ 267 w 21"/>
                      <a:gd name="T85" fmla="*/ 0 h 28"/>
                      <a:gd name="T86" fmla="*/ 8 w 21"/>
                      <a:gd name="T87" fmla="*/ 0 h 28"/>
                      <a:gd name="T88" fmla="*/ 8 w 21"/>
                      <a:gd name="T89" fmla="*/ 4 h 28"/>
                      <a:gd name="T90" fmla="*/ 6 w 21"/>
                      <a:gd name="T91" fmla="*/ 5 h 28"/>
                      <a:gd name="T92" fmla="*/ 6 w 21"/>
                      <a:gd name="T93" fmla="*/ 6 h 28"/>
                      <a:gd name="T94" fmla="*/ 4 w 21"/>
                      <a:gd name="T95" fmla="*/ 6 h 28"/>
                      <a:gd name="T96" fmla="*/ 4 w 21"/>
                      <a:gd name="T97" fmla="*/ 5 h 28"/>
                      <a:gd name="T98" fmla="*/ 0 w 21"/>
                      <a:gd name="T99" fmla="*/ 6 h 28"/>
                      <a:gd name="T100" fmla="*/ 0 w 21"/>
                      <a:gd name="T101" fmla="*/ 9 h 28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21"/>
                      <a:gd name="T154" fmla="*/ 0 h 28"/>
                      <a:gd name="T155" fmla="*/ 21 w 21"/>
                      <a:gd name="T156" fmla="*/ 28 h 28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21" h="28">
                        <a:moveTo>
                          <a:pt x="0" y="9"/>
                        </a:moveTo>
                        <a:lnTo>
                          <a:pt x="2" y="9"/>
                        </a:lnTo>
                        <a:lnTo>
                          <a:pt x="4" y="11"/>
                        </a:lnTo>
                        <a:lnTo>
                          <a:pt x="9" y="12"/>
                        </a:lnTo>
                        <a:lnTo>
                          <a:pt x="10" y="12"/>
                        </a:lnTo>
                        <a:lnTo>
                          <a:pt x="10" y="13"/>
                        </a:lnTo>
                        <a:lnTo>
                          <a:pt x="10" y="14"/>
                        </a:lnTo>
                        <a:lnTo>
                          <a:pt x="11" y="14"/>
                        </a:lnTo>
                        <a:lnTo>
                          <a:pt x="12" y="15"/>
                        </a:lnTo>
                        <a:lnTo>
                          <a:pt x="12" y="16"/>
                        </a:lnTo>
                        <a:lnTo>
                          <a:pt x="13" y="16"/>
                        </a:lnTo>
                        <a:lnTo>
                          <a:pt x="13" y="17"/>
                        </a:lnTo>
                        <a:lnTo>
                          <a:pt x="13" y="18"/>
                        </a:lnTo>
                        <a:lnTo>
                          <a:pt x="13" y="19"/>
                        </a:lnTo>
                        <a:lnTo>
                          <a:pt x="13" y="20"/>
                        </a:lnTo>
                        <a:lnTo>
                          <a:pt x="13" y="21"/>
                        </a:lnTo>
                        <a:lnTo>
                          <a:pt x="13" y="22"/>
                        </a:lnTo>
                        <a:lnTo>
                          <a:pt x="12" y="22"/>
                        </a:lnTo>
                        <a:lnTo>
                          <a:pt x="15" y="24"/>
                        </a:lnTo>
                        <a:lnTo>
                          <a:pt x="15" y="25"/>
                        </a:lnTo>
                        <a:lnTo>
                          <a:pt x="15" y="26"/>
                        </a:lnTo>
                        <a:lnTo>
                          <a:pt x="15" y="27"/>
                        </a:lnTo>
                        <a:lnTo>
                          <a:pt x="16" y="27"/>
                        </a:lnTo>
                        <a:lnTo>
                          <a:pt x="17" y="28"/>
                        </a:lnTo>
                        <a:lnTo>
                          <a:pt x="18" y="28"/>
                        </a:lnTo>
                        <a:lnTo>
                          <a:pt x="21" y="28"/>
                        </a:lnTo>
                        <a:lnTo>
                          <a:pt x="20" y="26"/>
                        </a:lnTo>
                        <a:lnTo>
                          <a:pt x="18" y="22"/>
                        </a:lnTo>
                        <a:lnTo>
                          <a:pt x="19" y="22"/>
                        </a:lnTo>
                        <a:lnTo>
                          <a:pt x="19" y="20"/>
                        </a:lnTo>
                        <a:lnTo>
                          <a:pt x="19" y="19"/>
                        </a:lnTo>
                        <a:lnTo>
                          <a:pt x="19" y="16"/>
                        </a:lnTo>
                        <a:lnTo>
                          <a:pt x="20" y="13"/>
                        </a:lnTo>
                        <a:lnTo>
                          <a:pt x="19" y="12"/>
                        </a:lnTo>
                        <a:lnTo>
                          <a:pt x="15" y="12"/>
                        </a:lnTo>
                        <a:lnTo>
                          <a:pt x="15" y="11"/>
                        </a:lnTo>
                        <a:lnTo>
                          <a:pt x="13" y="8"/>
                        </a:lnTo>
                        <a:lnTo>
                          <a:pt x="11" y="5"/>
                        </a:lnTo>
                        <a:lnTo>
                          <a:pt x="11" y="0"/>
                        </a:lnTo>
                        <a:lnTo>
                          <a:pt x="8" y="0"/>
                        </a:lnTo>
                        <a:lnTo>
                          <a:pt x="8" y="4"/>
                        </a:lnTo>
                        <a:lnTo>
                          <a:pt x="6" y="5"/>
                        </a:lnTo>
                        <a:lnTo>
                          <a:pt x="6" y="6"/>
                        </a:lnTo>
                        <a:lnTo>
                          <a:pt x="4" y="6"/>
                        </a:lnTo>
                        <a:lnTo>
                          <a:pt x="4" y="5"/>
                        </a:lnTo>
                        <a:lnTo>
                          <a:pt x="0" y="6"/>
                        </a:lnTo>
                        <a:lnTo>
                          <a:pt x="0" y="9"/>
                        </a:lnTo>
                        <a:close/>
                      </a:path>
                    </a:pathLst>
                  </a:custGeom>
                  <a:noFill/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5" name="Freeform 199"/>
                  <p:cNvSpPr>
                    <a:spLocks/>
                  </p:cNvSpPr>
                  <p:nvPr/>
                </p:nvSpPr>
                <p:spPr bwMode="auto">
                  <a:xfrm>
                    <a:off x="3139" y="3010"/>
                    <a:ext cx="22" cy="22"/>
                  </a:xfrm>
                  <a:custGeom>
                    <a:avLst/>
                    <a:gdLst>
                      <a:gd name="T0" fmla="*/ 2 w 21"/>
                      <a:gd name="T1" fmla="*/ 1 h 21"/>
                      <a:gd name="T2" fmla="*/ 0 w 21"/>
                      <a:gd name="T3" fmla="*/ 9 h 21"/>
                      <a:gd name="T4" fmla="*/ 2 w 21"/>
                      <a:gd name="T5" fmla="*/ 267 h 21"/>
                      <a:gd name="T6" fmla="*/ 4 w 21"/>
                      <a:gd name="T7" fmla="*/ 280 h 21"/>
                      <a:gd name="T8" fmla="*/ 8 w 21"/>
                      <a:gd name="T9" fmla="*/ 388 h 21"/>
                      <a:gd name="T10" fmla="*/ 9 w 21"/>
                      <a:gd name="T11" fmla="*/ 388 h 21"/>
                      <a:gd name="T12" fmla="*/ 267 w 21"/>
                      <a:gd name="T13" fmla="*/ 425 h 21"/>
                      <a:gd name="T14" fmla="*/ 307 w 21"/>
                      <a:gd name="T15" fmla="*/ 425 h 21"/>
                      <a:gd name="T16" fmla="*/ 322 w 21"/>
                      <a:gd name="T17" fmla="*/ 293 h 21"/>
                      <a:gd name="T18" fmla="*/ 337 w 21"/>
                      <a:gd name="T19" fmla="*/ 322 h 21"/>
                      <a:gd name="T20" fmla="*/ 425 w 21"/>
                      <a:gd name="T21" fmla="*/ 322 h 21"/>
                      <a:gd name="T22" fmla="*/ 388 w 21"/>
                      <a:gd name="T23" fmla="*/ 7 h 21"/>
                      <a:gd name="T24" fmla="*/ 307 w 21"/>
                      <a:gd name="T25" fmla="*/ 7 h 21"/>
                      <a:gd name="T26" fmla="*/ 10 w 21"/>
                      <a:gd name="T27" fmla="*/ 6 h 21"/>
                      <a:gd name="T28" fmla="*/ 5 w 21"/>
                      <a:gd name="T29" fmla="*/ 1 h 21"/>
                      <a:gd name="T30" fmla="*/ 5 w 21"/>
                      <a:gd name="T31" fmla="*/ 0 h 21"/>
                      <a:gd name="T32" fmla="*/ 2 w 21"/>
                      <a:gd name="T33" fmla="*/ 1 h 21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"/>
                      <a:gd name="T52" fmla="*/ 0 h 21"/>
                      <a:gd name="T53" fmla="*/ 21 w 21"/>
                      <a:gd name="T54" fmla="*/ 21 h 21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" h="21">
                        <a:moveTo>
                          <a:pt x="2" y="1"/>
                        </a:moveTo>
                        <a:lnTo>
                          <a:pt x="0" y="9"/>
                        </a:lnTo>
                        <a:lnTo>
                          <a:pt x="2" y="11"/>
                        </a:lnTo>
                        <a:lnTo>
                          <a:pt x="4" y="12"/>
                        </a:lnTo>
                        <a:lnTo>
                          <a:pt x="8" y="19"/>
                        </a:lnTo>
                        <a:lnTo>
                          <a:pt x="9" y="19"/>
                        </a:lnTo>
                        <a:lnTo>
                          <a:pt x="11" y="21"/>
                        </a:lnTo>
                        <a:lnTo>
                          <a:pt x="14" y="21"/>
                        </a:lnTo>
                        <a:lnTo>
                          <a:pt x="15" y="13"/>
                        </a:lnTo>
                        <a:lnTo>
                          <a:pt x="16" y="15"/>
                        </a:lnTo>
                        <a:lnTo>
                          <a:pt x="21" y="15"/>
                        </a:lnTo>
                        <a:lnTo>
                          <a:pt x="19" y="7"/>
                        </a:lnTo>
                        <a:lnTo>
                          <a:pt x="14" y="7"/>
                        </a:lnTo>
                        <a:lnTo>
                          <a:pt x="10" y="6"/>
                        </a:lnTo>
                        <a:lnTo>
                          <a:pt x="5" y="1"/>
                        </a:lnTo>
                        <a:lnTo>
                          <a:pt x="5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96" name="Freeform 200"/>
                  <p:cNvSpPr>
                    <a:spLocks/>
                  </p:cNvSpPr>
                  <p:nvPr/>
                </p:nvSpPr>
                <p:spPr bwMode="auto">
                  <a:xfrm>
                    <a:off x="3139" y="3010"/>
                    <a:ext cx="22" cy="22"/>
                  </a:xfrm>
                  <a:custGeom>
                    <a:avLst/>
                    <a:gdLst>
                      <a:gd name="T0" fmla="*/ 2 w 21"/>
                      <a:gd name="T1" fmla="*/ 1 h 21"/>
                      <a:gd name="T2" fmla="*/ 0 w 21"/>
                      <a:gd name="T3" fmla="*/ 9 h 21"/>
                      <a:gd name="T4" fmla="*/ 2 w 21"/>
                      <a:gd name="T5" fmla="*/ 267 h 21"/>
                      <a:gd name="T6" fmla="*/ 4 w 21"/>
                      <a:gd name="T7" fmla="*/ 280 h 21"/>
                      <a:gd name="T8" fmla="*/ 8 w 21"/>
                      <a:gd name="T9" fmla="*/ 388 h 21"/>
                      <a:gd name="T10" fmla="*/ 9 w 21"/>
                      <a:gd name="T11" fmla="*/ 388 h 21"/>
                      <a:gd name="T12" fmla="*/ 267 w 21"/>
                      <a:gd name="T13" fmla="*/ 425 h 21"/>
                      <a:gd name="T14" fmla="*/ 307 w 21"/>
                      <a:gd name="T15" fmla="*/ 425 h 21"/>
                      <a:gd name="T16" fmla="*/ 322 w 21"/>
                      <a:gd name="T17" fmla="*/ 293 h 21"/>
                      <a:gd name="T18" fmla="*/ 337 w 21"/>
                      <a:gd name="T19" fmla="*/ 322 h 21"/>
                      <a:gd name="T20" fmla="*/ 425 w 21"/>
                      <a:gd name="T21" fmla="*/ 322 h 21"/>
                      <a:gd name="T22" fmla="*/ 388 w 21"/>
                      <a:gd name="T23" fmla="*/ 7 h 21"/>
                      <a:gd name="T24" fmla="*/ 307 w 21"/>
                      <a:gd name="T25" fmla="*/ 7 h 21"/>
                      <a:gd name="T26" fmla="*/ 10 w 21"/>
                      <a:gd name="T27" fmla="*/ 6 h 21"/>
                      <a:gd name="T28" fmla="*/ 5 w 21"/>
                      <a:gd name="T29" fmla="*/ 1 h 21"/>
                      <a:gd name="T30" fmla="*/ 5 w 21"/>
                      <a:gd name="T31" fmla="*/ 0 h 21"/>
                      <a:gd name="T32" fmla="*/ 2 w 21"/>
                      <a:gd name="T33" fmla="*/ 1 h 21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21"/>
                      <a:gd name="T52" fmla="*/ 0 h 21"/>
                      <a:gd name="T53" fmla="*/ 21 w 21"/>
                      <a:gd name="T54" fmla="*/ 21 h 21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21" h="21">
                        <a:moveTo>
                          <a:pt x="2" y="1"/>
                        </a:moveTo>
                        <a:lnTo>
                          <a:pt x="0" y="9"/>
                        </a:lnTo>
                        <a:lnTo>
                          <a:pt x="2" y="11"/>
                        </a:lnTo>
                        <a:lnTo>
                          <a:pt x="4" y="12"/>
                        </a:lnTo>
                        <a:lnTo>
                          <a:pt x="8" y="19"/>
                        </a:lnTo>
                        <a:lnTo>
                          <a:pt x="9" y="19"/>
                        </a:lnTo>
                        <a:lnTo>
                          <a:pt x="11" y="21"/>
                        </a:lnTo>
                        <a:lnTo>
                          <a:pt x="14" y="21"/>
                        </a:lnTo>
                        <a:lnTo>
                          <a:pt x="15" y="13"/>
                        </a:lnTo>
                        <a:lnTo>
                          <a:pt x="16" y="15"/>
                        </a:lnTo>
                        <a:lnTo>
                          <a:pt x="21" y="15"/>
                        </a:lnTo>
                        <a:lnTo>
                          <a:pt x="19" y="7"/>
                        </a:lnTo>
                        <a:lnTo>
                          <a:pt x="14" y="7"/>
                        </a:lnTo>
                        <a:lnTo>
                          <a:pt x="10" y="6"/>
                        </a:lnTo>
                        <a:lnTo>
                          <a:pt x="5" y="1"/>
                        </a:lnTo>
                        <a:lnTo>
                          <a:pt x="5" y="0"/>
                        </a:lnTo>
                        <a:lnTo>
                          <a:pt x="2" y="1"/>
                        </a:lnTo>
                        <a:close/>
                      </a:path>
                    </a:pathLst>
                  </a:custGeom>
                  <a:solidFill>
                    <a:srgbClr val="953735"/>
                  </a:solidFill>
                  <a:ln w="7938">
                    <a:solidFill>
                      <a:srgbClr val="1C1329"/>
                    </a:solidFill>
                    <a:miter lim="800000"/>
                    <a:headEnd/>
                    <a:tailEnd/>
                  </a:ln>
                  <a:extLst/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207" name="Freeform 172"/>
              <p:cNvSpPr>
                <a:spLocks/>
              </p:cNvSpPr>
              <p:nvPr/>
            </p:nvSpPr>
            <p:spPr bwMode="auto">
              <a:xfrm>
                <a:off x="4973000" y="2960260"/>
                <a:ext cx="876944" cy="540906"/>
              </a:xfrm>
              <a:custGeom>
                <a:avLst/>
                <a:gdLst>
                  <a:gd name="T0" fmla="*/ 184 w 210"/>
                  <a:gd name="T1" fmla="*/ 58 h 182"/>
                  <a:gd name="T2" fmla="*/ 185 w 210"/>
                  <a:gd name="T3" fmla="*/ 74 h 182"/>
                  <a:gd name="T4" fmla="*/ 182 w 210"/>
                  <a:gd name="T5" fmla="*/ 80 h 182"/>
                  <a:gd name="T6" fmla="*/ 172 w 210"/>
                  <a:gd name="T7" fmla="*/ 81 h 182"/>
                  <a:gd name="T8" fmla="*/ 166 w 210"/>
                  <a:gd name="T9" fmla="*/ 93 h 182"/>
                  <a:gd name="T10" fmla="*/ 178 w 210"/>
                  <a:gd name="T11" fmla="*/ 94 h 182"/>
                  <a:gd name="T12" fmla="*/ 187 w 210"/>
                  <a:gd name="T13" fmla="*/ 104 h 182"/>
                  <a:gd name="T14" fmla="*/ 191 w 210"/>
                  <a:gd name="T15" fmla="*/ 113 h 182"/>
                  <a:gd name="T16" fmla="*/ 199 w 210"/>
                  <a:gd name="T17" fmla="*/ 117 h 182"/>
                  <a:gd name="T18" fmla="*/ 210 w 210"/>
                  <a:gd name="T19" fmla="*/ 140 h 182"/>
                  <a:gd name="T20" fmla="*/ 198 w 210"/>
                  <a:gd name="T21" fmla="*/ 154 h 182"/>
                  <a:gd name="T22" fmla="*/ 187 w 210"/>
                  <a:gd name="T23" fmla="*/ 166 h 182"/>
                  <a:gd name="T24" fmla="*/ 175 w 210"/>
                  <a:gd name="T25" fmla="*/ 176 h 182"/>
                  <a:gd name="T26" fmla="*/ 163 w 210"/>
                  <a:gd name="T27" fmla="*/ 176 h 182"/>
                  <a:gd name="T28" fmla="*/ 148 w 210"/>
                  <a:gd name="T29" fmla="*/ 180 h 182"/>
                  <a:gd name="T30" fmla="*/ 136 w 210"/>
                  <a:gd name="T31" fmla="*/ 176 h 182"/>
                  <a:gd name="T32" fmla="*/ 129 w 210"/>
                  <a:gd name="T33" fmla="*/ 182 h 182"/>
                  <a:gd name="T34" fmla="*/ 112 w 210"/>
                  <a:gd name="T35" fmla="*/ 168 h 182"/>
                  <a:gd name="T36" fmla="*/ 108 w 210"/>
                  <a:gd name="T37" fmla="*/ 159 h 182"/>
                  <a:gd name="T38" fmla="*/ 98 w 210"/>
                  <a:gd name="T39" fmla="*/ 163 h 182"/>
                  <a:gd name="T40" fmla="*/ 89 w 210"/>
                  <a:gd name="T41" fmla="*/ 162 h 182"/>
                  <a:gd name="T42" fmla="*/ 84 w 210"/>
                  <a:gd name="T43" fmla="*/ 165 h 182"/>
                  <a:gd name="T44" fmla="*/ 76 w 210"/>
                  <a:gd name="T45" fmla="*/ 163 h 182"/>
                  <a:gd name="T46" fmla="*/ 65 w 210"/>
                  <a:gd name="T47" fmla="*/ 146 h 182"/>
                  <a:gd name="T48" fmla="*/ 62 w 210"/>
                  <a:gd name="T49" fmla="*/ 139 h 182"/>
                  <a:gd name="T50" fmla="*/ 48 w 210"/>
                  <a:gd name="T51" fmla="*/ 131 h 182"/>
                  <a:gd name="T52" fmla="*/ 43 w 210"/>
                  <a:gd name="T53" fmla="*/ 118 h 182"/>
                  <a:gd name="T54" fmla="*/ 35 w 210"/>
                  <a:gd name="T55" fmla="*/ 109 h 182"/>
                  <a:gd name="T56" fmla="*/ 23 w 210"/>
                  <a:gd name="T57" fmla="*/ 99 h 182"/>
                  <a:gd name="T58" fmla="*/ 23 w 210"/>
                  <a:gd name="T59" fmla="*/ 92 h 182"/>
                  <a:gd name="T60" fmla="*/ 13 w 210"/>
                  <a:gd name="T61" fmla="*/ 84 h 182"/>
                  <a:gd name="T62" fmla="*/ 0 w 210"/>
                  <a:gd name="T63" fmla="*/ 75 h 182"/>
                  <a:gd name="T64" fmla="*/ 5 w 210"/>
                  <a:gd name="T65" fmla="*/ 73 h 182"/>
                  <a:gd name="T66" fmla="*/ 12 w 210"/>
                  <a:gd name="T67" fmla="*/ 69 h 182"/>
                  <a:gd name="T68" fmla="*/ 16 w 210"/>
                  <a:gd name="T69" fmla="*/ 51 h 182"/>
                  <a:gd name="T70" fmla="*/ 21 w 210"/>
                  <a:gd name="T71" fmla="*/ 41 h 182"/>
                  <a:gd name="T72" fmla="*/ 34 w 210"/>
                  <a:gd name="T73" fmla="*/ 38 h 182"/>
                  <a:gd name="T74" fmla="*/ 37 w 210"/>
                  <a:gd name="T75" fmla="*/ 44 h 182"/>
                  <a:gd name="T76" fmla="*/ 47 w 210"/>
                  <a:gd name="T77" fmla="*/ 56 h 182"/>
                  <a:gd name="T78" fmla="*/ 52 w 210"/>
                  <a:gd name="T79" fmla="*/ 58 h 182"/>
                  <a:gd name="T80" fmla="*/ 59 w 210"/>
                  <a:gd name="T81" fmla="*/ 54 h 182"/>
                  <a:gd name="T82" fmla="*/ 72 w 210"/>
                  <a:gd name="T83" fmla="*/ 55 h 182"/>
                  <a:gd name="T84" fmla="*/ 74 w 210"/>
                  <a:gd name="T85" fmla="*/ 59 h 182"/>
                  <a:gd name="T86" fmla="*/ 93 w 210"/>
                  <a:gd name="T87" fmla="*/ 59 h 182"/>
                  <a:gd name="T88" fmla="*/ 93 w 210"/>
                  <a:gd name="T89" fmla="*/ 55 h 182"/>
                  <a:gd name="T90" fmla="*/ 102 w 210"/>
                  <a:gd name="T91" fmla="*/ 51 h 182"/>
                  <a:gd name="T92" fmla="*/ 104 w 210"/>
                  <a:gd name="T93" fmla="*/ 45 h 182"/>
                  <a:gd name="T94" fmla="*/ 111 w 210"/>
                  <a:gd name="T95" fmla="*/ 41 h 182"/>
                  <a:gd name="T96" fmla="*/ 127 w 210"/>
                  <a:gd name="T97" fmla="*/ 53 h 182"/>
                  <a:gd name="T98" fmla="*/ 136 w 210"/>
                  <a:gd name="T99" fmla="*/ 51 h 182"/>
                  <a:gd name="T100" fmla="*/ 145 w 210"/>
                  <a:gd name="T101" fmla="*/ 36 h 182"/>
                  <a:gd name="T102" fmla="*/ 155 w 210"/>
                  <a:gd name="T103" fmla="*/ 24 h 182"/>
                  <a:gd name="T104" fmla="*/ 153 w 210"/>
                  <a:gd name="T105" fmla="*/ 12 h 182"/>
                  <a:gd name="T106" fmla="*/ 148 w 210"/>
                  <a:gd name="T107" fmla="*/ 6 h 182"/>
                  <a:gd name="T108" fmla="*/ 159 w 210"/>
                  <a:gd name="T109" fmla="*/ 5 h 182"/>
                  <a:gd name="T110" fmla="*/ 160 w 210"/>
                  <a:gd name="T111" fmla="*/ 0 h 182"/>
                  <a:gd name="T112" fmla="*/ 169 w 210"/>
                  <a:gd name="T113" fmla="*/ 1 h 182"/>
                  <a:gd name="T114" fmla="*/ 167 w 210"/>
                  <a:gd name="T115" fmla="*/ 17 h 182"/>
                  <a:gd name="T116" fmla="*/ 170 w 210"/>
                  <a:gd name="T117" fmla="*/ 32 h 182"/>
                  <a:gd name="T118" fmla="*/ 179 w 210"/>
                  <a:gd name="T119" fmla="*/ 40 h 182"/>
                  <a:gd name="T120" fmla="*/ 181 w 210"/>
                  <a:gd name="T121" fmla="*/ 47 h 182"/>
                  <a:gd name="T122" fmla="*/ 181 w 210"/>
                  <a:gd name="T123" fmla="*/ 57 h 182"/>
                  <a:gd name="T124" fmla="*/ 184 w 210"/>
                  <a:gd name="T125" fmla="*/ 5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0" h="182">
                    <a:moveTo>
                      <a:pt x="184" y="58"/>
                    </a:moveTo>
                    <a:lnTo>
                      <a:pt x="185" y="74"/>
                    </a:lnTo>
                    <a:lnTo>
                      <a:pt x="182" y="80"/>
                    </a:lnTo>
                    <a:lnTo>
                      <a:pt x="172" y="81"/>
                    </a:lnTo>
                    <a:lnTo>
                      <a:pt x="166" y="93"/>
                    </a:lnTo>
                    <a:lnTo>
                      <a:pt x="178" y="94"/>
                    </a:lnTo>
                    <a:lnTo>
                      <a:pt x="187" y="104"/>
                    </a:lnTo>
                    <a:lnTo>
                      <a:pt x="191" y="113"/>
                    </a:lnTo>
                    <a:lnTo>
                      <a:pt x="199" y="117"/>
                    </a:lnTo>
                    <a:lnTo>
                      <a:pt x="210" y="140"/>
                    </a:lnTo>
                    <a:lnTo>
                      <a:pt x="198" y="154"/>
                    </a:lnTo>
                    <a:lnTo>
                      <a:pt x="187" y="166"/>
                    </a:lnTo>
                    <a:lnTo>
                      <a:pt x="175" y="176"/>
                    </a:lnTo>
                    <a:lnTo>
                      <a:pt x="163" y="176"/>
                    </a:lnTo>
                    <a:lnTo>
                      <a:pt x="148" y="180"/>
                    </a:lnTo>
                    <a:lnTo>
                      <a:pt x="136" y="176"/>
                    </a:lnTo>
                    <a:lnTo>
                      <a:pt x="129" y="182"/>
                    </a:lnTo>
                    <a:lnTo>
                      <a:pt x="112" y="168"/>
                    </a:lnTo>
                    <a:lnTo>
                      <a:pt x="108" y="159"/>
                    </a:lnTo>
                    <a:lnTo>
                      <a:pt x="98" y="163"/>
                    </a:lnTo>
                    <a:lnTo>
                      <a:pt x="89" y="162"/>
                    </a:lnTo>
                    <a:lnTo>
                      <a:pt x="84" y="165"/>
                    </a:lnTo>
                    <a:lnTo>
                      <a:pt x="76" y="163"/>
                    </a:lnTo>
                    <a:lnTo>
                      <a:pt x="65" y="146"/>
                    </a:lnTo>
                    <a:lnTo>
                      <a:pt x="62" y="139"/>
                    </a:lnTo>
                    <a:lnTo>
                      <a:pt x="48" y="131"/>
                    </a:lnTo>
                    <a:lnTo>
                      <a:pt x="43" y="118"/>
                    </a:lnTo>
                    <a:lnTo>
                      <a:pt x="35" y="109"/>
                    </a:lnTo>
                    <a:lnTo>
                      <a:pt x="23" y="99"/>
                    </a:lnTo>
                    <a:lnTo>
                      <a:pt x="23" y="92"/>
                    </a:lnTo>
                    <a:lnTo>
                      <a:pt x="13" y="84"/>
                    </a:lnTo>
                    <a:lnTo>
                      <a:pt x="0" y="75"/>
                    </a:lnTo>
                    <a:lnTo>
                      <a:pt x="5" y="73"/>
                    </a:lnTo>
                    <a:lnTo>
                      <a:pt x="12" y="69"/>
                    </a:lnTo>
                    <a:lnTo>
                      <a:pt x="16" y="51"/>
                    </a:lnTo>
                    <a:lnTo>
                      <a:pt x="21" y="41"/>
                    </a:lnTo>
                    <a:lnTo>
                      <a:pt x="34" y="38"/>
                    </a:lnTo>
                    <a:lnTo>
                      <a:pt x="37" y="44"/>
                    </a:lnTo>
                    <a:lnTo>
                      <a:pt x="47" y="56"/>
                    </a:lnTo>
                    <a:lnTo>
                      <a:pt x="52" y="58"/>
                    </a:lnTo>
                    <a:lnTo>
                      <a:pt x="59" y="54"/>
                    </a:lnTo>
                    <a:lnTo>
                      <a:pt x="72" y="55"/>
                    </a:lnTo>
                    <a:lnTo>
                      <a:pt x="74" y="59"/>
                    </a:lnTo>
                    <a:lnTo>
                      <a:pt x="93" y="59"/>
                    </a:lnTo>
                    <a:lnTo>
                      <a:pt x="93" y="55"/>
                    </a:lnTo>
                    <a:lnTo>
                      <a:pt x="102" y="51"/>
                    </a:lnTo>
                    <a:lnTo>
                      <a:pt x="104" y="45"/>
                    </a:lnTo>
                    <a:lnTo>
                      <a:pt x="111" y="41"/>
                    </a:lnTo>
                    <a:lnTo>
                      <a:pt x="127" y="53"/>
                    </a:lnTo>
                    <a:lnTo>
                      <a:pt x="136" y="51"/>
                    </a:lnTo>
                    <a:lnTo>
                      <a:pt x="145" y="36"/>
                    </a:lnTo>
                    <a:lnTo>
                      <a:pt x="155" y="24"/>
                    </a:lnTo>
                    <a:lnTo>
                      <a:pt x="153" y="12"/>
                    </a:lnTo>
                    <a:lnTo>
                      <a:pt x="148" y="6"/>
                    </a:lnTo>
                    <a:lnTo>
                      <a:pt x="159" y="5"/>
                    </a:lnTo>
                    <a:lnTo>
                      <a:pt x="160" y="0"/>
                    </a:lnTo>
                    <a:lnTo>
                      <a:pt x="169" y="1"/>
                    </a:lnTo>
                    <a:lnTo>
                      <a:pt x="167" y="17"/>
                    </a:lnTo>
                    <a:lnTo>
                      <a:pt x="170" y="32"/>
                    </a:lnTo>
                    <a:lnTo>
                      <a:pt x="179" y="40"/>
                    </a:lnTo>
                    <a:lnTo>
                      <a:pt x="181" y="47"/>
                    </a:lnTo>
                    <a:lnTo>
                      <a:pt x="181" y="57"/>
                    </a:lnTo>
                    <a:lnTo>
                      <a:pt x="184" y="58"/>
                    </a:lnTo>
                    <a:close/>
                  </a:path>
                </a:pathLst>
              </a:custGeom>
              <a:solidFill>
                <a:srgbClr val="9BBB59"/>
              </a:solidFill>
              <a:ln w="1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712823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8"/>
          <p:cNvSpPr>
            <a:spLocks noChangeArrowheads="1"/>
          </p:cNvSpPr>
          <p:nvPr/>
        </p:nvSpPr>
        <p:spPr bwMode="auto">
          <a:xfrm>
            <a:off x="31750" y="-3175"/>
            <a:ext cx="9112250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sz="2800" b="1" dirty="0">
                <a:solidFill>
                  <a:srgbClr val="FFFF00"/>
                </a:solidFill>
              </a:rPr>
              <a:t>Timeline showing release of WHO guidelines and guidelines from </a:t>
            </a:r>
            <a:r>
              <a:rPr lang="en-US" sz="2800" b="1" dirty="0" smtClean="0">
                <a:solidFill>
                  <a:srgbClr val="FFFF00"/>
                </a:solidFill>
              </a:rPr>
              <a:t>34 </a:t>
            </a:r>
            <a:r>
              <a:rPr lang="en-US" sz="2800" b="1" dirty="0">
                <a:solidFill>
                  <a:srgbClr val="FFFF00"/>
                </a:solidFill>
              </a:rPr>
              <a:t>countries in Sub-Saharan Africa</a:t>
            </a:r>
          </a:p>
        </p:txBody>
      </p:sp>
      <p:sp>
        <p:nvSpPr>
          <p:cNvPr id="3" name="Rectangle 49"/>
          <p:cNvSpPr>
            <a:spLocks noChangeArrowheads="1"/>
          </p:cNvSpPr>
          <p:nvPr/>
        </p:nvSpPr>
        <p:spPr bwMode="auto">
          <a:xfrm>
            <a:off x="50800" y="6119813"/>
            <a:ext cx="71628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Note:</a:t>
            </a:r>
            <a:r>
              <a:rPr lang="en-US" sz="1400" dirty="0">
                <a:solidFill>
                  <a:schemeClr val="bg1"/>
                </a:solidFill>
              </a:rPr>
              <a:t> Red box denotes move to the WHO 2009 guidelines [CD4 count &lt;350 cells/mm</a:t>
            </a:r>
            <a:r>
              <a:rPr lang="en-US" sz="1400" baseline="30000" dirty="0">
                <a:solidFill>
                  <a:schemeClr val="bg1"/>
                </a:solidFill>
              </a:rPr>
              <a:t>3</a:t>
            </a:r>
            <a:r>
              <a:rPr lang="en-US" sz="1400" dirty="0">
                <a:solidFill>
                  <a:schemeClr val="bg1"/>
                </a:solidFill>
              </a:rPr>
              <a:t>], green box denotes move to the WHO 2013 guidelines [CD4 count &lt;500 cells/mm</a:t>
            </a:r>
            <a:r>
              <a:rPr lang="en-US" sz="1400" baseline="30000" dirty="0">
                <a:solidFill>
                  <a:schemeClr val="bg1"/>
                </a:solidFill>
              </a:rPr>
              <a:t>3</a:t>
            </a:r>
            <a:r>
              <a:rPr lang="en-US" sz="1400" dirty="0">
                <a:solidFill>
                  <a:schemeClr val="bg1"/>
                </a:solidFill>
              </a:rPr>
              <a:t>], and blue box denotes move to the WHO 2015 guidelines [irrespective of CD4 count].</a:t>
            </a:r>
          </a:p>
        </p:txBody>
      </p:sp>
      <p:sp>
        <p:nvSpPr>
          <p:cNvPr id="4" name="TextBox 50"/>
          <p:cNvSpPr txBox="1">
            <a:spLocks noChangeArrowheads="1"/>
          </p:cNvSpPr>
          <p:nvPr/>
        </p:nvSpPr>
        <p:spPr bwMode="auto">
          <a:xfrm>
            <a:off x="39688" y="1811338"/>
            <a:ext cx="917575" cy="600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2006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ierra Leone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545871393"/>
              </p:ext>
            </p:extLst>
          </p:nvPr>
        </p:nvGraphicFramePr>
        <p:xfrm>
          <a:off x="18860" y="1300217"/>
          <a:ext cx="931638" cy="355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Donut 5"/>
          <p:cNvSpPr/>
          <p:nvPr/>
        </p:nvSpPr>
        <p:spPr>
          <a:xfrm>
            <a:off x="1803400" y="1300163"/>
            <a:ext cx="212725" cy="323850"/>
          </a:xfrm>
          <a:prstGeom prst="donut">
            <a:avLst/>
          </a:prstGeom>
          <a:solidFill>
            <a:srgbClr val="FAC09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248135552"/>
              </p:ext>
            </p:extLst>
          </p:nvPr>
        </p:nvGraphicFramePr>
        <p:xfrm>
          <a:off x="975897" y="1296588"/>
          <a:ext cx="814803" cy="362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531761012"/>
              </p:ext>
            </p:extLst>
          </p:nvPr>
        </p:nvGraphicFramePr>
        <p:xfrm>
          <a:off x="2042395" y="1299310"/>
          <a:ext cx="938001" cy="3601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999986064"/>
              </p:ext>
            </p:extLst>
          </p:nvPr>
        </p:nvGraphicFramePr>
        <p:xfrm>
          <a:off x="2999433" y="1295680"/>
          <a:ext cx="948570" cy="362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1645537189"/>
              </p:ext>
            </p:extLst>
          </p:nvPr>
        </p:nvGraphicFramePr>
        <p:xfrm>
          <a:off x="3948003" y="1299009"/>
          <a:ext cx="995136" cy="359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3806996306"/>
              </p:ext>
            </p:extLst>
          </p:nvPr>
        </p:nvGraphicFramePr>
        <p:xfrm>
          <a:off x="5181331" y="1293868"/>
          <a:ext cx="949391" cy="362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2774999623"/>
              </p:ext>
            </p:extLst>
          </p:nvPr>
        </p:nvGraphicFramePr>
        <p:xfrm>
          <a:off x="6152062" y="1292960"/>
          <a:ext cx="940436" cy="3628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761977934"/>
              </p:ext>
            </p:extLst>
          </p:nvPr>
        </p:nvGraphicFramePr>
        <p:xfrm>
          <a:off x="7104865" y="1297496"/>
          <a:ext cx="926950" cy="359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sp>
        <p:nvSpPr>
          <p:cNvPr id="14" name="TextBox 60"/>
          <p:cNvSpPr txBox="1">
            <a:spLocks noChangeArrowheads="1"/>
          </p:cNvSpPr>
          <p:nvPr/>
        </p:nvSpPr>
        <p:spPr bwMode="auto">
          <a:xfrm>
            <a:off x="36513" y="2490788"/>
            <a:ext cx="915987" cy="600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2007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Lesotho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Rwanda</a:t>
            </a:r>
          </a:p>
        </p:txBody>
      </p:sp>
      <p:sp>
        <p:nvSpPr>
          <p:cNvPr id="15" name="TextBox 61"/>
          <p:cNvSpPr txBox="1">
            <a:spLocks noChangeArrowheads="1"/>
          </p:cNvSpPr>
          <p:nvPr/>
        </p:nvSpPr>
        <p:spPr bwMode="auto">
          <a:xfrm>
            <a:off x="39688" y="3173413"/>
            <a:ext cx="917575" cy="1108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2008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Mali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Djibouti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Ghan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Burkina Faso</a:t>
            </a:r>
          </a:p>
        </p:txBody>
      </p:sp>
      <p:sp>
        <p:nvSpPr>
          <p:cNvPr id="16" name="TextBox 62"/>
          <p:cNvSpPr txBox="1">
            <a:spLocks noChangeArrowheads="1"/>
          </p:cNvSpPr>
          <p:nvPr/>
        </p:nvSpPr>
        <p:spPr bwMode="auto">
          <a:xfrm>
            <a:off x="1008063" y="1811338"/>
            <a:ext cx="750887" cy="430212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Niger</a:t>
            </a:r>
          </a:p>
        </p:txBody>
      </p:sp>
      <p:sp>
        <p:nvSpPr>
          <p:cNvPr id="17" name="TextBox 63"/>
          <p:cNvSpPr txBox="1">
            <a:spLocks noChangeArrowheads="1"/>
          </p:cNvSpPr>
          <p:nvPr/>
        </p:nvSpPr>
        <p:spPr bwMode="auto">
          <a:xfrm>
            <a:off x="2078038" y="1809750"/>
            <a:ext cx="901700" cy="430213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ANUAR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waziland</a:t>
            </a:r>
          </a:p>
        </p:txBody>
      </p:sp>
      <p:sp>
        <p:nvSpPr>
          <p:cNvPr id="18" name="TextBox 64"/>
          <p:cNvSpPr txBox="1">
            <a:spLocks noChangeArrowheads="1"/>
          </p:cNvSpPr>
          <p:nvPr/>
        </p:nvSpPr>
        <p:spPr bwMode="auto">
          <a:xfrm>
            <a:off x="2097088" y="2314575"/>
            <a:ext cx="903287" cy="430213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MA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Zimbabwe</a:t>
            </a:r>
          </a:p>
        </p:txBody>
      </p:sp>
      <p:sp>
        <p:nvSpPr>
          <p:cNvPr id="19" name="TextBox 65"/>
          <p:cNvSpPr txBox="1">
            <a:spLocks noChangeArrowheads="1"/>
          </p:cNvSpPr>
          <p:nvPr/>
        </p:nvSpPr>
        <p:spPr bwMode="auto">
          <a:xfrm>
            <a:off x="2097088" y="2811463"/>
            <a:ext cx="903287" cy="431800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Zambia</a:t>
            </a:r>
          </a:p>
        </p:txBody>
      </p:sp>
      <p:sp>
        <p:nvSpPr>
          <p:cNvPr id="20" name="TextBox 66"/>
          <p:cNvSpPr txBox="1">
            <a:spLocks noChangeArrowheads="1"/>
          </p:cNvSpPr>
          <p:nvPr/>
        </p:nvSpPr>
        <p:spPr bwMode="auto">
          <a:xfrm>
            <a:off x="2097088" y="3330575"/>
            <a:ext cx="903287" cy="430213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L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Namibia</a:t>
            </a:r>
          </a:p>
        </p:txBody>
      </p:sp>
      <p:sp>
        <p:nvSpPr>
          <p:cNvPr id="21" name="TextBox 67"/>
          <p:cNvSpPr txBox="1">
            <a:spLocks noChangeArrowheads="1"/>
          </p:cNvSpPr>
          <p:nvPr/>
        </p:nvSpPr>
        <p:spPr bwMode="auto">
          <a:xfrm>
            <a:off x="2108200" y="3851275"/>
            <a:ext cx="903288" cy="768350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AUGUST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Democratic Republic of the Congo</a:t>
            </a:r>
          </a:p>
        </p:txBody>
      </p:sp>
      <p:sp>
        <p:nvSpPr>
          <p:cNvPr id="22" name="TextBox 68"/>
          <p:cNvSpPr txBox="1">
            <a:spLocks noChangeArrowheads="1"/>
          </p:cNvSpPr>
          <p:nvPr/>
        </p:nvSpPr>
        <p:spPr bwMode="auto">
          <a:xfrm>
            <a:off x="2108200" y="4727575"/>
            <a:ext cx="903288" cy="600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OCTOBER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Burundi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Nigeria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035300" y="1811338"/>
            <a:ext cx="928688" cy="422275"/>
          </a:xfrm>
          <a:prstGeom prst="rect">
            <a:avLst/>
          </a:prstGeom>
          <a:noFill/>
          <a:ln w="38100" cmpd="sng">
            <a:solidFill>
              <a:srgbClr val="FF0000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>
                <a:solidFill>
                  <a:srgbClr val="FFFFFF"/>
                </a:solidFill>
              </a:rPr>
              <a:t>FEBRUARY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Angola</a:t>
            </a:r>
          </a:p>
        </p:txBody>
      </p:sp>
      <p:sp>
        <p:nvSpPr>
          <p:cNvPr id="24" name="TextBox 70"/>
          <p:cNvSpPr txBox="1">
            <a:spLocks noChangeArrowheads="1"/>
          </p:cNvSpPr>
          <p:nvPr/>
        </p:nvSpPr>
        <p:spPr bwMode="auto">
          <a:xfrm>
            <a:off x="3048000" y="2314575"/>
            <a:ext cx="930275" cy="600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Guine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Uganda</a:t>
            </a:r>
          </a:p>
        </p:txBody>
      </p:sp>
      <p:sp>
        <p:nvSpPr>
          <p:cNvPr id="25" name="TextBox 71"/>
          <p:cNvSpPr txBox="1">
            <a:spLocks noChangeArrowheads="1"/>
          </p:cNvSpPr>
          <p:nvPr/>
        </p:nvSpPr>
        <p:spPr bwMode="auto">
          <a:xfrm>
            <a:off x="3052763" y="2986088"/>
            <a:ext cx="928687" cy="431800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L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Malawi</a:t>
            </a:r>
          </a:p>
        </p:txBody>
      </p:sp>
      <p:sp>
        <p:nvSpPr>
          <p:cNvPr id="26" name="TextBox 72"/>
          <p:cNvSpPr txBox="1">
            <a:spLocks noChangeArrowheads="1"/>
          </p:cNvSpPr>
          <p:nvPr/>
        </p:nvSpPr>
        <p:spPr bwMode="auto">
          <a:xfrm>
            <a:off x="3048000" y="3503613"/>
            <a:ext cx="930275" cy="414337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000">
                <a:solidFill>
                  <a:srgbClr val="FFFFFF"/>
                </a:solidFill>
              </a:rPr>
              <a:t>NOVEMBER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Kenya</a:t>
            </a:r>
          </a:p>
        </p:txBody>
      </p:sp>
      <p:sp>
        <p:nvSpPr>
          <p:cNvPr id="27" name="TextBox 73"/>
          <p:cNvSpPr txBox="1">
            <a:spLocks noChangeArrowheads="1"/>
          </p:cNvSpPr>
          <p:nvPr/>
        </p:nvSpPr>
        <p:spPr bwMode="auto">
          <a:xfrm>
            <a:off x="3997325" y="1817688"/>
            <a:ext cx="917575" cy="41592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ANUARY</a:t>
            </a:r>
          </a:p>
          <a:p>
            <a:pPr algn="ctr"/>
            <a:r>
              <a:rPr lang="en-US" sz="1000">
                <a:solidFill>
                  <a:srgbClr val="FFFFFF"/>
                </a:solidFill>
              </a:rPr>
              <a:t>Mozambique</a:t>
            </a:r>
          </a:p>
        </p:txBody>
      </p:sp>
      <p:sp>
        <p:nvSpPr>
          <p:cNvPr id="28" name="TextBox 74"/>
          <p:cNvSpPr txBox="1">
            <a:spLocks noChangeArrowheads="1"/>
          </p:cNvSpPr>
          <p:nvPr/>
        </p:nvSpPr>
        <p:spPr bwMode="auto">
          <a:xfrm>
            <a:off x="4008438" y="2312988"/>
            <a:ext cx="917575" cy="938212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APRIL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Botswan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outh Afric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Tanzania</a:t>
            </a:r>
          </a:p>
        </p:txBody>
      </p:sp>
      <p:sp>
        <p:nvSpPr>
          <p:cNvPr id="29" name="TextBox 75"/>
          <p:cNvSpPr txBox="1">
            <a:spLocks noChangeArrowheads="1"/>
          </p:cNvSpPr>
          <p:nvPr/>
        </p:nvSpPr>
        <p:spPr bwMode="auto">
          <a:xfrm>
            <a:off x="4002088" y="3816350"/>
            <a:ext cx="915987" cy="430213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OCTOBER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Ethiopia</a:t>
            </a:r>
          </a:p>
        </p:txBody>
      </p:sp>
      <p:sp>
        <p:nvSpPr>
          <p:cNvPr id="30" name="TextBox 76"/>
          <p:cNvSpPr txBox="1">
            <a:spLocks noChangeArrowheads="1"/>
          </p:cNvSpPr>
          <p:nvPr/>
        </p:nvSpPr>
        <p:spPr bwMode="auto">
          <a:xfrm>
            <a:off x="5213350" y="1817688"/>
            <a:ext cx="917575" cy="600075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Cote d’Ivoire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213350" y="2490788"/>
            <a:ext cx="917575" cy="592137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JUNE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Ethiopia</a:t>
            </a:r>
          </a:p>
          <a:p>
            <a:pPr algn="ctr">
              <a:defRPr/>
            </a:pPr>
            <a:r>
              <a:rPr lang="en-US" sz="1050" dirty="0">
                <a:solidFill>
                  <a:srgbClr val="FFFFFF"/>
                </a:solidFill>
              </a:rPr>
              <a:t>Madagascar</a:t>
            </a:r>
          </a:p>
        </p:txBody>
      </p:sp>
      <p:sp>
        <p:nvSpPr>
          <p:cNvPr id="32" name="TextBox 78"/>
          <p:cNvSpPr txBox="1">
            <a:spLocks noChangeArrowheads="1"/>
          </p:cNvSpPr>
          <p:nvPr/>
        </p:nvSpPr>
        <p:spPr bwMode="auto">
          <a:xfrm>
            <a:off x="5216525" y="3167063"/>
            <a:ext cx="917575" cy="769937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L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Democratic Republic of the Congo</a:t>
            </a:r>
          </a:p>
        </p:txBody>
      </p:sp>
      <p:sp>
        <p:nvSpPr>
          <p:cNvPr id="33" name="TextBox 79"/>
          <p:cNvSpPr txBox="1">
            <a:spLocks noChangeArrowheads="1"/>
          </p:cNvSpPr>
          <p:nvPr/>
        </p:nvSpPr>
        <p:spPr bwMode="auto">
          <a:xfrm>
            <a:off x="5216525" y="4013200"/>
            <a:ext cx="917575" cy="415925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000">
                <a:solidFill>
                  <a:srgbClr val="FFFFFF"/>
                </a:solidFill>
              </a:rPr>
              <a:t>NOVEMBER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Mali</a:t>
            </a:r>
          </a:p>
        </p:txBody>
      </p:sp>
      <p:sp>
        <p:nvSpPr>
          <p:cNvPr id="34" name="TextBox 80"/>
          <p:cNvSpPr txBox="1">
            <a:spLocks noChangeArrowheads="1"/>
          </p:cNvSpPr>
          <p:nvPr/>
        </p:nvSpPr>
        <p:spPr bwMode="auto">
          <a:xfrm>
            <a:off x="5229225" y="4505325"/>
            <a:ext cx="917575" cy="923925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000">
                <a:solidFill>
                  <a:srgbClr val="FFFFFF"/>
                </a:solidFill>
              </a:rPr>
              <a:t>DECEMBER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Rwand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Ugand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Zambi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Zimbabwe</a:t>
            </a:r>
          </a:p>
        </p:txBody>
      </p:sp>
      <p:sp>
        <p:nvSpPr>
          <p:cNvPr id="35" name="TextBox 81"/>
          <p:cNvSpPr txBox="1">
            <a:spLocks noChangeArrowheads="1"/>
          </p:cNvSpPr>
          <p:nvPr/>
        </p:nvSpPr>
        <p:spPr bwMode="auto">
          <a:xfrm>
            <a:off x="6162675" y="1825625"/>
            <a:ext cx="917575" cy="600075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ANUAR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Namibia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udan</a:t>
            </a:r>
          </a:p>
        </p:txBody>
      </p:sp>
      <p:sp>
        <p:nvSpPr>
          <p:cNvPr id="36" name="TextBox 82"/>
          <p:cNvSpPr txBox="1">
            <a:spLocks noChangeArrowheads="1"/>
          </p:cNvSpPr>
          <p:nvPr/>
        </p:nvSpPr>
        <p:spPr bwMode="auto">
          <a:xfrm>
            <a:off x="6169025" y="2487613"/>
            <a:ext cx="915988" cy="600075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MARCH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outh Sudan</a:t>
            </a:r>
          </a:p>
        </p:txBody>
      </p:sp>
      <p:sp>
        <p:nvSpPr>
          <p:cNvPr id="37" name="TextBox 83"/>
          <p:cNvSpPr txBox="1">
            <a:spLocks noChangeArrowheads="1"/>
          </p:cNvSpPr>
          <p:nvPr/>
        </p:nvSpPr>
        <p:spPr bwMode="auto">
          <a:xfrm>
            <a:off x="6173788" y="3173413"/>
            <a:ext cx="917575" cy="600075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APRIL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Lesotho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Malawi</a:t>
            </a:r>
          </a:p>
        </p:txBody>
      </p:sp>
      <p:sp>
        <p:nvSpPr>
          <p:cNvPr id="38" name="TextBox 84"/>
          <p:cNvSpPr txBox="1">
            <a:spLocks noChangeArrowheads="1"/>
          </p:cNvSpPr>
          <p:nvPr/>
        </p:nvSpPr>
        <p:spPr bwMode="auto">
          <a:xfrm>
            <a:off x="6173788" y="3838575"/>
            <a:ext cx="917575" cy="938719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 dirty="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 dirty="0">
                <a:solidFill>
                  <a:srgbClr val="FFFFFF"/>
                </a:solidFill>
              </a:rPr>
              <a:t>Cameroon</a:t>
            </a:r>
          </a:p>
          <a:p>
            <a:pPr algn="ctr"/>
            <a:r>
              <a:rPr lang="en-US" sz="1100" dirty="0">
                <a:solidFill>
                  <a:srgbClr val="FFFFFF"/>
                </a:solidFill>
              </a:rPr>
              <a:t>Gabon</a:t>
            </a:r>
          </a:p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Kenya</a:t>
            </a:r>
          </a:p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Nigeria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186488" y="4843463"/>
            <a:ext cx="917575" cy="769441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AUGUST</a:t>
            </a: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Burundi</a:t>
            </a: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Liberia</a:t>
            </a:r>
            <a:endParaRPr lang="en-US" sz="11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Mauritania</a:t>
            </a:r>
          </a:p>
        </p:txBody>
      </p:sp>
      <p:sp>
        <p:nvSpPr>
          <p:cNvPr id="40" name="TextBox 86"/>
          <p:cNvSpPr txBox="1">
            <a:spLocks noChangeArrowheads="1"/>
          </p:cNvSpPr>
          <p:nvPr/>
        </p:nvSpPr>
        <p:spPr bwMode="auto">
          <a:xfrm>
            <a:off x="6128768" y="5681821"/>
            <a:ext cx="1027112" cy="415498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000" dirty="0">
                <a:solidFill>
                  <a:srgbClr val="FFFFFF"/>
                </a:solidFill>
              </a:rPr>
              <a:t>DECEMBER</a:t>
            </a:r>
          </a:p>
          <a:p>
            <a:pPr algn="ctr"/>
            <a:r>
              <a:rPr lang="en-US" sz="1100" dirty="0">
                <a:solidFill>
                  <a:srgbClr val="FFFFFF"/>
                </a:solidFill>
              </a:rPr>
              <a:t>South Africa</a:t>
            </a:r>
          </a:p>
        </p:txBody>
      </p:sp>
      <p:sp>
        <p:nvSpPr>
          <p:cNvPr id="41" name="TextBox 87"/>
          <p:cNvSpPr txBox="1">
            <a:spLocks noChangeArrowheads="1"/>
          </p:cNvSpPr>
          <p:nvPr/>
        </p:nvSpPr>
        <p:spPr bwMode="auto">
          <a:xfrm>
            <a:off x="7115175" y="1825625"/>
            <a:ext cx="854075" cy="431800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ANUARY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Swaziland</a:t>
            </a:r>
          </a:p>
        </p:txBody>
      </p:sp>
      <p:sp>
        <p:nvSpPr>
          <p:cNvPr id="42" name="TextBox 88"/>
          <p:cNvSpPr txBox="1">
            <a:spLocks noChangeArrowheads="1"/>
          </p:cNvSpPr>
          <p:nvPr/>
        </p:nvSpPr>
        <p:spPr bwMode="auto">
          <a:xfrm>
            <a:off x="1498600" y="896938"/>
            <a:ext cx="83026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 b="1" dirty="0">
                <a:solidFill>
                  <a:srgbClr val="FFFFFF"/>
                </a:solidFill>
              </a:rPr>
              <a:t>Oct</a:t>
            </a:r>
          </a:p>
          <a:p>
            <a:pPr algn="ctr"/>
            <a:r>
              <a:rPr lang="en-US" sz="1100" b="1" dirty="0">
                <a:solidFill>
                  <a:srgbClr val="FFFFFF"/>
                </a:solidFill>
              </a:rPr>
              <a:t> 2009</a:t>
            </a:r>
          </a:p>
        </p:txBody>
      </p:sp>
      <p:sp>
        <p:nvSpPr>
          <p:cNvPr id="43" name="TextBox 89"/>
          <p:cNvSpPr txBox="1">
            <a:spLocks noChangeArrowheads="1"/>
          </p:cNvSpPr>
          <p:nvPr/>
        </p:nvSpPr>
        <p:spPr bwMode="auto">
          <a:xfrm>
            <a:off x="4751388" y="871538"/>
            <a:ext cx="6096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 b="1" dirty="0">
                <a:solidFill>
                  <a:srgbClr val="FFFFFF"/>
                </a:solidFill>
              </a:rPr>
              <a:t>June 2013</a:t>
            </a:r>
          </a:p>
        </p:txBody>
      </p:sp>
      <p:sp>
        <p:nvSpPr>
          <p:cNvPr id="44" name="TextBox 90"/>
          <p:cNvSpPr txBox="1">
            <a:spLocks noChangeArrowheads="1"/>
          </p:cNvSpPr>
          <p:nvPr/>
        </p:nvSpPr>
        <p:spPr bwMode="auto">
          <a:xfrm>
            <a:off x="7783513" y="904875"/>
            <a:ext cx="7239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 b="1" dirty="0">
                <a:solidFill>
                  <a:srgbClr val="FFFFFF"/>
                </a:solidFill>
              </a:rPr>
              <a:t>Sep</a:t>
            </a:r>
          </a:p>
          <a:p>
            <a:pPr algn="ctr"/>
            <a:r>
              <a:rPr lang="en-US" sz="1100" b="1" dirty="0">
                <a:solidFill>
                  <a:srgbClr val="FFFFFF"/>
                </a:solidFill>
              </a:rPr>
              <a:t>2015</a:t>
            </a:r>
          </a:p>
        </p:txBody>
      </p:sp>
      <p:sp>
        <p:nvSpPr>
          <p:cNvPr id="45" name="TextBox 91"/>
          <p:cNvSpPr txBox="1">
            <a:spLocks noChangeArrowheads="1"/>
          </p:cNvSpPr>
          <p:nvPr/>
        </p:nvSpPr>
        <p:spPr bwMode="auto">
          <a:xfrm rot="16200000">
            <a:off x="-140493" y="3485356"/>
            <a:ext cx="40655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400" b="1">
                <a:solidFill>
                  <a:srgbClr val="FFFFFF"/>
                </a:solidFill>
              </a:rPr>
              <a:t>WHO 2009 guidelines (CD4 &lt;350 cells/mm</a:t>
            </a:r>
            <a:r>
              <a:rPr lang="en-US" sz="1400" b="1" baseline="30000">
                <a:solidFill>
                  <a:srgbClr val="FFFFFF"/>
                </a:solidFill>
              </a:rPr>
              <a:t>3</a:t>
            </a:r>
            <a:r>
              <a:rPr lang="en-US" sz="1400" b="1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46" name="TextBox 92"/>
          <p:cNvSpPr txBox="1">
            <a:spLocks noChangeArrowheads="1"/>
          </p:cNvSpPr>
          <p:nvPr/>
        </p:nvSpPr>
        <p:spPr bwMode="auto">
          <a:xfrm rot="16200000">
            <a:off x="3022600" y="3481388"/>
            <a:ext cx="40671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400" b="1">
                <a:solidFill>
                  <a:srgbClr val="FFFFFF"/>
                </a:solidFill>
              </a:rPr>
              <a:t>WHO 2013 guidelines (CD4 &lt;500 cells/mm</a:t>
            </a:r>
            <a:r>
              <a:rPr lang="en-US" sz="1400" b="1" baseline="30000">
                <a:solidFill>
                  <a:srgbClr val="FFFFFF"/>
                </a:solidFill>
              </a:rPr>
              <a:t>3</a:t>
            </a:r>
            <a:r>
              <a:rPr lang="en-US" sz="1400" b="1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47" name="TextBox 46"/>
          <p:cNvSpPr txBox="1"/>
          <p:nvPr/>
        </p:nvSpPr>
        <p:spPr>
          <a:xfrm rot="16200000">
            <a:off x="5941219" y="3734594"/>
            <a:ext cx="433546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schemeClr val="bg1"/>
                </a:solidFill>
              </a:rPr>
              <a:t>WHO 2015 guidelines (Irrespective of CD4 count)</a:t>
            </a:r>
          </a:p>
        </p:txBody>
      </p:sp>
      <p:sp>
        <p:nvSpPr>
          <p:cNvPr id="48" name="TextBox 94"/>
          <p:cNvSpPr txBox="1">
            <a:spLocks noChangeArrowheads="1"/>
          </p:cNvSpPr>
          <p:nvPr/>
        </p:nvSpPr>
        <p:spPr bwMode="auto">
          <a:xfrm>
            <a:off x="3995738" y="3330575"/>
            <a:ext cx="915987" cy="430213"/>
          </a:xfrm>
          <a:prstGeom prst="rect">
            <a:avLst/>
          </a:prstGeom>
          <a:noFill/>
          <a:ln w="38100" cmpd="sng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</a:rPr>
              <a:t>JUNE</a:t>
            </a:r>
          </a:p>
          <a:p>
            <a:pPr algn="ctr"/>
            <a:r>
              <a:rPr lang="en-US" sz="1100">
                <a:solidFill>
                  <a:srgbClr val="FFFFFF"/>
                </a:solidFill>
              </a:rPr>
              <a:t>Benin</a:t>
            </a:r>
          </a:p>
        </p:txBody>
      </p:sp>
      <p:sp>
        <p:nvSpPr>
          <p:cNvPr id="49" name="Donut 48"/>
          <p:cNvSpPr/>
          <p:nvPr/>
        </p:nvSpPr>
        <p:spPr>
          <a:xfrm>
            <a:off x="4943475" y="1300163"/>
            <a:ext cx="215900" cy="323850"/>
          </a:xfrm>
          <a:prstGeom prst="donu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graphicFrame>
        <p:nvGraphicFramePr>
          <p:cNvPr id="50" name="Diagram 49"/>
          <p:cNvGraphicFramePr/>
          <p:nvPr>
            <p:extLst>
              <p:ext uri="{D42A27DB-BD31-4B8C-83A1-F6EECF244321}">
                <p14:modId xmlns:p14="http://schemas.microsoft.com/office/powerpoint/2010/main" val="1437081379"/>
              </p:ext>
            </p:extLst>
          </p:nvPr>
        </p:nvGraphicFramePr>
        <p:xfrm>
          <a:off x="8267941" y="1299309"/>
          <a:ext cx="863359" cy="360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sp>
        <p:nvSpPr>
          <p:cNvPr id="51" name="Donut 50"/>
          <p:cNvSpPr/>
          <p:nvPr/>
        </p:nvSpPr>
        <p:spPr>
          <a:xfrm>
            <a:off x="8031163" y="1303338"/>
            <a:ext cx="212725" cy="323850"/>
          </a:xfrm>
          <a:prstGeom prst="donut">
            <a:avLst/>
          </a:prstGeom>
          <a:solidFill>
            <a:srgbClr val="FAC09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288338" y="1838325"/>
            <a:ext cx="817562" cy="431800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APRIL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Lesotho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8293100" y="2332038"/>
            <a:ext cx="817563" cy="431800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MAY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Malawi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293100" y="2825750"/>
            <a:ext cx="817563" cy="431800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JUNE</a:t>
            </a:r>
          </a:p>
          <a:p>
            <a:pPr algn="ctr">
              <a:defRPr/>
            </a:pPr>
            <a:r>
              <a:rPr lang="en-US" sz="1100" dirty="0">
                <a:solidFill>
                  <a:srgbClr val="FFFFFF"/>
                </a:solidFill>
              </a:rPr>
              <a:t>Botswana</a:t>
            </a: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7747000" y="6324600"/>
            <a:ext cx="1397000" cy="533400"/>
          </a:xfrm>
          <a:prstGeom prst="rect">
            <a:avLst/>
          </a:prstGeom>
          <a:ln>
            <a:noFill/>
          </a:ln>
        </p:spPr>
      </p:pic>
      <p:sp>
        <p:nvSpPr>
          <p:cNvPr id="56" name="TextBox 55"/>
          <p:cNvSpPr txBox="1"/>
          <p:nvPr/>
        </p:nvSpPr>
        <p:spPr>
          <a:xfrm>
            <a:off x="8293103" y="3333743"/>
            <a:ext cx="817563" cy="600164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JULY</a:t>
            </a:r>
            <a:endParaRPr lang="en-US" sz="11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Kenya</a:t>
            </a: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Rwanda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291583" y="4021109"/>
            <a:ext cx="817563" cy="900246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SEP</a:t>
            </a:r>
            <a:endParaRPr lang="en-US" sz="11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Burundi</a:t>
            </a:r>
            <a:endParaRPr lang="en-US" sz="850" dirty="0" smtClean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850" dirty="0" smtClean="0">
                <a:solidFill>
                  <a:srgbClr val="FFFFFF"/>
                </a:solidFill>
              </a:rPr>
              <a:t>Mozambique</a:t>
            </a: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South Africa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8" name="TextBox 79"/>
          <p:cNvSpPr txBox="1">
            <a:spLocks noChangeArrowheads="1"/>
          </p:cNvSpPr>
          <p:nvPr/>
        </p:nvSpPr>
        <p:spPr bwMode="auto">
          <a:xfrm>
            <a:off x="7114972" y="2332038"/>
            <a:ext cx="837345" cy="415498"/>
          </a:xfrm>
          <a:prstGeom prst="rect">
            <a:avLst/>
          </a:prstGeom>
          <a:noFill/>
          <a:ln w="38100" cmpd="sng">
            <a:solidFill>
              <a:schemeClr val="accent3">
                <a:lumMod val="60000"/>
                <a:lumOff val="4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en-US" sz="1000" dirty="0" smtClean="0">
                <a:solidFill>
                  <a:srgbClr val="FFFFFF"/>
                </a:solidFill>
              </a:rPr>
              <a:t>MAY</a:t>
            </a:r>
            <a:endParaRPr lang="en-US" sz="1000" dirty="0">
              <a:solidFill>
                <a:srgbClr val="FFFFFF"/>
              </a:solidFill>
            </a:endParaRPr>
          </a:p>
          <a:p>
            <a:pPr algn="ctr"/>
            <a:r>
              <a:rPr lang="en-US" sz="1100" dirty="0" smtClean="0">
                <a:solidFill>
                  <a:srgbClr val="FFFFFF"/>
                </a:solidFill>
              </a:rPr>
              <a:t>Tanzania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293100" y="5014357"/>
            <a:ext cx="817563" cy="553998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NOVEMBER</a:t>
            </a:r>
            <a:endParaRPr lang="en-US" sz="8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Uganda</a:t>
            </a:r>
          </a:p>
          <a:p>
            <a:pPr algn="ctr">
              <a:defRPr/>
            </a:pPr>
            <a:r>
              <a:rPr lang="en-US" sz="1100" dirty="0" smtClean="0">
                <a:solidFill>
                  <a:srgbClr val="FFFFFF"/>
                </a:solidFill>
              </a:rPr>
              <a:t>Zambia</a:t>
            </a:r>
            <a:endParaRPr lang="en-US" sz="1100" dirty="0">
              <a:solidFill>
                <a:srgbClr val="FFFFFF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293103" y="5657814"/>
            <a:ext cx="817563" cy="538609"/>
          </a:xfrm>
          <a:prstGeom prst="rect">
            <a:avLst/>
          </a:prstGeom>
          <a:noFill/>
          <a:ln w="38100" cmpd="sng">
            <a:solidFill>
              <a:schemeClr val="tx2">
                <a:lumMod val="60000"/>
                <a:lumOff val="4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800" dirty="0" smtClean="0">
                <a:solidFill>
                  <a:srgbClr val="FFFFFF"/>
                </a:solidFill>
              </a:rPr>
              <a:t>DECEMBER</a:t>
            </a:r>
            <a:endParaRPr lang="en-US" sz="800" dirty="0">
              <a:solidFill>
                <a:srgbClr val="FFFFFF"/>
              </a:solidFill>
            </a:endParaRPr>
          </a:p>
          <a:p>
            <a:pPr algn="ctr">
              <a:defRPr/>
            </a:pPr>
            <a:r>
              <a:rPr lang="en-US" sz="1050" dirty="0" smtClean="0">
                <a:solidFill>
                  <a:srgbClr val="FFFFFF"/>
                </a:solidFill>
              </a:rPr>
              <a:t>Namibia</a:t>
            </a:r>
          </a:p>
          <a:p>
            <a:pPr algn="ctr">
              <a:defRPr/>
            </a:pPr>
            <a:r>
              <a:rPr lang="en-US" sz="1050" dirty="0" smtClean="0">
                <a:solidFill>
                  <a:srgbClr val="FFFFFF"/>
                </a:solidFill>
              </a:rPr>
              <a:t>Zimbabwe</a:t>
            </a:r>
            <a:endParaRPr lang="en-US" sz="10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026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10</TotalTime>
  <Words>1186</Words>
  <Application>Microsoft Macintosh PowerPoint</Application>
  <PresentationFormat>On-screen Show (4:3)</PresentationFormat>
  <Paragraphs>267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Docu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ushal Gupta</dc:creator>
  <cp:lastModifiedBy>Kaushal Gupta</cp:lastModifiedBy>
  <cp:revision>116</cp:revision>
  <dcterms:created xsi:type="dcterms:W3CDTF">2017-05-30T11:23:48Z</dcterms:created>
  <dcterms:modified xsi:type="dcterms:W3CDTF">2017-06-16T20:23:00Z</dcterms:modified>
</cp:coreProperties>
</file>